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ags/tag1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50" r:id="rId6"/>
    <p:sldMasterId id="2147483836" r:id="rId7"/>
    <p:sldMasterId id="2147483896" r:id="rId8"/>
  </p:sldMasterIdLst>
  <p:notesMasterIdLst>
    <p:notesMasterId r:id="rId16"/>
  </p:notesMasterIdLst>
  <p:sldIdLst>
    <p:sldId id="2134805286" r:id="rId9"/>
    <p:sldId id="2147470134" r:id="rId10"/>
    <p:sldId id="2147470135" r:id="rId11"/>
    <p:sldId id="2147470133" r:id="rId12"/>
    <p:sldId id="2147470136" r:id="rId13"/>
    <p:sldId id="2134805340" r:id="rId14"/>
    <p:sldId id="2134805338" r:id="rId15"/>
  </p:sldIdLst>
  <p:sldSz cx="9144000" cy="5143500" type="screen16x9"/>
  <p:notesSz cx="6858000" cy="914400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B1FF"/>
    <a:srgbClr val="FFED00"/>
    <a:srgbClr val="FF8B10"/>
    <a:srgbClr val="7F7F7F"/>
    <a:srgbClr val="898989"/>
    <a:srgbClr val="E7E8EE"/>
    <a:srgbClr val="CCCFDC"/>
    <a:srgbClr val="FFFFCC"/>
    <a:srgbClr val="001135"/>
    <a:srgbClr val="001D47"/>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92767" autoAdjust="0"/>
  </p:normalViewPr>
  <p:slideViewPr>
    <p:cSldViewPr snapToGrid="0">
      <p:cViewPr varScale="1">
        <p:scale>
          <a:sx n="150" d="100"/>
          <a:sy n="150" d="100"/>
        </p:scale>
        <p:origin x="510" y="126"/>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5" Type="http://schemas.openxmlformats.org/officeDocument/2006/relationships/customXml" Target="../customXml/item5.xml"/><Relationship Id="rId15" Type="http://schemas.openxmlformats.org/officeDocument/2006/relationships/slide" Target="slides/slide7.xml"/><Relationship Id="rId10" Type="http://schemas.openxmlformats.org/officeDocument/2006/relationships/slide" Target="slides/slide2.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3831C-DEBA-4A3A-8C36-FD8115E217DA}" type="datetimeFigureOut">
              <a:rPr lang="en-US" smtClean="0"/>
              <a:t>7/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D4EF5B-ECC8-43EE-A509-D601DDF42AD0}" type="slidenum">
              <a:rPr lang="en-US" smtClean="0"/>
              <a:t>‹#›</a:t>
            </a:fld>
            <a:endParaRPr lang="en-US"/>
          </a:p>
        </p:txBody>
      </p:sp>
    </p:spTree>
    <p:extLst>
      <p:ext uri="{BB962C8B-B14F-4D97-AF65-F5344CB8AC3E}">
        <p14:creationId xmlns:p14="http://schemas.microsoft.com/office/powerpoint/2010/main" val="211518043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4.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26.svg"/><Relationship Id="rId5" Type="http://schemas.openxmlformats.org/officeDocument/2006/relationships/image" Target="../media/image2.png"/><Relationship Id="rId4" Type="http://schemas.openxmlformats.org/officeDocument/2006/relationships/image" Target="../media/image25.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25.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5.svg"/><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25.emf"/><Relationship Id="rId4" Type="http://schemas.openxmlformats.org/officeDocument/2006/relationships/oleObject" Target="../embeddings/oleObject9.bin"/></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5.svg"/><Relationship Id="rId2" Type="http://schemas.openxmlformats.org/officeDocument/2006/relationships/slideMaster" Target="../slideMasters/slideMaster3.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25.emf"/><Relationship Id="rId4" Type="http://schemas.openxmlformats.org/officeDocument/2006/relationships/oleObject" Target="../embeddings/oleObject10.bin"/></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image" Target="../media/image5.svg"/><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25.emf"/><Relationship Id="rId4" Type="http://schemas.openxmlformats.org/officeDocument/2006/relationships/oleObject" Target="../embeddings/oleObject11.bin"/></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5.svg"/><Relationship Id="rId2" Type="http://schemas.openxmlformats.org/officeDocument/2006/relationships/slideMaster" Target="../slideMasters/slideMaster3.xml"/><Relationship Id="rId1" Type="http://schemas.openxmlformats.org/officeDocument/2006/relationships/tags" Target="../tags/tag13.xml"/><Relationship Id="rId6" Type="http://schemas.openxmlformats.org/officeDocument/2006/relationships/image" Target="../media/image4.png"/><Relationship Id="rId5" Type="http://schemas.openxmlformats.org/officeDocument/2006/relationships/image" Target="../media/image2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5.svg"/><Relationship Id="rId2" Type="http://schemas.openxmlformats.org/officeDocument/2006/relationships/slideMaster" Target="../slideMasters/slideMaster3.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25.emf"/><Relationship Id="rId4" Type="http://schemas.openxmlformats.org/officeDocument/2006/relationships/oleObject" Target="../embeddings/oleObject13.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32.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1 - Blan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A2CC8E39-9A4E-A4DF-F50E-11E2BDCAFF7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54684DA7-0D8A-B949-344B-2DA84CB93D5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3" name="Footer Placeholder 2">
            <a:extLst>
              <a:ext uri="{FF2B5EF4-FFF2-40B4-BE49-F238E27FC236}">
                <a16:creationId xmlns:a16="http://schemas.microsoft.com/office/drawing/2014/main" id="{6E4F0CF6-F16F-8670-1980-E9ED719A0C6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5" name="Straight Connector 4">
            <a:extLst>
              <a:ext uri="{FF2B5EF4-FFF2-40B4-BE49-F238E27FC236}">
                <a16:creationId xmlns:a16="http://schemas.microsoft.com/office/drawing/2014/main" id="{D0744410-8A14-5C00-ACB3-A4E2B723699C}"/>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87788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1 - Bullet 1/2 imag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4572000" y="0"/>
            <a:ext cx="4572001" cy="5143500"/>
          </a:xfrm>
          <a:prstGeom prst="rect">
            <a:avLst/>
          </a:prstGeom>
          <a:solidFill>
            <a:schemeClr val="tx2"/>
          </a:solidFill>
        </p:spPr>
        <p:txBody>
          <a:bodyPr/>
          <a:lstStyle>
            <a:lvl1pPr marL="0" indent="0">
              <a:buNone/>
              <a:defRPr sz="1000">
                <a:solidFill>
                  <a:schemeClr val="bg1"/>
                </a:solidFill>
              </a:defRPr>
            </a:lvl1pPr>
          </a:lstStyle>
          <a:p>
            <a:r>
              <a:rPr lang="en-US" dirty="0"/>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20" name="TextBox 19">
            <a:extLst>
              <a:ext uri="{FF2B5EF4-FFF2-40B4-BE49-F238E27FC236}">
                <a16:creationId xmlns:a16="http://schemas.microsoft.com/office/drawing/2014/main" id="{972230E8-8C3E-FACC-BB83-0BEB16548E5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FFD06BD2-8C82-3A42-EA94-1DAD5F04366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30DEAEC4-E0F3-9FCE-BAAF-FDB63BC5E69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5" name="Straight Connector 4">
            <a:extLst>
              <a:ext uri="{FF2B5EF4-FFF2-40B4-BE49-F238E27FC236}">
                <a16:creationId xmlns:a16="http://schemas.microsoft.com/office/drawing/2014/main" id="{12AD20FE-C0B2-18A8-3BBF-8ACE86C1843B}"/>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281304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5 Green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EF89375-E21D-F63F-06A8-C59355F1254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EBD7979C-B9C6-8A09-B241-FD1FED4BAC89}"/>
              </a:ext>
            </a:extLst>
          </p:cNvPr>
          <p:cNvGrpSpPr/>
          <p:nvPr/>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7B0CAF0-3BC0-2F0C-A2D6-BD2777136ABD}"/>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DFE11313-A28D-C9D5-388D-F3DCE472D73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5423B194-3C18-4ED2-C954-ADB91F99CDD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3A46B4C4-EAE8-DC64-8EE7-085376B9F0C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68AEA7C-4869-2294-8EAF-A87420CD474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9" name="Picture 8" descr="Background pattern&#10;&#10;Description automatically generated">
            <a:extLst>
              <a:ext uri="{FF2B5EF4-FFF2-40B4-BE49-F238E27FC236}">
                <a16:creationId xmlns:a16="http://schemas.microsoft.com/office/drawing/2014/main" id="{1F27E85E-0A6C-4CDC-8B1C-D57D939E51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10" name="Graphic 3">
            <a:extLst>
              <a:ext uri="{FF2B5EF4-FFF2-40B4-BE49-F238E27FC236}">
                <a16:creationId xmlns:a16="http://schemas.microsoft.com/office/drawing/2014/main" id="{DE677F9A-2750-4B0A-A1FB-6AD811EDFF29}"/>
              </a:ext>
            </a:extLst>
          </p:cNvPr>
          <p:cNvGrpSpPr/>
          <p:nvPr userDrawn="1"/>
        </p:nvGrpSpPr>
        <p:grpSpPr>
          <a:xfrm>
            <a:off x="1833317" y="1954988"/>
            <a:ext cx="5477366" cy="1233523"/>
            <a:chOff x="469958" y="1647414"/>
            <a:chExt cx="8205029" cy="1847802"/>
          </a:xfrm>
          <a:solidFill>
            <a:schemeClr val="bg1"/>
          </a:solidFill>
        </p:grpSpPr>
        <p:sp>
          <p:nvSpPr>
            <p:cNvPr id="11" name="Freeform 10">
              <a:extLst>
                <a:ext uri="{FF2B5EF4-FFF2-40B4-BE49-F238E27FC236}">
                  <a16:creationId xmlns:a16="http://schemas.microsoft.com/office/drawing/2014/main" id="{B0B9DE5F-C8A8-4781-B18F-02270AC754AD}"/>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5B06659-DDED-4E3D-8F69-F4E92133542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4CFFE74-1CA5-46AD-BE1C-8346EC8656D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6AFFA27E-8E6D-46D7-8AE2-CA35F785039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ABE3ECD-1A29-498C-9B3D-3FB338385C26}"/>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8403009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5 Blue pink">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39F40A4-C4FE-CE81-4DDE-1096BF05B1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04350EF6-70D2-8CA6-C8B4-23AD48C51B92}"/>
              </a:ext>
            </a:extLst>
          </p:cNvPr>
          <p:cNvGrpSpPr/>
          <p:nvPr/>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E3C5F24B-DEBE-91F4-60EF-98DB9598FC4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0430F02E-A1F8-79E9-1749-B79A96144ED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FABBDCAD-55AC-A504-7AB9-9EA8B4E0982A}"/>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3870B6CA-17E5-8094-AABA-A4EB4CF4DD7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B471460-440F-63D0-B43A-D4E98094F4B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9" name="Picture 8" descr="Background pattern&#10;&#10;Description automatically generated">
            <a:extLst>
              <a:ext uri="{FF2B5EF4-FFF2-40B4-BE49-F238E27FC236}">
                <a16:creationId xmlns:a16="http://schemas.microsoft.com/office/drawing/2014/main" id="{E78DA156-5B7D-4A74-8943-4037F372FA3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10" name="Graphic 3">
            <a:extLst>
              <a:ext uri="{FF2B5EF4-FFF2-40B4-BE49-F238E27FC236}">
                <a16:creationId xmlns:a16="http://schemas.microsoft.com/office/drawing/2014/main" id="{BE5E99B8-0E17-4AB5-AA90-9ED203345E9E}"/>
              </a:ext>
            </a:extLst>
          </p:cNvPr>
          <p:cNvGrpSpPr/>
          <p:nvPr userDrawn="1"/>
        </p:nvGrpSpPr>
        <p:grpSpPr>
          <a:xfrm>
            <a:off x="1833317" y="1954988"/>
            <a:ext cx="5477366" cy="1233523"/>
            <a:chOff x="469958" y="1647414"/>
            <a:chExt cx="8205029" cy="1847802"/>
          </a:xfrm>
          <a:solidFill>
            <a:schemeClr val="bg1"/>
          </a:solidFill>
        </p:grpSpPr>
        <p:sp>
          <p:nvSpPr>
            <p:cNvPr id="11" name="Freeform 10">
              <a:extLst>
                <a:ext uri="{FF2B5EF4-FFF2-40B4-BE49-F238E27FC236}">
                  <a16:creationId xmlns:a16="http://schemas.microsoft.com/office/drawing/2014/main" id="{6BF4165B-9B0E-4C6B-95E5-860DDBDFCF7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9E906C05-28CE-4B38-ADC3-944628670FD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757B5C71-673A-4F94-8B12-2D34DF3927DE}"/>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1A1698A5-861E-413B-BE6D-C438CC6B1A1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E4E15E22-360D-4B05-A6F3-012A6CB3DCFB}"/>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59501726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5 Pink">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1011232-FEC1-556E-5D81-2627C46F6D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E305D3B8-631A-ECF6-F436-B2BCDEC1D146}"/>
              </a:ext>
            </a:extLst>
          </p:cNvPr>
          <p:cNvGrpSpPr/>
          <p:nvPr/>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A5AA4292-461B-4E6C-D0DF-22D79FF5659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E83B83EF-F13E-0C9F-A72E-1028FFB5C1A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7583F4ED-E4FB-BC79-63D6-917602298C36}"/>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D7AF8DF3-63F0-80CE-4E26-5256A0E0248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D0AD8F7-2131-0B88-1728-D3CA421A2D2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0" name="Picture 9" descr="Background pattern&#10;&#10;Description automatically generated">
            <a:extLst>
              <a:ext uri="{FF2B5EF4-FFF2-40B4-BE49-F238E27FC236}">
                <a16:creationId xmlns:a16="http://schemas.microsoft.com/office/drawing/2014/main" id="{B5F79C56-7989-49EA-8726-B7FC803B72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11" name="Graphic 3">
            <a:extLst>
              <a:ext uri="{FF2B5EF4-FFF2-40B4-BE49-F238E27FC236}">
                <a16:creationId xmlns:a16="http://schemas.microsoft.com/office/drawing/2014/main" id="{86745E9B-EBAD-4D82-9F89-032B3A0A84DB}"/>
              </a:ext>
            </a:extLst>
          </p:cNvPr>
          <p:cNvGrpSpPr/>
          <p:nvPr userDrawn="1"/>
        </p:nvGrpSpPr>
        <p:grpSpPr>
          <a:xfrm>
            <a:off x="1833317" y="1954988"/>
            <a:ext cx="5477366" cy="1233523"/>
            <a:chOff x="469958" y="1647414"/>
            <a:chExt cx="8205029" cy="1847802"/>
          </a:xfrm>
          <a:solidFill>
            <a:schemeClr val="bg1"/>
          </a:solidFill>
        </p:grpSpPr>
        <p:sp>
          <p:nvSpPr>
            <p:cNvPr id="12" name="Freeform 10">
              <a:extLst>
                <a:ext uri="{FF2B5EF4-FFF2-40B4-BE49-F238E27FC236}">
                  <a16:creationId xmlns:a16="http://schemas.microsoft.com/office/drawing/2014/main" id="{08BD7E3A-1636-4FA5-A62B-FAA0F228595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B809C8B3-E59B-423F-8C29-A38F2674824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4" name="Freeform 12">
              <a:extLst>
                <a:ext uri="{FF2B5EF4-FFF2-40B4-BE49-F238E27FC236}">
                  <a16:creationId xmlns:a16="http://schemas.microsoft.com/office/drawing/2014/main" id="{1E838D19-73E3-4AFD-9C14-8C3493774F5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5" name="Freeform 13">
              <a:extLst>
                <a:ext uri="{FF2B5EF4-FFF2-40B4-BE49-F238E27FC236}">
                  <a16:creationId xmlns:a16="http://schemas.microsoft.com/office/drawing/2014/main" id="{74FD41A7-CF86-4CB5-AF31-C403A979080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6" name="Freeform 14">
              <a:extLst>
                <a:ext uri="{FF2B5EF4-FFF2-40B4-BE49-F238E27FC236}">
                  <a16:creationId xmlns:a16="http://schemas.microsoft.com/office/drawing/2014/main" id="{D66238C5-01D8-477F-97BC-77D649BE3D9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5601173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5 Blue purple">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3465075C-3A04-8F21-2D96-F11146239A8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A77D7537-AB6E-150C-8EAC-2488703A5501}"/>
              </a:ext>
            </a:extLst>
          </p:cNvPr>
          <p:cNvGrpSpPr/>
          <p:nvPr/>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6DD48B6-4C1B-73D2-03B9-15D30FCE5E9E}"/>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64D70B58-DDCB-C449-2352-59773ED88AE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609F40CE-5FD9-0148-24E8-B471F0E808B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921AF8C9-7D93-7437-46E4-70C04BC1FCD9}"/>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4086F6C-E115-654F-39E3-04AE3FA5602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0" name="Picture 9" descr="Background pattern&#10;&#10;Description automatically generated">
            <a:extLst>
              <a:ext uri="{FF2B5EF4-FFF2-40B4-BE49-F238E27FC236}">
                <a16:creationId xmlns:a16="http://schemas.microsoft.com/office/drawing/2014/main" id="{C1C90CCF-9956-435B-BD81-D144BB0C915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11" name="Graphic 3">
            <a:extLst>
              <a:ext uri="{FF2B5EF4-FFF2-40B4-BE49-F238E27FC236}">
                <a16:creationId xmlns:a16="http://schemas.microsoft.com/office/drawing/2014/main" id="{1D2D48CC-A255-4373-BD99-E91B092021DF}"/>
              </a:ext>
            </a:extLst>
          </p:cNvPr>
          <p:cNvGrpSpPr/>
          <p:nvPr userDrawn="1"/>
        </p:nvGrpSpPr>
        <p:grpSpPr>
          <a:xfrm>
            <a:off x="1833317" y="1954988"/>
            <a:ext cx="5477366" cy="1233523"/>
            <a:chOff x="469958" y="1647414"/>
            <a:chExt cx="8205029" cy="1847802"/>
          </a:xfrm>
          <a:solidFill>
            <a:schemeClr val="bg1"/>
          </a:solidFill>
        </p:grpSpPr>
        <p:sp>
          <p:nvSpPr>
            <p:cNvPr id="12" name="Freeform 10">
              <a:extLst>
                <a:ext uri="{FF2B5EF4-FFF2-40B4-BE49-F238E27FC236}">
                  <a16:creationId xmlns:a16="http://schemas.microsoft.com/office/drawing/2014/main" id="{0B82F651-152A-4D7F-B9C6-DCC9C1698857}"/>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FC70A080-F3AD-44B2-BBF5-82B61526E6D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4" name="Freeform 12">
              <a:extLst>
                <a:ext uri="{FF2B5EF4-FFF2-40B4-BE49-F238E27FC236}">
                  <a16:creationId xmlns:a16="http://schemas.microsoft.com/office/drawing/2014/main" id="{1D842F05-413F-4F9C-801B-D79858CE4386}"/>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5" name="Freeform 13">
              <a:extLst>
                <a:ext uri="{FF2B5EF4-FFF2-40B4-BE49-F238E27FC236}">
                  <a16:creationId xmlns:a16="http://schemas.microsoft.com/office/drawing/2014/main" id="{DF36AD44-1453-4AD5-B479-2EC601017C92}"/>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6" name="Freeform 14">
              <a:extLst>
                <a:ext uri="{FF2B5EF4-FFF2-40B4-BE49-F238E27FC236}">
                  <a16:creationId xmlns:a16="http://schemas.microsoft.com/office/drawing/2014/main" id="{814E2D81-DBAF-45CC-A342-6835977FC04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63234361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 Orange red">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AC7C13A4-489B-3211-82FF-868A0A256E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7490672C-BECC-A8CE-2FB2-AF9FB16315DB}"/>
              </a:ext>
            </a:extLst>
          </p:cNvPr>
          <p:cNvGrpSpPr/>
          <p:nvPr/>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A3EA2D57-26D4-3FE7-0AD1-EEED4BE8BED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3244009B-B9FA-D5C6-D5E3-5563DC7638F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2FD42FBA-921E-BB93-CEB5-51CAED5F599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DADC54FF-C0E3-D235-2C4E-2FB66C6E9ED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E3A682F-0F88-48F0-97B1-60B5B2477F9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0" name="Picture 9" descr="Background pattern&#10;&#10;Description automatically generated">
            <a:extLst>
              <a:ext uri="{FF2B5EF4-FFF2-40B4-BE49-F238E27FC236}">
                <a16:creationId xmlns:a16="http://schemas.microsoft.com/office/drawing/2014/main" id="{484331F3-A1F0-4C75-8498-F262E114DA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11" name="Graphic 3">
            <a:extLst>
              <a:ext uri="{FF2B5EF4-FFF2-40B4-BE49-F238E27FC236}">
                <a16:creationId xmlns:a16="http://schemas.microsoft.com/office/drawing/2014/main" id="{9AF72E4F-6702-4165-B473-F49C4F7789BA}"/>
              </a:ext>
            </a:extLst>
          </p:cNvPr>
          <p:cNvGrpSpPr/>
          <p:nvPr userDrawn="1"/>
        </p:nvGrpSpPr>
        <p:grpSpPr>
          <a:xfrm>
            <a:off x="1833317" y="1954988"/>
            <a:ext cx="5477366" cy="1233523"/>
            <a:chOff x="469958" y="1647414"/>
            <a:chExt cx="8205029" cy="1847802"/>
          </a:xfrm>
          <a:solidFill>
            <a:schemeClr val="bg1"/>
          </a:solidFill>
        </p:grpSpPr>
        <p:sp>
          <p:nvSpPr>
            <p:cNvPr id="12" name="Freeform 10">
              <a:extLst>
                <a:ext uri="{FF2B5EF4-FFF2-40B4-BE49-F238E27FC236}">
                  <a16:creationId xmlns:a16="http://schemas.microsoft.com/office/drawing/2014/main" id="{C718764D-C87B-40E3-827A-EA39226BA41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3" name="Freeform 11">
              <a:extLst>
                <a:ext uri="{FF2B5EF4-FFF2-40B4-BE49-F238E27FC236}">
                  <a16:creationId xmlns:a16="http://schemas.microsoft.com/office/drawing/2014/main" id="{59A4E0EF-36E3-4E62-B2D0-95EEFA6B1D4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4" name="Freeform 12">
              <a:extLst>
                <a:ext uri="{FF2B5EF4-FFF2-40B4-BE49-F238E27FC236}">
                  <a16:creationId xmlns:a16="http://schemas.microsoft.com/office/drawing/2014/main" id="{77F940A3-2086-496B-B67A-B3E5FF66ED5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5" name="Freeform 13">
              <a:extLst>
                <a:ext uri="{FF2B5EF4-FFF2-40B4-BE49-F238E27FC236}">
                  <a16:creationId xmlns:a16="http://schemas.microsoft.com/office/drawing/2014/main" id="{0CB47BA6-A0AF-466E-8167-5677AA41E5CF}"/>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6" name="Freeform 14">
              <a:extLst>
                <a:ext uri="{FF2B5EF4-FFF2-40B4-BE49-F238E27FC236}">
                  <a16:creationId xmlns:a16="http://schemas.microsoft.com/office/drawing/2014/main" id="{554F3B04-41C4-455D-B80F-C387F00497B9}"/>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42133362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5 Blue green">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3A71822B-C712-A4E6-919B-405BA7F21A5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113608E-22FD-657F-8D07-CD39EC97958A}"/>
              </a:ext>
            </a:extLst>
          </p:cNvPr>
          <p:cNvGrpSpPr/>
          <p:nvPr/>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DA917A93-F7DB-3A50-D98B-8185FF15DE00}"/>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08D8095F-7FCC-5669-F881-F6661924222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A8F3D3FE-D0C9-59C1-F189-DA228D51A05B}"/>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7F167DEA-E276-FD24-54AA-B4A09328CCE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5BDAA131-A001-A420-C695-237DBC40265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9" name="Picture 8" descr="Background pattern&#10;&#10;Description automatically generated">
            <a:extLst>
              <a:ext uri="{FF2B5EF4-FFF2-40B4-BE49-F238E27FC236}">
                <a16:creationId xmlns:a16="http://schemas.microsoft.com/office/drawing/2014/main" id="{D0899755-555C-422F-8962-2D2D4C64505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10" name="Graphic 3">
            <a:extLst>
              <a:ext uri="{FF2B5EF4-FFF2-40B4-BE49-F238E27FC236}">
                <a16:creationId xmlns:a16="http://schemas.microsoft.com/office/drawing/2014/main" id="{E93921E6-CFDC-4BE6-8FA7-30DC31ACB372}"/>
              </a:ext>
            </a:extLst>
          </p:cNvPr>
          <p:cNvGrpSpPr/>
          <p:nvPr userDrawn="1"/>
        </p:nvGrpSpPr>
        <p:grpSpPr>
          <a:xfrm>
            <a:off x="1833317" y="1954988"/>
            <a:ext cx="5477366" cy="1233523"/>
            <a:chOff x="469958" y="1647414"/>
            <a:chExt cx="8205029" cy="1847802"/>
          </a:xfrm>
          <a:solidFill>
            <a:schemeClr val="bg1"/>
          </a:solidFill>
        </p:grpSpPr>
        <p:sp>
          <p:nvSpPr>
            <p:cNvPr id="11" name="Freeform 10">
              <a:extLst>
                <a:ext uri="{FF2B5EF4-FFF2-40B4-BE49-F238E27FC236}">
                  <a16:creationId xmlns:a16="http://schemas.microsoft.com/office/drawing/2014/main" id="{2D992BF6-3493-40D3-A6DD-EB83ABBF76A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E84A8C0-C540-46F1-B00A-ED8FE58D8F4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F4B1F8C1-E89A-4D26-9D60-DC99742F086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130B7DBC-BD46-442D-A6C0-DE86AACCC402}"/>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FDD854B-7DBC-4BC1-8FF7-113721CEA064}"/>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96446319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5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08FFEE3-9429-FB20-94DA-036B3BA28A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F97AAA9-D469-5AE4-F90F-9020A3DDBE0A}"/>
              </a:ext>
            </a:extLst>
          </p:cNvPr>
          <p:cNvGrpSpPr/>
          <p:nvPr/>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C2E78338-BF1F-47F8-574E-5A79325DD1F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BEABEE7F-B8A9-CDE0-CB0E-B91BA834B8F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42EAFBE4-3E55-88EC-6263-AA83BE68E7C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55877F46-FE15-EE6B-7255-F5187038A7A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F62DDA2E-E23F-3C1F-FBA8-13E4AE5F3526}"/>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9" name="Picture 8" descr="Background pattern&#10;&#10;Description automatically generated">
            <a:extLst>
              <a:ext uri="{FF2B5EF4-FFF2-40B4-BE49-F238E27FC236}">
                <a16:creationId xmlns:a16="http://schemas.microsoft.com/office/drawing/2014/main" id="{78D69AD8-53F6-427F-93C1-3A58467619C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10" name="Graphic 3">
            <a:extLst>
              <a:ext uri="{FF2B5EF4-FFF2-40B4-BE49-F238E27FC236}">
                <a16:creationId xmlns:a16="http://schemas.microsoft.com/office/drawing/2014/main" id="{9A79D510-99FF-4E22-901B-BE0D6EF83023}"/>
              </a:ext>
            </a:extLst>
          </p:cNvPr>
          <p:cNvGrpSpPr/>
          <p:nvPr userDrawn="1"/>
        </p:nvGrpSpPr>
        <p:grpSpPr>
          <a:xfrm>
            <a:off x="1833317" y="1954988"/>
            <a:ext cx="5477366" cy="1233523"/>
            <a:chOff x="469958" y="1647414"/>
            <a:chExt cx="8205029" cy="1847802"/>
          </a:xfrm>
          <a:solidFill>
            <a:schemeClr val="bg1"/>
          </a:solidFill>
        </p:grpSpPr>
        <p:sp>
          <p:nvSpPr>
            <p:cNvPr id="11" name="Freeform 10">
              <a:extLst>
                <a:ext uri="{FF2B5EF4-FFF2-40B4-BE49-F238E27FC236}">
                  <a16:creationId xmlns:a16="http://schemas.microsoft.com/office/drawing/2014/main" id="{5C658A34-6835-4CB5-8A88-D6888CD5AC74}"/>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A1C498E-0163-48F2-9625-F6735D318D8C}"/>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96CB73F8-4CEB-4C16-810D-8B9BE93A6008}"/>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8E9E165-C6F5-4A20-AFBD-A4C0DF50705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4F6F9A3-CE00-4526-A43A-379ED532D7C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7641890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6.1 White end slide">
    <p:bg>
      <p:bgPr>
        <a:solidFill>
          <a:schemeClr val="bg1"/>
        </a:solidFill>
        <a:effectLst/>
      </p:bgPr>
    </p:bg>
    <p:spTree>
      <p:nvGrpSpPr>
        <p:cNvPr id="1" name=""/>
        <p:cNvGrpSpPr/>
        <p:nvPr/>
      </p:nvGrpSpPr>
      <p:grpSpPr>
        <a:xfrm>
          <a:off x="0" y="0"/>
          <a:ext cx="0" cy="0"/>
          <a:chOff x="0" y="0"/>
          <a:chExt cx="0" cy="0"/>
        </a:xfrm>
      </p:grpSpPr>
      <p:grpSp>
        <p:nvGrpSpPr>
          <p:cNvPr id="2" name="Graphic 3">
            <a:extLst>
              <a:ext uri="{FF2B5EF4-FFF2-40B4-BE49-F238E27FC236}">
                <a16:creationId xmlns:a16="http://schemas.microsoft.com/office/drawing/2014/main" id="{46DC4F6B-8D28-1514-E83F-9C8BC35CC881}"/>
              </a:ext>
            </a:extLst>
          </p:cNvPr>
          <p:cNvGrpSpPr/>
          <p:nvPr/>
        </p:nvGrpSpPr>
        <p:grpSpPr>
          <a:xfrm>
            <a:off x="1833317" y="1954988"/>
            <a:ext cx="5477366" cy="1233523"/>
            <a:chOff x="469958" y="1647414"/>
            <a:chExt cx="8205029" cy="1847802"/>
          </a:xfrm>
          <a:solidFill>
            <a:schemeClr val="accent1"/>
          </a:solidFill>
        </p:grpSpPr>
        <p:sp>
          <p:nvSpPr>
            <p:cNvPr id="3" name="Freeform 10">
              <a:extLst>
                <a:ext uri="{FF2B5EF4-FFF2-40B4-BE49-F238E27FC236}">
                  <a16:creationId xmlns:a16="http://schemas.microsoft.com/office/drawing/2014/main" id="{528AAC0C-F8F7-997C-49C5-2DDCFFEF4C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4" name="Freeform 11">
              <a:extLst>
                <a:ext uri="{FF2B5EF4-FFF2-40B4-BE49-F238E27FC236}">
                  <a16:creationId xmlns:a16="http://schemas.microsoft.com/office/drawing/2014/main" id="{709A296F-6430-7EEE-74D0-2B39CDE8E8C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5" name="Freeform 12">
              <a:extLst>
                <a:ext uri="{FF2B5EF4-FFF2-40B4-BE49-F238E27FC236}">
                  <a16:creationId xmlns:a16="http://schemas.microsoft.com/office/drawing/2014/main" id="{98732BD3-7687-3964-C382-BE79A166885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6" name="Freeform 13">
              <a:extLst>
                <a:ext uri="{FF2B5EF4-FFF2-40B4-BE49-F238E27FC236}">
                  <a16:creationId xmlns:a16="http://schemas.microsoft.com/office/drawing/2014/main" id="{9F629670-5E2F-8BFA-0D73-6127F5336BE0}"/>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9B99146A-4055-2125-3098-1EF0E51C585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grpSp>
        <p:nvGrpSpPr>
          <p:cNvPr id="8" name="Graphic 3">
            <a:extLst>
              <a:ext uri="{FF2B5EF4-FFF2-40B4-BE49-F238E27FC236}">
                <a16:creationId xmlns:a16="http://schemas.microsoft.com/office/drawing/2014/main" id="{1949F9D8-6C4E-4021-80B7-0C4743564DFE}"/>
              </a:ext>
            </a:extLst>
          </p:cNvPr>
          <p:cNvGrpSpPr/>
          <p:nvPr userDrawn="1"/>
        </p:nvGrpSpPr>
        <p:grpSpPr>
          <a:xfrm>
            <a:off x="1833317" y="1954988"/>
            <a:ext cx="5477366" cy="1233523"/>
            <a:chOff x="469958" y="1647414"/>
            <a:chExt cx="8205029" cy="1847802"/>
          </a:xfrm>
          <a:solidFill>
            <a:schemeClr val="accent1"/>
          </a:solidFill>
        </p:grpSpPr>
        <p:sp>
          <p:nvSpPr>
            <p:cNvPr id="9" name="Freeform 10">
              <a:extLst>
                <a:ext uri="{FF2B5EF4-FFF2-40B4-BE49-F238E27FC236}">
                  <a16:creationId xmlns:a16="http://schemas.microsoft.com/office/drawing/2014/main" id="{A4E233F7-1FA0-4962-BBB0-9B44907EBE9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0" name="Freeform 11">
              <a:extLst>
                <a:ext uri="{FF2B5EF4-FFF2-40B4-BE49-F238E27FC236}">
                  <a16:creationId xmlns:a16="http://schemas.microsoft.com/office/drawing/2014/main" id="{C1B1A6D8-8951-484B-9828-0A0F322C426B}"/>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1" name="Freeform 12">
              <a:extLst>
                <a:ext uri="{FF2B5EF4-FFF2-40B4-BE49-F238E27FC236}">
                  <a16:creationId xmlns:a16="http://schemas.microsoft.com/office/drawing/2014/main" id="{F5FCCFDE-443E-43DC-9A19-31FC579B6A01}"/>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2" name="Freeform 13">
              <a:extLst>
                <a:ext uri="{FF2B5EF4-FFF2-40B4-BE49-F238E27FC236}">
                  <a16:creationId xmlns:a16="http://schemas.microsoft.com/office/drawing/2014/main" id="{EB5E95C3-206C-48CE-A3DC-3AF0711E4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3" name="Freeform 14">
              <a:extLst>
                <a:ext uri="{FF2B5EF4-FFF2-40B4-BE49-F238E27FC236}">
                  <a16:creationId xmlns:a16="http://schemas.microsoft.com/office/drawing/2014/main" id="{EDB66747-D057-4AAA-8F27-7258274A065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404465540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Roadmap_layout_overvi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76F6C-BD27-4DE7-84DB-F7ECA9D9DE6C}"/>
              </a:ext>
            </a:extLst>
          </p:cNvPr>
          <p:cNvSpPr>
            <a:spLocks noGrp="1"/>
          </p:cNvSpPr>
          <p:nvPr>
            <p:ph type="title"/>
          </p:nvPr>
        </p:nvSpPr>
        <p:spPr>
          <a:xfrm>
            <a:off x="421181" y="290593"/>
            <a:ext cx="7886700" cy="278612"/>
          </a:xfrm>
          <a:prstGeom prst="rect">
            <a:avLst/>
          </a:prstGeom>
        </p:spPr>
        <p:txBody>
          <a:bodyPr lIns="0" tIns="0" rIns="0" bIns="0"/>
          <a:lstStyle>
            <a:lvl1pPr>
              <a:defRPr lang="en-US" sz="2000" baseline="0" dirty="0">
                <a:ea typeface="+mn-ea"/>
                <a:cs typeface="+mn-cs"/>
              </a:defRPr>
            </a:lvl1pPr>
          </a:lstStyle>
          <a:p>
            <a:pPr marL="0" lvl="0" indent="0">
              <a:spcBef>
                <a:spcPts val="750"/>
              </a:spcBef>
              <a:buFont typeface="Arial" panose="020B0604020202020204" pitchFamily="34" charset="0"/>
            </a:pPr>
            <a:r>
              <a:rPr lang="en-US"/>
              <a:t>Click to edit Master title style</a:t>
            </a:r>
          </a:p>
        </p:txBody>
      </p:sp>
      <p:sp>
        <p:nvSpPr>
          <p:cNvPr id="3" name="Footer Placeholder 2">
            <a:extLst>
              <a:ext uri="{FF2B5EF4-FFF2-40B4-BE49-F238E27FC236}">
                <a16:creationId xmlns:a16="http://schemas.microsoft.com/office/drawing/2014/main" id="{DB57295A-A6BF-4193-8538-BC9123B04FBB}"/>
              </a:ext>
            </a:extLst>
          </p:cNvPr>
          <p:cNvSpPr>
            <a:spLocks noGrp="1"/>
          </p:cNvSpPr>
          <p:nvPr>
            <p:ph type="ftr" sz="quarter" idx="10"/>
          </p:nvPr>
        </p:nvSpPr>
        <p:spPr/>
        <p:txBody>
          <a:bodyPr/>
          <a:lstStyle/>
          <a:p>
            <a:r>
              <a:rPr lang="en-GB"/>
              <a:t>Confidential</a:t>
            </a:r>
            <a:endParaRPr lang="en-US"/>
          </a:p>
        </p:txBody>
      </p:sp>
      <p:graphicFrame>
        <p:nvGraphicFramePr>
          <p:cNvPr id="6" name="Table 4">
            <a:extLst>
              <a:ext uri="{FF2B5EF4-FFF2-40B4-BE49-F238E27FC236}">
                <a16:creationId xmlns:a16="http://schemas.microsoft.com/office/drawing/2014/main" id="{5737D3F8-2BDD-48E0-8F7A-B557CE773D5D}"/>
              </a:ext>
            </a:extLst>
          </p:cNvPr>
          <p:cNvGraphicFramePr>
            <a:graphicFrameLocks noGrp="1"/>
          </p:cNvGraphicFramePr>
          <p:nvPr userDrawn="1">
            <p:extLst>
              <p:ext uri="{D42A27DB-BD31-4B8C-83A1-F6EECF244321}">
                <p14:modId xmlns:p14="http://schemas.microsoft.com/office/powerpoint/2010/main" val="3214596612"/>
              </p:ext>
            </p:extLst>
          </p:nvPr>
        </p:nvGraphicFramePr>
        <p:xfrm>
          <a:off x="1233228" y="845924"/>
          <a:ext cx="7702228" cy="3859387"/>
        </p:xfrm>
        <a:graphic>
          <a:graphicData uri="http://schemas.openxmlformats.org/drawingml/2006/table">
            <a:tbl>
              <a:tblPr firstRow="1" bandRow="1">
                <a:tableStyleId>{2D5ABB26-0587-4C30-8999-92F81FD0307C}</a:tableStyleId>
              </a:tblPr>
              <a:tblGrid>
                <a:gridCol w="1285748">
                  <a:extLst>
                    <a:ext uri="{9D8B030D-6E8A-4147-A177-3AD203B41FA5}">
                      <a16:colId xmlns:a16="http://schemas.microsoft.com/office/drawing/2014/main" val="208779886"/>
                    </a:ext>
                  </a:extLst>
                </a:gridCol>
                <a:gridCol w="216260">
                  <a:extLst>
                    <a:ext uri="{9D8B030D-6E8A-4147-A177-3AD203B41FA5}">
                      <a16:colId xmlns:a16="http://schemas.microsoft.com/office/drawing/2014/main" val="3788995373"/>
                    </a:ext>
                  </a:extLst>
                </a:gridCol>
                <a:gridCol w="1460182">
                  <a:extLst>
                    <a:ext uri="{9D8B030D-6E8A-4147-A177-3AD203B41FA5}">
                      <a16:colId xmlns:a16="http://schemas.microsoft.com/office/drawing/2014/main" val="3246948411"/>
                    </a:ext>
                  </a:extLst>
                </a:gridCol>
                <a:gridCol w="216260">
                  <a:extLst>
                    <a:ext uri="{9D8B030D-6E8A-4147-A177-3AD203B41FA5}">
                      <a16:colId xmlns:a16="http://schemas.microsoft.com/office/drawing/2014/main" val="2191085926"/>
                    </a:ext>
                  </a:extLst>
                </a:gridCol>
                <a:gridCol w="1777853">
                  <a:extLst>
                    <a:ext uri="{9D8B030D-6E8A-4147-A177-3AD203B41FA5}">
                      <a16:colId xmlns:a16="http://schemas.microsoft.com/office/drawing/2014/main" val="4132876116"/>
                    </a:ext>
                  </a:extLst>
                </a:gridCol>
                <a:gridCol w="1559721">
                  <a:extLst>
                    <a:ext uri="{9D8B030D-6E8A-4147-A177-3AD203B41FA5}">
                      <a16:colId xmlns:a16="http://schemas.microsoft.com/office/drawing/2014/main" val="1374153042"/>
                    </a:ext>
                  </a:extLst>
                </a:gridCol>
                <a:gridCol w="1186204">
                  <a:extLst>
                    <a:ext uri="{9D8B030D-6E8A-4147-A177-3AD203B41FA5}">
                      <a16:colId xmlns:a16="http://schemas.microsoft.com/office/drawing/2014/main" val="1286212040"/>
                    </a:ext>
                  </a:extLst>
                </a:gridCol>
              </a:tblGrid>
              <a:tr h="271824">
                <a:tc gridSpan="2">
                  <a:txBody>
                    <a:bodyPr/>
                    <a:lstStyle/>
                    <a:p>
                      <a:pPr algn="ctr"/>
                      <a:endParaRPr lang="en-US" sz="1100" b="1" dirty="0">
                        <a:solidFill>
                          <a:srgbClr val="001135"/>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algn="ctr" defTabSz="685800" rtl="0" eaLnBrk="1" latinLnBrk="0" hangingPunct="1"/>
                      <a:endParaRPr lang="en-US" sz="1050" kern="1200">
                        <a:solidFill>
                          <a:srgbClr val="001135"/>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algn="ctr"/>
                      <a:endParaRPr lang="en-US" sz="1100" b="1" dirty="0">
                        <a:solidFill>
                          <a:srgbClr val="001135"/>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100" b="1">
                        <a:solidFill>
                          <a:srgbClr val="001135"/>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100" b="1">
                        <a:solidFill>
                          <a:srgbClr val="001135"/>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lang="en-US" sz="1100" b="1" dirty="0">
                        <a:solidFill>
                          <a:srgbClr val="001135"/>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2">
                  <a:txBody>
                    <a:bodyPr/>
                    <a:lstStyle/>
                    <a:p>
                      <a:pPr algn="ctr"/>
                      <a:r>
                        <a:rPr lang="en-US" sz="1100">
                          <a:solidFill>
                            <a:srgbClr val="001135"/>
                          </a:solidFill>
                        </a:rPr>
                        <a:t>Future</a:t>
                      </a:r>
                      <a:endParaRPr lang="en-US" sz="1100" b="1">
                        <a:solidFill>
                          <a:srgbClr val="001135"/>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09622307"/>
                  </a:ext>
                </a:extLst>
              </a:tr>
              <a:tr h="264513">
                <a:tc gridSpan="2">
                  <a:txBody>
                    <a:bodyPr/>
                    <a:lstStyle/>
                    <a:p>
                      <a:pPr marL="0" algn="ctr" defTabSz="685800" rtl="0" eaLnBrk="1" latinLnBrk="0" hangingPunct="1"/>
                      <a:endParaRPr lang="en-US" sz="900" b="1" kern="1200" dirty="0">
                        <a:solidFill>
                          <a:srgbClr val="001135"/>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algn="ctr" defTabSz="685800" rtl="0" eaLnBrk="1" latinLnBrk="0" hangingPunct="1"/>
                      <a:endParaRPr lang="en-US" sz="900" b="1" kern="1200">
                        <a:solidFill>
                          <a:srgbClr val="001135"/>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marL="0" algn="ctr" defTabSz="685800" rtl="0" eaLnBrk="1" latinLnBrk="0" hangingPunct="1"/>
                      <a:endParaRPr lang="en-US" sz="900" b="1" kern="1200" dirty="0">
                        <a:solidFill>
                          <a:srgbClr val="001135"/>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algn="ctr" defTabSz="685800" rtl="0" eaLnBrk="1" latinLnBrk="0" hangingPunct="1"/>
                      <a:r>
                        <a:rPr lang="en-US" sz="900" b="1" kern="1200">
                          <a:solidFill>
                            <a:srgbClr val="001135"/>
                          </a:solidFill>
                          <a:latin typeface="+mn-lt"/>
                          <a:ea typeface="+mn-ea"/>
                          <a:cs typeface="+mn-cs"/>
                        </a:rPr>
                        <a:t>W23 SP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685800" rtl="0" eaLnBrk="1" latinLnBrk="0" hangingPunct="1"/>
                      <a:endParaRPr lang="en-US" sz="900" b="1" kern="1200" dirty="0">
                        <a:solidFill>
                          <a:srgbClr val="001135"/>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685800" rtl="0" eaLnBrk="1" latinLnBrk="0" hangingPunct="1"/>
                      <a:endParaRPr lang="en-US" sz="900" b="1" kern="1200" dirty="0">
                        <a:solidFill>
                          <a:srgbClr val="001135"/>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pPr algn="ctr"/>
                      <a:endParaRPr lang="en-US" sz="800" b="1">
                        <a:solidFill>
                          <a:schemeClr val="bg1"/>
                        </a:solidFill>
                      </a:endParaRPr>
                    </a:p>
                  </a:txBody>
                  <a:tcPr anchor="ctr">
                    <a:solidFill>
                      <a:srgbClr val="00FFFF"/>
                    </a:solidFill>
                  </a:tcPr>
                </a:tc>
                <a:extLst>
                  <a:ext uri="{0D108BD9-81ED-4DB2-BD59-A6C34878D82A}">
                    <a16:rowId xmlns:a16="http://schemas.microsoft.com/office/drawing/2014/main" val="2575996795"/>
                  </a:ext>
                </a:extLst>
              </a:tr>
              <a:tr h="812427">
                <a:tc>
                  <a:txBody>
                    <a:bodyPr/>
                    <a:lstStyle/>
                    <a:p>
                      <a:pPr marL="171450" indent="-171450" algn="l" defTabSz="457200" rtl="0" eaLnBrk="1" latinLnBrk="0" hangingPunct="1">
                        <a:buFont typeface="Arial" panose="020B0604020202020204" pitchFamily="34" charset="0"/>
                        <a:buChar char="•"/>
                      </a:pPr>
                      <a:endParaRPr lang="en-US" sz="700" b="0" kern="120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Font typeface="Arial" panose="020B0604020202020204" pitchFamily="34" charset="0"/>
                        <a:buNone/>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736825"/>
                  </a:ext>
                </a:extLst>
              </a:tr>
              <a:tr h="812426">
                <a:tc>
                  <a:txBody>
                    <a:bodyPr/>
                    <a:lstStyle/>
                    <a:p>
                      <a:pPr marL="171450" indent="-171450" algn="l" defTabSz="457200" rtl="0" eaLnBrk="1" latinLnBrk="0" hangingPunct="1">
                        <a:buFont typeface="Arial" panose="020B0604020202020204" pitchFamily="34" charset="0"/>
                        <a:buChar char="•"/>
                      </a:pPr>
                      <a:endParaRPr lang="nb-NO" sz="700" kern="1200">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kern="120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96587011"/>
                  </a:ext>
                </a:extLst>
              </a:tr>
              <a:tr h="792116">
                <a:tc>
                  <a:txBody>
                    <a:bodyPr/>
                    <a:lstStyle/>
                    <a:p>
                      <a:pPr marL="171450" indent="-171450" algn="l" defTabSz="457200" rtl="0" eaLnBrk="1" latinLnBrk="0" hangingPunct="1">
                        <a:buFont typeface="Arial" panose="020B0604020202020204" pitchFamily="34" charset="0"/>
                        <a:buChar char="•"/>
                      </a:pPr>
                      <a:endParaRPr lang="en-US" sz="700" b="0" kern="120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Font typeface="Arial" panose="020B0604020202020204" pitchFamily="34" charset="0"/>
                        <a:buNone/>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83887530"/>
                  </a:ext>
                </a:extLst>
              </a:tr>
              <a:tr h="906081">
                <a:tc>
                  <a:txBody>
                    <a:bodyPr/>
                    <a:lstStyle/>
                    <a:p>
                      <a:pPr marL="171450" indent="-171450" algn="l" defTabSz="457200" rtl="0" eaLnBrk="1" latinLnBrk="0" hangingPunct="1">
                        <a:buFont typeface="Arial" panose="020B0604020202020204" pitchFamily="34" charset="0"/>
                        <a:buChar char="•"/>
                      </a:pPr>
                      <a:endParaRPr lang="en-US" sz="700" b="0" kern="120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b="0">
                        <a:solidFill>
                          <a:schemeClr val="accent6">
                            <a:lumMod val="10000"/>
                          </a:schemeClr>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kern="120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kern="120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kern="120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kern="1200" dirty="0">
                        <a:solidFill>
                          <a:schemeClr val="tx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endParaRPr lang="en-US" sz="700" dirty="0">
                        <a:latin typeface="Nokia Pure Text Light" panose="020B0304040602060303" pitchFamily="34" charset="0"/>
                        <a:ea typeface="Nokia Pure Text Light" panose="020B0304040602060303" pitchFamily="34" charset="0"/>
                        <a:cs typeface="Nokia Pure Text Light" panose="020B03040406020603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1897139"/>
                  </a:ext>
                </a:extLst>
              </a:tr>
            </a:tbl>
          </a:graphicData>
        </a:graphic>
      </p:graphicFrame>
      <p:grpSp>
        <p:nvGrpSpPr>
          <p:cNvPr id="7" name="Group 6">
            <a:extLst>
              <a:ext uri="{FF2B5EF4-FFF2-40B4-BE49-F238E27FC236}">
                <a16:creationId xmlns:a16="http://schemas.microsoft.com/office/drawing/2014/main" id="{5DFD819A-9391-4636-B36D-B497B24A11F7}"/>
              </a:ext>
            </a:extLst>
          </p:cNvPr>
          <p:cNvGrpSpPr/>
          <p:nvPr userDrawn="1"/>
        </p:nvGrpSpPr>
        <p:grpSpPr>
          <a:xfrm>
            <a:off x="310283" y="1377997"/>
            <a:ext cx="8603467" cy="272366"/>
            <a:chOff x="310282" y="1321629"/>
            <a:chExt cx="8603467" cy="272366"/>
          </a:xfrm>
        </p:grpSpPr>
        <p:sp>
          <p:nvSpPr>
            <p:cNvPr id="8" name="Rectangle 7">
              <a:extLst>
                <a:ext uri="{FF2B5EF4-FFF2-40B4-BE49-F238E27FC236}">
                  <a16:creationId xmlns:a16="http://schemas.microsoft.com/office/drawing/2014/main" id="{293B6EC2-85A4-4F5F-B9A8-CDD87349CFC1}"/>
                </a:ext>
              </a:extLst>
            </p:cNvPr>
            <p:cNvSpPr/>
            <p:nvPr/>
          </p:nvSpPr>
          <p:spPr>
            <a:xfrm>
              <a:off x="310282" y="1330859"/>
              <a:ext cx="821206" cy="263136"/>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tx1"/>
                </a:solidFill>
                <a:effectLst/>
                <a:uLnTx/>
                <a:uFillTx/>
                <a:latin typeface="Nokia Pure Text Light"/>
                <a:ea typeface="+mn-ea"/>
                <a:cs typeface="+mn-cs"/>
              </a:endParaRPr>
            </a:p>
          </p:txBody>
        </p:sp>
        <p:cxnSp>
          <p:nvCxnSpPr>
            <p:cNvPr id="9" name="Straight Connector 8">
              <a:extLst>
                <a:ext uri="{FF2B5EF4-FFF2-40B4-BE49-F238E27FC236}">
                  <a16:creationId xmlns:a16="http://schemas.microsoft.com/office/drawing/2014/main" id="{36B68B2F-25F6-4067-92AD-2DB8B59CA83B}"/>
                </a:ext>
              </a:extLst>
            </p:cNvPr>
            <p:cNvCxnSpPr>
              <a:cxnSpLocks/>
            </p:cNvCxnSpPr>
            <p:nvPr/>
          </p:nvCxnSpPr>
          <p:spPr>
            <a:xfrm>
              <a:off x="310282" y="1321629"/>
              <a:ext cx="8603467" cy="0"/>
            </a:xfrm>
            <a:prstGeom prst="line">
              <a:avLst/>
            </a:prstGeom>
            <a:solidFill>
              <a:schemeClr val="accent3"/>
            </a:solidFill>
            <a:ln w="28575" cmpd="sng">
              <a:solidFill>
                <a:schemeClr val="accent3"/>
              </a:solidFill>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66DAA76E-E416-4745-8952-347A79457E25}"/>
              </a:ext>
            </a:extLst>
          </p:cNvPr>
          <p:cNvGrpSpPr/>
          <p:nvPr userDrawn="1"/>
        </p:nvGrpSpPr>
        <p:grpSpPr>
          <a:xfrm>
            <a:off x="310282" y="2194362"/>
            <a:ext cx="8603467" cy="263136"/>
            <a:chOff x="310281" y="2031132"/>
            <a:chExt cx="8603467" cy="263136"/>
          </a:xfrm>
        </p:grpSpPr>
        <p:sp>
          <p:nvSpPr>
            <p:cNvPr id="11" name="Rectangle 10">
              <a:extLst>
                <a:ext uri="{FF2B5EF4-FFF2-40B4-BE49-F238E27FC236}">
                  <a16:creationId xmlns:a16="http://schemas.microsoft.com/office/drawing/2014/main" id="{341C035F-F2CA-4CE9-92D2-424CF740C8FF}"/>
                </a:ext>
              </a:extLst>
            </p:cNvPr>
            <p:cNvSpPr/>
            <p:nvPr/>
          </p:nvSpPr>
          <p:spPr>
            <a:xfrm>
              <a:off x="310282" y="2031132"/>
              <a:ext cx="821206" cy="263136"/>
            </a:xfrm>
            <a:prstGeom prst="rect">
              <a:avLst/>
            </a:prstGeom>
            <a:solidFill>
              <a:schemeClr val="tx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Nokia Pure Text Light"/>
                <a:ea typeface="+mn-ea"/>
                <a:cs typeface="+mn-cs"/>
              </a:endParaRPr>
            </a:p>
          </p:txBody>
        </p:sp>
        <p:cxnSp>
          <p:nvCxnSpPr>
            <p:cNvPr id="12" name="Straight Connector 11">
              <a:extLst>
                <a:ext uri="{FF2B5EF4-FFF2-40B4-BE49-F238E27FC236}">
                  <a16:creationId xmlns:a16="http://schemas.microsoft.com/office/drawing/2014/main" id="{C194BE7C-AF81-4CDA-ACD6-988F2EA097F3}"/>
                </a:ext>
              </a:extLst>
            </p:cNvPr>
            <p:cNvCxnSpPr>
              <a:cxnSpLocks/>
            </p:cNvCxnSpPr>
            <p:nvPr/>
          </p:nvCxnSpPr>
          <p:spPr>
            <a:xfrm>
              <a:off x="310281" y="2031132"/>
              <a:ext cx="8603467" cy="0"/>
            </a:xfrm>
            <a:prstGeom prst="line">
              <a:avLst/>
            </a:prstGeom>
            <a:ln w="28575"/>
          </p:spPr>
          <p:style>
            <a:lnRef idx="1">
              <a:schemeClr val="dk1"/>
            </a:lnRef>
            <a:fillRef idx="0">
              <a:schemeClr val="dk1"/>
            </a:fillRef>
            <a:effectRef idx="0">
              <a:schemeClr val="dk1"/>
            </a:effectRef>
            <a:fontRef idx="minor">
              <a:schemeClr val="tx1"/>
            </a:fontRef>
          </p:style>
        </p:cxnSp>
      </p:grpSp>
      <p:grpSp>
        <p:nvGrpSpPr>
          <p:cNvPr id="13" name="Group 12">
            <a:extLst>
              <a:ext uri="{FF2B5EF4-FFF2-40B4-BE49-F238E27FC236}">
                <a16:creationId xmlns:a16="http://schemas.microsoft.com/office/drawing/2014/main" id="{E95C88D0-CC90-48C9-886E-C115CAC07C35}"/>
              </a:ext>
            </a:extLst>
          </p:cNvPr>
          <p:cNvGrpSpPr/>
          <p:nvPr userDrawn="1"/>
        </p:nvGrpSpPr>
        <p:grpSpPr>
          <a:xfrm>
            <a:off x="310283" y="2995013"/>
            <a:ext cx="8603467" cy="263136"/>
            <a:chOff x="310282" y="2952683"/>
            <a:chExt cx="8603467" cy="263136"/>
          </a:xfrm>
          <a:solidFill>
            <a:srgbClr val="001135"/>
          </a:solidFill>
        </p:grpSpPr>
        <p:sp>
          <p:nvSpPr>
            <p:cNvPr id="14" name="Rectangle 13">
              <a:extLst>
                <a:ext uri="{FF2B5EF4-FFF2-40B4-BE49-F238E27FC236}">
                  <a16:creationId xmlns:a16="http://schemas.microsoft.com/office/drawing/2014/main" id="{598BAD94-4AF1-47BE-8FB4-D016A0CE4C30}"/>
                </a:ext>
              </a:extLst>
            </p:cNvPr>
            <p:cNvSpPr/>
            <p:nvPr/>
          </p:nvSpPr>
          <p:spPr>
            <a:xfrm>
              <a:off x="310282" y="2952683"/>
              <a:ext cx="821206" cy="26313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Nokia Pure Text Light"/>
                <a:ea typeface="+mn-ea"/>
                <a:cs typeface="+mn-cs"/>
              </a:endParaRPr>
            </a:p>
          </p:txBody>
        </p:sp>
        <p:cxnSp>
          <p:nvCxnSpPr>
            <p:cNvPr id="15" name="Straight Connector 14">
              <a:extLst>
                <a:ext uri="{FF2B5EF4-FFF2-40B4-BE49-F238E27FC236}">
                  <a16:creationId xmlns:a16="http://schemas.microsoft.com/office/drawing/2014/main" id="{F36BF102-25EB-41AA-819D-B356D44E80A5}"/>
                </a:ext>
              </a:extLst>
            </p:cNvPr>
            <p:cNvCxnSpPr>
              <a:cxnSpLocks/>
            </p:cNvCxnSpPr>
            <p:nvPr/>
          </p:nvCxnSpPr>
          <p:spPr>
            <a:xfrm>
              <a:off x="310282" y="2952683"/>
              <a:ext cx="8603467" cy="0"/>
            </a:xfrm>
            <a:prstGeom prst="line">
              <a:avLst/>
            </a:prstGeom>
            <a:grpFill/>
            <a:ln w="28575" cmpd="sng">
              <a:solidFill>
                <a:srgbClr val="001135"/>
              </a:solidFill>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50C33A51-D7A8-4085-849A-30B9362CD840}"/>
              </a:ext>
            </a:extLst>
          </p:cNvPr>
          <p:cNvGrpSpPr/>
          <p:nvPr userDrawn="1"/>
        </p:nvGrpSpPr>
        <p:grpSpPr>
          <a:xfrm>
            <a:off x="310283" y="3795665"/>
            <a:ext cx="8603467" cy="263136"/>
            <a:chOff x="310282" y="3674047"/>
            <a:chExt cx="8603467" cy="263136"/>
          </a:xfrm>
          <a:solidFill>
            <a:schemeClr val="bg2"/>
          </a:solidFill>
        </p:grpSpPr>
        <p:sp>
          <p:nvSpPr>
            <p:cNvPr id="17" name="Rectangle 16">
              <a:extLst>
                <a:ext uri="{FF2B5EF4-FFF2-40B4-BE49-F238E27FC236}">
                  <a16:creationId xmlns:a16="http://schemas.microsoft.com/office/drawing/2014/main" id="{4E9D1FFF-6281-4DA0-8F72-5D55E21F743B}"/>
                </a:ext>
              </a:extLst>
            </p:cNvPr>
            <p:cNvSpPr/>
            <p:nvPr/>
          </p:nvSpPr>
          <p:spPr>
            <a:xfrm>
              <a:off x="310282" y="3674047"/>
              <a:ext cx="821206" cy="26313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ctr" anchorCtr="0"/>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Nokia Pure Text Light"/>
                <a:ea typeface="+mn-ea"/>
                <a:cs typeface="+mn-cs"/>
              </a:endParaRPr>
            </a:p>
          </p:txBody>
        </p:sp>
        <p:cxnSp>
          <p:nvCxnSpPr>
            <p:cNvPr id="18" name="Straight Connector 17">
              <a:extLst>
                <a:ext uri="{FF2B5EF4-FFF2-40B4-BE49-F238E27FC236}">
                  <a16:creationId xmlns:a16="http://schemas.microsoft.com/office/drawing/2014/main" id="{5B59F359-F8CF-45F1-A61B-1EF385D435D8}"/>
                </a:ext>
              </a:extLst>
            </p:cNvPr>
            <p:cNvCxnSpPr>
              <a:cxnSpLocks/>
            </p:cNvCxnSpPr>
            <p:nvPr/>
          </p:nvCxnSpPr>
          <p:spPr>
            <a:xfrm>
              <a:off x="310282" y="3674047"/>
              <a:ext cx="8603467" cy="0"/>
            </a:xfrm>
            <a:prstGeom prst="line">
              <a:avLst/>
            </a:prstGeom>
            <a:grpFill/>
            <a:ln w="28575" cmpd="sng">
              <a:solidFill>
                <a:schemeClr val="bg2"/>
              </a:solidFill>
            </a:ln>
            <a:effectLst/>
          </p:spPr>
          <p:style>
            <a:lnRef idx="2">
              <a:schemeClr val="accent1"/>
            </a:lnRef>
            <a:fillRef idx="0">
              <a:schemeClr val="accent1"/>
            </a:fillRef>
            <a:effectRef idx="1">
              <a:schemeClr val="accent1"/>
            </a:effectRef>
            <a:fontRef idx="minor">
              <a:schemeClr val="tx1"/>
            </a:fontRef>
          </p:style>
        </p:cxnSp>
      </p:grpSp>
      <p:sp>
        <p:nvSpPr>
          <p:cNvPr id="5" name="Text Placeholder 4">
            <a:extLst>
              <a:ext uri="{FF2B5EF4-FFF2-40B4-BE49-F238E27FC236}">
                <a16:creationId xmlns:a16="http://schemas.microsoft.com/office/drawing/2014/main" id="{4A601430-2636-4B92-A3BB-B1B9B6CA996D}"/>
              </a:ext>
            </a:extLst>
          </p:cNvPr>
          <p:cNvSpPr>
            <a:spLocks noGrp="1"/>
          </p:cNvSpPr>
          <p:nvPr>
            <p:ph type="body" sz="quarter" idx="11" hasCustomPrompt="1"/>
          </p:nvPr>
        </p:nvSpPr>
        <p:spPr>
          <a:xfrm>
            <a:off x="346168" y="1413305"/>
            <a:ext cx="765728" cy="206489"/>
          </a:xfrm>
          <a:prstGeom prst="rect">
            <a:avLst/>
          </a:prstGeom>
        </p:spPr>
        <p:txBody>
          <a:bodyPr anchor="ctr"/>
          <a:lstStyle>
            <a:lvl1pPr marL="0" indent="0" algn="ctr">
              <a:buNone/>
              <a:defRPr sz="1050" b="0"/>
            </a:lvl1pPr>
            <a:lvl2pPr marL="342892" indent="0">
              <a:buNone/>
              <a:defRPr/>
            </a:lvl2pPr>
            <a:lvl3pPr marL="685783" indent="0">
              <a:buNone/>
              <a:defRPr/>
            </a:lvl3pPr>
            <a:lvl4pPr marL="1028675" indent="0">
              <a:buNone/>
              <a:defRPr/>
            </a:lvl4pPr>
            <a:lvl5pPr marL="1371566" indent="0">
              <a:buNone/>
              <a:defRPr/>
            </a:lvl5pPr>
          </a:lstStyle>
          <a:p>
            <a:pPr lvl="0"/>
            <a:r>
              <a:rPr lang="en-US"/>
              <a:t>Theme 1</a:t>
            </a:r>
          </a:p>
        </p:txBody>
      </p:sp>
      <p:sp>
        <p:nvSpPr>
          <p:cNvPr id="19" name="Text Placeholder 4">
            <a:extLst>
              <a:ext uri="{FF2B5EF4-FFF2-40B4-BE49-F238E27FC236}">
                <a16:creationId xmlns:a16="http://schemas.microsoft.com/office/drawing/2014/main" id="{0F4744E2-28B9-4C08-8EDE-EF3F5F080BDE}"/>
              </a:ext>
            </a:extLst>
          </p:cNvPr>
          <p:cNvSpPr>
            <a:spLocks noGrp="1"/>
          </p:cNvSpPr>
          <p:nvPr>
            <p:ph type="body" sz="quarter" idx="12" hasCustomPrompt="1"/>
          </p:nvPr>
        </p:nvSpPr>
        <p:spPr>
          <a:xfrm>
            <a:off x="338022" y="2222661"/>
            <a:ext cx="765728" cy="206489"/>
          </a:xfrm>
          <a:prstGeom prst="rect">
            <a:avLst/>
          </a:prstGeom>
        </p:spPr>
        <p:txBody>
          <a:bodyPr anchor="ctr"/>
          <a:lstStyle>
            <a:lvl1pPr marL="0" indent="0" algn="ctr">
              <a:buNone/>
              <a:defRPr sz="1050" b="0">
                <a:solidFill>
                  <a:schemeClr val="bg1"/>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Theme 2</a:t>
            </a:r>
          </a:p>
        </p:txBody>
      </p:sp>
      <p:sp>
        <p:nvSpPr>
          <p:cNvPr id="20" name="Text Placeholder 4">
            <a:extLst>
              <a:ext uri="{FF2B5EF4-FFF2-40B4-BE49-F238E27FC236}">
                <a16:creationId xmlns:a16="http://schemas.microsoft.com/office/drawing/2014/main" id="{286D1E86-1C47-48DF-969A-C5606F0655A6}"/>
              </a:ext>
            </a:extLst>
          </p:cNvPr>
          <p:cNvSpPr>
            <a:spLocks noGrp="1"/>
          </p:cNvSpPr>
          <p:nvPr>
            <p:ph type="body" sz="quarter" idx="13" hasCustomPrompt="1"/>
          </p:nvPr>
        </p:nvSpPr>
        <p:spPr>
          <a:xfrm>
            <a:off x="331990" y="3022157"/>
            <a:ext cx="765728" cy="206489"/>
          </a:xfrm>
          <a:prstGeom prst="rect">
            <a:avLst/>
          </a:prstGeom>
        </p:spPr>
        <p:txBody>
          <a:bodyPr anchor="ctr"/>
          <a:lstStyle>
            <a:lvl1pPr marL="0" indent="0" algn="ctr">
              <a:buNone/>
              <a:defRPr sz="1050" b="0">
                <a:solidFill>
                  <a:schemeClr val="bg1"/>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Theme 3</a:t>
            </a:r>
          </a:p>
        </p:txBody>
      </p:sp>
      <p:sp>
        <p:nvSpPr>
          <p:cNvPr id="21" name="Text Placeholder 4">
            <a:extLst>
              <a:ext uri="{FF2B5EF4-FFF2-40B4-BE49-F238E27FC236}">
                <a16:creationId xmlns:a16="http://schemas.microsoft.com/office/drawing/2014/main" id="{1A3661FF-D817-490E-8ADF-E74FBBF2C3D8}"/>
              </a:ext>
            </a:extLst>
          </p:cNvPr>
          <p:cNvSpPr>
            <a:spLocks noGrp="1"/>
          </p:cNvSpPr>
          <p:nvPr>
            <p:ph type="body" sz="quarter" idx="14" hasCustomPrompt="1"/>
          </p:nvPr>
        </p:nvSpPr>
        <p:spPr>
          <a:xfrm>
            <a:off x="331990" y="3823892"/>
            <a:ext cx="765728" cy="206489"/>
          </a:xfrm>
          <a:prstGeom prst="rect">
            <a:avLst/>
          </a:prstGeom>
        </p:spPr>
        <p:txBody>
          <a:bodyPr anchor="ctr"/>
          <a:lstStyle>
            <a:lvl1pPr marL="0" indent="0" algn="ctr">
              <a:buNone/>
              <a:defRPr sz="1050" b="0">
                <a:solidFill>
                  <a:schemeClr val="bg1"/>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Theme 4</a:t>
            </a:r>
          </a:p>
        </p:txBody>
      </p:sp>
      <p:sp>
        <p:nvSpPr>
          <p:cNvPr id="22" name="Text Placeholder 4">
            <a:extLst>
              <a:ext uri="{FF2B5EF4-FFF2-40B4-BE49-F238E27FC236}">
                <a16:creationId xmlns:a16="http://schemas.microsoft.com/office/drawing/2014/main" id="{3A31938E-84FB-4D0B-B206-D4544F73A32A}"/>
              </a:ext>
            </a:extLst>
          </p:cNvPr>
          <p:cNvSpPr>
            <a:spLocks noGrp="1"/>
          </p:cNvSpPr>
          <p:nvPr>
            <p:ph type="body" sz="quarter" idx="15" hasCustomPrompt="1"/>
          </p:nvPr>
        </p:nvSpPr>
        <p:spPr>
          <a:xfrm>
            <a:off x="1740001" y="1158773"/>
            <a:ext cx="765728" cy="154447"/>
          </a:xfrm>
          <a:prstGeom prst="rect">
            <a:avLst/>
          </a:prstGeom>
        </p:spPr>
        <p:txBody>
          <a:bodyPr anchor="ctr"/>
          <a:lstStyle>
            <a:lvl1pPr marL="0" indent="0" algn="ctr">
              <a:buNone/>
              <a:defRPr sz="900" b="1">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Release</a:t>
            </a:r>
          </a:p>
        </p:txBody>
      </p:sp>
      <p:sp>
        <p:nvSpPr>
          <p:cNvPr id="24" name="Text Placeholder 4">
            <a:extLst>
              <a:ext uri="{FF2B5EF4-FFF2-40B4-BE49-F238E27FC236}">
                <a16:creationId xmlns:a16="http://schemas.microsoft.com/office/drawing/2014/main" id="{9770E118-F8C5-4242-8A71-79BD7861A572}"/>
              </a:ext>
            </a:extLst>
          </p:cNvPr>
          <p:cNvSpPr>
            <a:spLocks noGrp="1"/>
          </p:cNvSpPr>
          <p:nvPr>
            <p:ph type="body" sz="quarter" idx="17" hasCustomPrompt="1"/>
          </p:nvPr>
        </p:nvSpPr>
        <p:spPr>
          <a:xfrm>
            <a:off x="3130004" y="1144043"/>
            <a:ext cx="765728" cy="154447"/>
          </a:xfrm>
          <a:prstGeom prst="rect">
            <a:avLst/>
          </a:prstGeom>
        </p:spPr>
        <p:txBody>
          <a:bodyPr anchor="ctr"/>
          <a:lstStyle>
            <a:lvl1pPr marL="0" indent="0" algn="ctr">
              <a:buNone/>
              <a:defRPr sz="900" b="1">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dirty="0"/>
              <a:t>Release</a:t>
            </a:r>
          </a:p>
        </p:txBody>
      </p:sp>
      <p:sp>
        <p:nvSpPr>
          <p:cNvPr id="25" name="Text Placeholder 4">
            <a:extLst>
              <a:ext uri="{FF2B5EF4-FFF2-40B4-BE49-F238E27FC236}">
                <a16:creationId xmlns:a16="http://schemas.microsoft.com/office/drawing/2014/main" id="{CB0326FB-F565-4A16-B107-235E2DB3FF93}"/>
              </a:ext>
            </a:extLst>
          </p:cNvPr>
          <p:cNvSpPr>
            <a:spLocks noGrp="1"/>
          </p:cNvSpPr>
          <p:nvPr>
            <p:ph type="body" sz="quarter" idx="18" hasCustomPrompt="1"/>
          </p:nvPr>
        </p:nvSpPr>
        <p:spPr>
          <a:xfrm>
            <a:off x="5103203" y="1151515"/>
            <a:ext cx="765728" cy="154447"/>
          </a:xfrm>
          <a:prstGeom prst="rect">
            <a:avLst/>
          </a:prstGeom>
        </p:spPr>
        <p:txBody>
          <a:bodyPr anchor="ctr"/>
          <a:lstStyle>
            <a:lvl1pPr marL="0" indent="0" algn="ctr">
              <a:buNone/>
              <a:defRPr sz="900" b="1">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Release</a:t>
            </a:r>
          </a:p>
        </p:txBody>
      </p:sp>
      <p:sp>
        <p:nvSpPr>
          <p:cNvPr id="26" name="Text Placeholder 4">
            <a:extLst>
              <a:ext uri="{FF2B5EF4-FFF2-40B4-BE49-F238E27FC236}">
                <a16:creationId xmlns:a16="http://schemas.microsoft.com/office/drawing/2014/main" id="{51DBD012-C3F8-4B65-9BBD-6E738E8F222C}"/>
              </a:ext>
            </a:extLst>
          </p:cNvPr>
          <p:cNvSpPr>
            <a:spLocks noGrp="1"/>
          </p:cNvSpPr>
          <p:nvPr>
            <p:ph type="body" sz="quarter" idx="19" hasCustomPrompt="1"/>
          </p:nvPr>
        </p:nvSpPr>
        <p:spPr>
          <a:xfrm>
            <a:off x="1739890" y="845924"/>
            <a:ext cx="765728" cy="206489"/>
          </a:xfrm>
          <a:prstGeom prst="rect">
            <a:avLst/>
          </a:prstGeom>
        </p:spPr>
        <p:txBody>
          <a:bodyPr anchor="ctr"/>
          <a:lstStyle>
            <a:lvl1pPr marL="0" indent="0" algn="ctr">
              <a:buNone/>
              <a:defRPr sz="1050" b="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Year</a:t>
            </a:r>
          </a:p>
        </p:txBody>
      </p:sp>
      <p:sp>
        <p:nvSpPr>
          <p:cNvPr id="28" name="Text Placeholder 4">
            <a:extLst>
              <a:ext uri="{FF2B5EF4-FFF2-40B4-BE49-F238E27FC236}">
                <a16:creationId xmlns:a16="http://schemas.microsoft.com/office/drawing/2014/main" id="{7B4A4894-F41C-41C5-96F4-51E167A1E13B}"/>
              </a:ext>
            </a:extLst>
          </p:cNvPr>
          <p:cNvSpPr>
            <a:spLocks noGrp="1"/>
          </p:cNvSpPr>
          <p:nvPr>
            <p:ph type="body" sz="quarter" idx="24" hasCustomPrompt="1"/>
          </p:nvPr>
        </p:nvSpPr>
        <p:spPr>
          <a:xfrm>
            <a:off x="6638271" y="1144044"/>
            <a:ext cx="765728" cy="154447"/>
          </a:xfrm>
          <a:prstGeom prst="rect">
            <a:avLst/>
          </a:prstGeom>
        </p:spPr>
        <p:txBody>
          <a:bodyPr anchor="ctr"/>
          <a:lstStyle>
            <a:lvl1pPr marL="0" indent="0" algn="ctr">
              <a:buNone/>
              <a:defRPr sz="900" b="1">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dirty="0"/>
              <a:t>Release</a:t>
            </a:r>
          </a:p>
        </p:txBody>
      </p:sp>
      <p:sp>
        <p:nvSpPr>
          <p:cNvPr id="32" name="Text Placeholder 4">
            <a:extLst>
              <a:ext uri="{FF2B5EF4-FFF2-40B4-BE49-F238E27FC236}">
                <a16:creationId xmlns:a16="http://schemas.microsoft.com/office/drawing/2014/main" id="{9619D5E2-3F9C-4858-97C6-2F5C872B6322}"/>
              </a:ext>
            </a:extLst>
          </p:cNvPr>
          <p:cNvSpPr>
            <a:spLocks noGrp="1"/>
          </p:cNvSpPr>
          <p:nvPr>
            <p:ph type="body" sz="quarter" idx="25" hasCustomPrompt="1"/>
          </p:nvPr>
        </p:nvSpPr>
        <p:spPr>
          <a:xfrm>
            <a:off x="4001520" y="890783"/>
            <a:ext cx="765728" cy="206489"/>
          </a:xfrm>
          <a:prstGeom prst="rect">
            <a:avLst/>
          </a:prstGeom>
        </p:spPr>
        <p:txBody>
          <a:bodyPr anchor="ctr"/>
          <a:lstStyle>
            <a:lvl1pPr marL="0" indent="0" algn="ctr">
              <a:buNone/>
              <a:defRPr sz="1050" b="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Year+1</a:t>
            </a:r>
          </a:p>
        </p:txBody>
      </p:sp>
      <p:sp>
        <p:nvSpPr>
          <p:cNvPr id="33" name="Text Placeholder 4">
            <a:extLst>
              <a:ext uri="{FF2B5EF4-FFF2-40B4-BE49-F238E27FC236}">
                <a16:creationId xmlns:a16="http://schemas.microsoft.com/office/drawing/2014/main" id="{B8A877B3-3DED-4F93-9E65-508CD1BF79A5}"/>
              </a:ext>
            </a:extLst>
          </p:cNvPr>
          <p:cNvSpPr>
            <a:spLocks noGrp="1"/>
          </p:cNvSpPr>
          <p:nvPr>
            <p:ph type="body" sz="quarter" idx="26" hasCustomPrompt="1"/>
          </p:nvPr>
        </p:nvSpPr>
        <p:spPr>
          <a:xfrm>
            <a:off x="6713794" y="864770"/>
            <a:ext cx="765728" cy="206489"/>
          </a:xfrm>
          <a:prstGeom prst="rect">
            <a:avLst/>
          </a:prstGeom>
        </p:spPr>
        <p:txBody>
          <a:bodyPr anchor="ctr"/>
          <a:lstStyle>
            <a:lvl1pPr marL="0" indent="0" algn="ctr">
              <a:buNone/>
              <a:defRPr sz="1050" b="0">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Year+1</a:t>
            </a:r>
          </a:p>
        </p:txBody>
      </p:sp>
      <p:pic>
        <p:nvPicPr>
          <p:cNvPr id="34" name="Graphic 33">
            <a:extLst>
              <a:ext uri="{FF2B5EF4-FFF2-40B4-BE49-F238E27FC236}">
                <a16:creationId xmlns:a16="http://schemas.microsoft.com/office/drawing/2014/main" id="{65AD8250-9F40-434E-B004-8D367934E24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10772" y="4675310"/>
            <a:ext cx="972000" cy="219014"/>
          </a:xfrm>
          <a:prstGeom prst="rect">
            <a:avLst/>
          </a:prstGeom>
        </p:spPr>
      </p:pic>
    </p:spTree>
    <p:extLst>
      <p:ext uri="{BB962C8B-B14F-4D97-AF65-F5344CB8AC3E}">
        <p14:creationId xmlns:p14="http://schemas.microsoft.com/office/powerpoint/2010/main" val="48677181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1.2_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1D69DC-9F16-4CA4-A0E0-1872B8AD5DBC}"/>
              </a:ext>
            </a:extLst>
          </p:cNvPr>
          <p:cNvSpPr>
            <a:spLocks noGrp="1"/>
          </p:cNvSpPr>
          <p:nvPr>
            <p:ph type="ftr" sz="quarter" idx="10"/>
          </p:nvPr>
        </p:nvSpPr>
        <p:spPr/>
        <p:txBody>
          <a:bodyPr/>
          <a:lstStyle/>
          <a:p>
            <a:r>
              <a:rPr lang="en-GB"/>
              <a:t>Confidential</a:t>
            </a:r>
            <a:endParaRPr lang="en-US"/>
          </a:p>
        </p:txBody>
      </p:sp>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648000"/>
          </a:xfrm>
          <a:prstGeom prst="rect">
            <a:avLst/>
          </a:prstGeom>
        </p:spPr>
        <p:txBody>
          <a:bodyPr lIns="0" tIns="0" rIns="0" bIns="0"/>
          <a:lstStyle>
            <a:lvl1pPr marL="0" indent="0">
              <a:lnSpc>
                <a:spcPct val="100000"/>
              </a:lnSpc>
              <a:spcBef>
                <a:spcPts val="0"/>
              </a:spcBef>
              <a:buNone/>
              <a:defRPr sz="2000" baseline="0">
                <a:solidFill>
                  <a:schemeClr val="tx1"/>
                </a:solidFill>
                <a:latin typeface="Nokia Pure Headline Light" panose="020B0304040602060303" pitchFamily="34" charset="0"/>
              </a:defRPr>
            </a:lvl1pPr>
          </a:lstStyle>
          <a:p>
            <a:pPr lvl="0"/>
            <a:r>
              <a:rPr lang="en-US" noProof="0"/>
              <a:t>Click to edit headline</a:t>
            </a:r>
          </a:p>
        </p:txBody>
      </p:sp>
    </p:spTree>
    <p:extLst>
      <p:ext uri="{BB962C8B-B14F-4D97-AF65-F5344CB8AC3E}">
        <p14:creationId xmlns:p14="http://schemas.microsoft.com/office/powerpoint/2010/main" val="3955920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2 - Bullet 2/3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3096000" y="0"/>
            <a:ext cx="6048000" cy="5143500"/>
          </a:xfrm>
          <a:prstGeom prst="rect">
            <a:avLst/>
          </a:prstGeom>
          <a:solidFill>
            <a:schemeClr val="tx2"/>
          </a:solidFill>
        </p:spPr>
        <p:txBody>
          <a:bodyPr/>
          <a:lstStyle>
            <a:lvl1pPr marL="0" indent="0">
              <a:buNone/>
              <a:defRPr sz="1000">
                <a:solidFill>
                  <a:schemeClr val="bg1"/>
                </a:solidFill>
              </a:defRPr>
            </a:lvl1pPr>
          </a:lstStyle>
          <a:p>
            <a:r>
              <a:rPr lang="en-US" dirty="0"/>
              <a:t>Click to add picture</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a:extLst>
              <a:ext uri="{FF2B5EF4-FFF2-40B4-BE49-F238E27FC236}">
                <a16:creationId xmlns:a16="http://schemas.microsoft.com/office/drawing/2014/main" id="{6A434747-CAC6-E3AB-43A2-737599B9350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F408B049-B5A6-319C-6604-4CB974379CE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E6BE57E5-418C-3CAD-E431-901873F59373}"/>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4" name="Straight Connector 3">
            <a:extLst>
              <a:ext uri="{FF2B5EF4-FFF2-40B4-BE49-F238E27FC236}">
                <a16:creationId xmlns:a16="http://schemas.microsoft.com/office/drawing/2014/main" id="{53559C28-B09A-D154-3785-2962AE7D044F}"/>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0158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Roadmap_layout_release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76F6C-BD27-4DE7-84DB-F7ECA9D9DE6C}"/>
              </a:ext>
            </a:extLst>
          </p:cNvPr>
          <p:cNvSpPr>
            <a:spLocks noGrp="1"/>
          </p:cNvSpPr>
          <p:nvPr>
            <p:ph type="title"/>
          </p:nvPr>
        </p:nvSpPr>
        <p:spPr>
          <a:xfrm>
            <a:off x="421181" y="290593"/>
            <a:ext cx="7886700" cy="278612"/>
          </a:xfrm>
          <a:prstGeom prst="rect">
            <a:avLst/>
          </a:prstGeom>
        </p:spPr>
        <p:txBody>
          <a:bodyPr lIns="0" tIns="0" rIns="0" bIns="0"/>
          <a:lstStyle>
            <a:lvl1pPr>
              <a:defRPr lang="en-US" sz="2000" baseline="0" dirty="0">
                <a:ea typeface="+mn-ea"/>
                <a:cs typeface="+mn-cs"/>
              </a:defRPr>
            </a:lvl1pPr>
          </a:lstStyle>
          <a:p>
            <a:pPr marL="0" lvl="0" indent="0">
              <a:spcBef>
                <a:spcPts val="750"/>
              </a:spcBef>
              <a:buFont typeface="Arial" panose="020B0604020202020204" pitchFamily="34" charset="0"/>
            </a:pPr>
            <a:r>
              <a:rPr lang="en-US"/>
              <a:t>Click to edit Master title style</a:t>
            </a:r>
          </a:p>
        </p:txBody>
      </p:sp>
      <p:sp>
        <p:nvSpPr>
          <p:cNvPr id="3" name="Footer Placeholder 2">
            <a:extLst>
              <a:ext uri="{FF2B5EF4-FFF2-40B4-BE49-F238E27FC236}">
                <a16:creationId xmlns:a16="http://schemas.microsoft.com/office/drawing/2014/main" id="{DB57295A-A6BF-4193-8538-BC9123B04FBB}"/>
              </a:ext>
            </a:extLst>
          </p:cNvPr>
          <p:cNvSpPr>
            <a:spLocks noGrp="1"/>
          </p:cNvSpPr>
          <p:nvPr>
            <p:ph type="ftr" sz="quarter" idx="10"/>
          </p:nvPr>
        </p:nvSpPr>
        <p:spPr/>
        <p:txBody>
          <a:bodyPr/>
          <a:lstStyle/>
          <a:p>
            <a:endParaRPr lang="en-US" dirty="0"/>
          </a:p>
        </p:txBody>
      </p:sp>
      <p:graphicFrame>
        <p:nvGraphicFramePr>
          <p:cNvPr id="7" name="Table 6">
            <a:extLst>
              <a:ext uri="{FF2B5EF4-FFF2-40B4-BE49-F238E27FC236}">
                <a16:creationId xmlns:a16="http://schemas.microsoft.com/office/drawing/2014/main" id="{547C3666-F0CC-4056-B7C4-2E1F42B8FAAC}"/>
              </a:ext>
            </a:extLst>
          </p:cNvPr>
          <p:cNvGraphicFramePr>
            <a:graphicFrameLocks noGrp="1"/>
          </p:cNvGraphicFramePr>
          <p:nvPr userDrawn="1">
            <p:extLst>
              <p:ext uri="{D42A27DB-BD31-4B8C-83A1-F6EECF244321}">
                <p14:modId xmlns:p14="http://schemas.microsoft.com/office/powerpoint/2010/main" val="2910799320"/>
              </p:ext>
            </p:extLst>
          </p:nvPr>
        </p:nvGraphicFramePr>
        <p:xfrm>
          <a:off x="484094" y="567345"/>
          <a:ext cx="8373194" cy="497082"/>
        </p:xfrm>
        <a:graphic>
          <a:graphicData uri="http://schemas.openxmlformats.org/drawingml/2006/table">
            <a:tbl>
              <a:tblPr firstRow="1" bandRow="1">
                <a:tableStyleId>{21E4AEA4-8DFA-4A89-87EB-49C32662AFE0}</a:tableStyleId>
              </a:tblPr>
              <a:tblGrid>
                <a:gridCol w="1306286">
                  <a:extLst>
                    <a:ext uri="{9D8B030D-6E8A-4147-A177-3AD203B41FA5}">
                      <a16:colId xmlns:a16="http://schemas.microsoft.com/office/drawing/2014/main" val="3113728153"/>
                    </a:ext>
                  </a:extLst>
                </a:gridCol>
                <a:gridCol w="891348">
                  <a:extLst>
                    <a:ext uri="{9D8B030D-6E8A-4147-A177-3AD203B41FA5}">
                      <a16:colId xmlns:a16="http://schemas.microsoft.com/office/drawing/2014/main" val="1602580519"/>
                    </a:ext>
                  </a:extLst>
                </a:gridCol>
                <a:gridCol w="852927">
                  <a:extLst>
                    <a:ext uri="{9D8B030D-6E8A-4147-A177-3AD203B41FA5}">
                      <a16:colId xmlns:a16="http://schemas.microsoft.com/office/drawing/2014/main" val="2589010280"/>
                    </a:ext>
                  </a:extLst>
                </a:gridCol>
                <a:gridCol w="791456">
                  <a:extLst>
                    <a:ext uri="{9D8B030D-6E8A-4147-A177-3AD203B41FA5}">
                      <a16:colId xmlns:a16="http://schemas.microsoft.com/office/drawing/2014/main" val="2786851098"/>
                    </a:ext>
                  </a:extLst>
                </a:gridCol>
                <a:gridCol w="968188">
                  <a:extLst>
                    <a:ext uri="{9D8B030D-6E8A-4147-A177-3AD203B41FA5}">
                      <a16:colId xmlns:a16="http://schemas.microsoft.com/office/drawing/2014/main" val="4124998745"/>
                    </a:ext>
                  </a:extLst>
                </a:gridCol>
                <a:gridCol w="1944061">
                  <a:extLst>
                    <a:ext uri="{9D8B030D-6E8A-4147-A177-3AD203B41FA5}">
                      <a16:colId xmlns:a16="http://schemas.microsoft.com/office/drawing/2014/main" val="463132476"/>
                    </a:ext>
                  </a:extLst>
                </a:gridCol>
                <a:gridCol w="1618928">
                  <a:extLst>
                    <a:ext uri="{9D8B030D-6E8A-4147-A177-3AD203B41FA5}">
                      <a16:colId xmlns:a16="http://schemas.microsoft.com/office/drawing/2014/main" val="4052845352"/>
                    </a:ext>
                  </a:extLst>
                </a:gridCol>
              </a:tblGrid>
              <a:tr h="249160">
                <a:tc>
                  <a:txBody>
                    <a:bodyPr/>
                    <a:lstStyle/>
                    <a:p>
                      <a:pPr marL="0" algn="ctr" defTabSz="685800" rtl="0" eaLnBrk="1" latinLnBrk="0" hangingPunct="1"/>
                      <a:r>
                        <a:rPr lang="it-IT" sz="1000" b="0" kern="1200">
                          <a:ln>
                            <a:noFill/>
                          </a:ln>
                          <a:solidFill>
                            <a:schemeClr val="tx1"/>
                          </a:solidFill>
                        </a:rPr>
                        <a:t>2022</a:t>
                      </a:r>
                      <a:endParaRPr lang="en-US" sz="1000" b="0" kern="1200">
                        <a:ln>
                          <a:noFill/>
                        </a:ln>
                        <a:solidFill>
                          <a:schemeClr val="tx1"/>
                        </a:solidFill>
                        <a:latin typeface="+mn-lt"/>
                        <a:ea typeface="+mn-ea"/>
                        <a:cs typeface="+mn-cs"/>
                      </a:endParaRPr>
                    </a:p>
                  </a:txBody>
                  <a:tcPr anchor="ctr"/>
                </a:tc>
                <a:tc gridSpan="4">
                  <a:txBody>
                    <a:bodyPr/>
                    <a:lstStyle/>
                    <a:p>
                      <a:pPr marL="0" algn="ctr" defTabSz="685800" rtl="0" eaLnBrk="1" latinLnBrk="0" hangingPunct="1"/>
                      <a:r>
                        <a:rPr lang="en-US" sz="1000" b="0" kern="1200">
                          <a:ln>
                            <a:noFill/>
                          </a:ln>
                          <a:solidFill>
                            <a:schemeClr val="tx1"/>
                          </a:solidFill>
                        </a:rPr>
                        <a:t>2023</a:t>
                      </a:r>
                      <a:endParaRPr lang="en-US" sz="1000" b="0" kern="1200">
                        <a:ln>
                          <a:noFill/>
                        </a:ln>
                        <a:solidFill>
                          <a:schemeClr val="tx1"/>
                        </a:solidFill>
                        <a:latin typeface="+mn-lt"/>
                        <a:ea typeface="+mn-ea"/>
                        <a:cs typeface="+mn-cs"/>
                      </a:endParaRPr>
                    </a:p>
                  </a:txBody>
                  <a:tcPr anchor="ctr"/>
                </a:tc>
                <a:tc hMerge="1">
                  <a:txBody>
                    <a:bodyPr/>
                    <a:lstStyle/>
                    <a:p>
                      <a:pPr marL="0" algn="ctr" defTabSz="685800" rtl="0" eaLnBrk="1" latinLnBrk="0" hangingPunct="1"/>
                      <a:endParaRPr lang="en-US" sz="1000" b="0" kern="1200">
                        <a:ln>
                          <a:noFill/>
                        </a:ln>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algn="ctr" defTabSz="685800" rtl="0" eaLnBrk="1" latinLnBrk="0" hangingPunct="1"/>
                      <a:r>
                        <a:rPr lang="en-US" sz="900" b="1" kern="1200">
                          <a:ln>
                            <a:noFill/>
                          </a:ln>
                          <a:solidFill>
                            <a:schemeClr val="tx1"/>
                          </a:solidFill>
                          <a:latin typeface="+mn-lt"/>
                          <a:ea typeface="+mn-ea"/>
                          <a:cs typeface="+mn-cs"/>
                        </a:rPr>
                        <a:t>Q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algn="ctr" defTabSz="685800" rtl="0" eaLnBrk="1" latinLnBrk="0" hangingPunct="1"/>
                      <a:r>
                        <a:rPr lang="en-US" sz="900" b="1" kern="1200">
                          <a:ln>
                            <a:noFill/>
                          </a:ln>
                          <a:solidFill>
                            <a:schemeClr val="tx1"/>
                          </a:solidFill>
                          <a:latin typeface="+mn-lt"/>
                          <a:ea typeface="+mn-ea"/>
                          <a:cs typeface="+mn-cs"/>
                        </a:rPr>
                        <a:t>Q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685800" rtl="0" eaLnBrk="1" latinLnBrk="0" hangingPunct="1"/>
                      <a:r>
                        <a:rPr lang="it-IT" sz="1000" b="0" kern="1200">
                          <a:ln>
                            <a:noFill/>
                          </a:ln>
                          <a:solidFill>
                            <a:schemeClr val="tx1"/>
                          </a:solidFill>
                        </a:rPr>
                        <a:t>2024</a:t>
                      </a:r>
                      <a:endParaRPr lang="en-US" sz="1000" b="0" kern="1200">
                        <a:ln>
                          <a:noFill/>
                        </a:ln>
                        <a:solidFill>
                          <a:schemeClr val="tx1"/>
                        </a:solidFill>
                        <a:latin typeface="+mn-lt"/>
                        <a:ea typeface="+mn-ea"/>
                        <a:cs typeface="+mn-cs"/>
                      </a:endParaRPr>
                    </a:p>
                  </a:txBody>
                  <a:tcPr anchor="ctr"/>
                </a:tc>
                <a:tc rowSpan="2">
                  <a:txBody>
                    <a:bodyPr/>
                    <a:lstStyle/>
                    <a:p>
                      <a:pPr algn="ctr"/>
                      <a:r>
                        <a:rPr lang="en-US" sz="1050">
                          <a:ln>
                            <a:noFill/>
                          </a:ln>
                          <a:solidFill>
                            <a:schemeClr val="tx1"/>
                          </a:solidFill>
                        </a:rPr>
                        <a:t>Future</a:t>
                      </a:r>
                      <a:endParaRPr lang="en-US" sz="1050" b="1">
                        <a:ln>
                          <a:noFill/>
                        </a:ln>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604766646"/>
                  </a:ext>
                </a:extLst>
              </a:tr>
              <a:tr h="247922">
                <a:tc>
                  <a:txBody>
                    <a:bodyPr/>
                    <a:lstStyle/>
                    <a:p>
                      <a:pPr marL="0" algn="ctr" defTabSz="685800" rtl="0" eaLnBrk="1" latinLnBrk="0" hangingPunct="1"/>
                      <a:r>
                        <a:rPr lang="en-US" sz="900" b="1" kern="1200">
                          <a:ln>
                            <a:noFill/>
                          </a:ln>
                          <a:solidFill>
                            <a:schemeClr val="tx1"/>
                          </a:solidFill>
                        </a:rPr>
                        <a:t>Q4</a:t>
                      </a:r>
                      <a:endParaRPr lang="en-US" sz="900" b="1" kern="1200">
                        <a:ln>
                          <a:noFill/>
                        </a:ln>
                        <a:solidFill>
                          <a:schemeClr val="tx1"/>
                        </a:solidFill>
                        <a:latin typeface="+mn-lt"/>
                        <a:ea typeface="+mn-ea"/>
                        <a:cs typeface="+mn-cs"/>
                      </a:endParaRPr>
                    </a:p>
                  </a:txBody>
                  <a:tcPr anchor="ctr"/>
                </a:tc>
                <a:tc>
                  <a:txBody>
                    <a:bodyPr/>
                    <a:lstStyle/>
                    <a:p>
                      <a:pPr marL="0" algn="ctr" defTabSz="685800" rtl="0" eaLnBrk="1" latinLnBrk="0" hangingPunct="1"/>
                      <a:r>
                        <a:rPr lang="en-US" sz="900" b="1" kern="1200">
                          <a:ln>
                            <a:noFill/>
                          </a:ln>
                          <a:solidFill>
                            <a:schemeClr val="tx1"/>
                          </a:solidFill>
                        </a:rPr>
                        <a:t>Q1</a:t>
                      </a:r>
                      <a:endParaRPr lang="en-US" sz="900" b="1" kern="1200">
                        <a:ln>
                          <a:noFill/>
                        </a:ln>
                        <a:solidFill>
                          <a:schemeClr val="tx1"/>
                        </a:solidFill>
                        <a:latin typeface="+mn-lt"/>
                        <a:ea typeface="+mn-ea"/>
                        <a:cs typeface="+mn-cs"/>
                      </a:endParaRPr>
                    </a:p>
                  </a:txBody>
                  <a:tcPr anchor="ctr"/>
                </a:tc>
                <a:tc>
                  <a:txBody>
                    <a:bodyPr/>
                    <a:lstStyle/>
                    <a:p>
                      <a:pPr marL="0" algn="ctr" defTabSz="685800" rtl="0" eaLnBrk="1" latinLnBrk="0" hangingPunct="1"/>
                      <a:r>
                        <a:rPr lang="en-US" sz="900" b="1" kern="1200">
                          <a:ln>
                            <a:noFill/>
                          </a:ln>
                          <a:solidFill>
                            <a:schemeClr val="tx1"/>
                          </a:solidFill>
                        </a:rPr>
                        <a:t>Q2</a:t>
                      </a:r>
                      <a:endParaRPr lang="en-US" sz="900" b="1" kern="1200">
                        <a:ln>
                          <a:noFill/>
                        </a:ln>
                        <a:solidFill>
                          <a:schemeClr val="tx1"/>
                        </a:solidFill>
                        <a:latin typeface="+mn-lt"/>
                        <a:ea typeface="+mn-ea"/>
                        <a:cs typeface="+mn-cs"/>
                      </a:endParaRPr>
                    </a:p>
                  </a:txBody>
                  <a:tcPr anchor="ctr"/>
                </a:tc>
                <a:tc>
                  <a:txBody>
                    <a:bodyPr/>
                    <a:lstStyle/>
                    <a:p>
                      <a:pPr marL="0" algn="ctr" defTabSz="685800" rtl="0" eaLnBrk="1" latinLnBrk="0" hangingPunct="1"/>
                      <a:r>
                        <a:rPr lang="en-US" sz="900" b="1" kern="1200">
                          <a:ln>
                            <a:noFill/>
                          </a:ln>
                          <a:solidFill>
                            <a:schemeClr val="tx1"/>
                          </a:solidFill>
                        </a:rPr>
                        <a:t>Q3</a:t>
                      </a:r>
                      <a:endParaRPr lang="en-US" sz="900" b="1" kern="1200">
                        <a:ln>
                          <a:noFill/>
                        </a:ln>
                        <a:solidFill>
                          <a:schemeClr val="tx1"/>
                        </a:solidFill>
                        <a:latin typeface="+mn-lt"/>
                        <a:ea typeface="+mn-ea"/>
                        <a:cs typeface="+mn-cs"/>
                      </a:endParaRPr>
                    </a:p>
                  </a:txBody>
                  <a:tcPr anchor="ctr"/>
                </a:tc>
                <a:tc>
                  <a:txBody>
                    <a:bodyPr/>
                    <a:lstStyle/>
                    <a:p>
                      <a:pPr marL="0" algn="ctr" defTabSz="685800" rtl="0" eaLnBrk="1" latinLnBrk="0" hangingPunct="1"/>
                      <a:r>
                        <a:rPr lang="en-US" sz="900" b="1" kern="1200">
                          <a:ln>
                            <a:noFill/>
                          </a:ln>
                          <a:solidFill>
                            <a:schemeClr val="tx1"/>
                          </a:solidFill>
                        </a:rPr>
                        <a:t>Q4</a:t>
                      </a:r>
                      <a:endParaRPr lang="en-US" sz="900" b="1" kern="1200">
                        <a:ln>
                          <a:noFill/>
                        </a:ln>
                        <a:solidFill>
                          <a:schemeClr val="tx1"/>
                        </a:solidFill>
                        <a:latin typeface="+mn-lt"/>
                        <a:ea typeface="+mn-ea"/>
                        <a:cs typeface="+mn-cs"/>
                      </a:endParaRPr>
                    </a:p>
                  </a:txBody>
                  <a:tcPr anchor="ctr"/>
                </a:tc>
                <a:tc>
                  <a:txBody>
                    <a:bodyPr/>
                    <a:lstStyle/>
                    <a:p>
                      <a:pPr marL="0" algn="ctr" defTabSz="685800" rtl="0" eaLnBrk="1" latinLnBrk="0" hangingPunct="1"/>
                      <a:r>
                        <a:rPr lang="en-US" sz="900" b="1" kern="1200">
                          <a:ln>
                            <a:noFill/>
                          </a:ln>
                          <a:solidFill>
                            <a:schemeClr val="tx1"/>
                          </a:solidFill>
                        </a:rPr>
                        <a:t>Q1</a:t>
                      </a:r>
                      <a:endParaRPr lang="en-US" sz="900" b="1" kern="1200">
                        <a:ln>
                          <a:noFill/>
                        </a:ln>
                        <a:solidFill>
                          <a:schemeClr val="tx1"/>
                        </a:solidFill>
                        <a:latin typeface="+mn-lt"/>
                        <a:ea typeface="+mn-ea"/>
                        <a:cs typeface="+mn-cs"/>
                      </a:endParaRPr>
                    </a:p>
                  </a:txBody>
                  <a:tcPr anchor="ctr"/>
                </a:tc>
                <a:tc vMerge="1">
                  <a:txBody>
                    <a:bodyPr/>
                    <a:lstStyle/>
                    <a:p>
                      <a:pPr algn="ctr"/>
                      <a:endParaRPr lang="en-US" sz="800" b="1">
                        <a:solidFill>
                          <a:schemeClr val="bg1"/>
                        </a:solidFill>
                      </a:endParaRPr>
                    </a:p>
                  </a:txBody>
                  <a:tcPr anchor="ctr">
                    <a:solidFill>
                      <a:srgbClr val="00FFFF"/>
                    </a:solidFill>
                  </a:tcPr>
                </a:tc>
                <a:extLst>
                  <a:ext uri="{0D108BD9-81ED-4DB2-BD59-A6C34878D82A}">
                    <a16:rowId xmlns:a16="http://schemas.microsoft.com/office/drawing/2014/main" val="1114553128"/>
                  </a:ext>
                </a:extLst>
              </a:tr>
            </a:tbl>
          </a:graphicData>
        </a:graphic>
      </p:graphicFrame>
      <p:sp>
        <p:nvSpPr>
          <p:cNvPr id="19" name="Rectangle 18">
            <a:extLst>
              <a:ext uri="{FF2B5EF4-FFF2-40B4-BE49-F238E27FC236}">
                <a16:creationId xmlns:a16="http://schemas.microsoft.com/office/drawing/2014/main" id="{A3D6DEAB-F1A6-4C13-B517-AF8A108D5D15}"/>
              </a:ext>
            </a:extLst>
          </p:cNvPr>
          <p:cNvSpPr/>
          <p:nvPr userDrawn="1"/>
        </p:nvSpPr>
        <p:spPr>
          <a:xfrm>
            <a:off x="7286476" y="4365149"/>
            <a:ext cx="1570815" cy="320868"/>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solidFill>
                  <a:srgbClr val="124191"/>
                </a:solidFill>
                <a:latin typeface="Nokia Pure Text Light"/>
              </a:rPr>
              <a:t>Future Candidate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BDD33">
                  <a:lumMod val="10000"/>
                </a:srgbClr>
              </a:solidFill>
              <a:effectLst/>
              <a:uLnTx/>
              <a:uFillTx/>
              <a:latin typeface="Nokia Pure Text Light"/>
              <a:ea typeface="+mn-ea"/>
              <a:cs typeface="+mn-cs"/>
            </a:endParaRPr>
          </a:p>
        </p:txBody>
      </p:sp>
      <p:sp>
        <p:nvSpPr>
          <p:cNvPr id="22" name="Text Placeholder 20">
            <a:extLst>
              <a:ext uri="{FF2B5EF4-FFF2-40B4-BE49-F238E27FC236}">
                <a16:creationId xmlns:a16="http://schemas.microsoft.com/office/drawing/2014/main" id="{2032DB9F-55CB-47D4-B843-698883E66503}"/>
              </a:ext>
            </a:extLst>
          </p:cNvPr>
          <p:cNvSpPr>
            <a:spLocks noGrp="1"/>
          </p:cNvSpPr>
          <p:nvPr>
            <p:ph type="body" sz="quarter" idx="12"/>
          </p:nvPr>
        </p:nvSpPr>
        <p:spPr>
          <a:xfrm>
            <a:off x="456757" y="1104862"/>
            <a:ext cx="1188720" cy="3179763"/>
          </a:xfrm>
          <a:prstGeom prst="rect">
            <a:avLst/>
          </a:prstGeom>
        </p:spPr>
        <p:txBody>
          <a:bodyPr/>
          <a:lstStyle>
            <a:lvl1pPr marL="171450" indent="-171450">
              <a:buFont typeface="Wingdings" panose="05000000000000000000" pitchFamily="2" charset="2"/>
              <a:buChar char="§"/>
              <a:defRPr sz="800">
                <a:solidFill>
                  <a:schemeClr val="tx2"/>
                </a:solidFill>
              </a:defRPr>
            </a:lvl1pPr>
            <a:lvl2pPr marL="514350" indent="-171450">
              <a:buFont typeface="Wingdings" panose="05000000000000000000" pitchFamily="2" charset="2"/>
              <a:buChar char="§"/>
              <a:defRPr sz="600">
                <a:solidFill>
                  <a:schemeClr val="tx2"/>
                </a:solidFill>
              </a:defRPr>
            </a:lvl2pPr>
            <a:lvl3pPr>
              <a:defRPr sz="500">
                <a:solidFill>
                  <a:schemeClr val="tx2"/>
                </a:solidFill>
              </a:defRPr>
            </a:lvl3pPr>
            <a:lvl4pPr>
              <a:defRPr sz="400">
                <a:solidFill>
                  <a:schemeClr val="tx2"/>
                </a:solidFill>
              </a:defRPr>
            </a:lvl4pPr>
            <a:lvl5pPr>
              <a:defRPr sz="400">
                <a:solidFill>
                  <a:schemeClr val="tx2"/>
                </a:solidFill>
              </a:defRPr>
            </a:lvl5pPr>
          </a:lstStyle>
          <a:p>
            <a:pPr lvl="0"/>
            <a:r>
              <a:rPr lang="en-US"/>
              <a:t>Click to edit Master text styles</a:t>
            </a:r>
          </a:p>
        </p:txBody>
      </p:sp>
      <p:sp>
        <p:nvSpPr>
          <p:cNvPr id="24" name="Text Placeholder 20">
            <a:extLst>
              <a:ext uri="{FF2B5EF4-FFF2-40B4-BE49-F238E27FC236}">
                <a16:creationId xmlns:a16="http://schemas.microsoft.com/office/drawing/2014/main" id="{1D19CC6D-51B4-46ED-9D85-808CEC78336C}"/>
              </a:ext>
            </a:extLst>
          </p:cNvPr>
          <p:cNvSpPr>
            <a:spLocks noGrp="1"/>
          </p:cNvSpPr>
          <p:nvPr>
            <p:ph type="body" sz="quarter" idx="14"/>
          </p:nvPr>
        </p:nvSpPr>
        <p:spPr>
          <a:xfrm>
            <a:off x="5848578" y="1113417"/>
            <a:ext cx="1188720" cy="3179763"/>
          </a:xfrm>
          <a:prstGeom prst="rect">
            <a:avLst/>
          </a:prstGeom>
        </p:spPr>
        <p:txBody>
          <a:bodyPr/>
          <a:lstStyle>
            <a:lvl1pPr marL="171450" indent="-171450">
              <a:buFont typeface="Wingdings" panose="05000000000000000000" pitchFamily="2" charset="2"/>
              <a:buChar char="§"/>
              <a:defRPr sz="800">
                <a:solidFill>
                  <a:schemeClr val="tx2"/>
                </a:solidFill>
              </a:defRPr>
            </a:lvl1pPr>
            <a:lvl2pPr marL="514350" indent="-171450">
              <a:buFont typeface="Wingdings" panose="05000000000000000000" pitchFamily="2" charset="2"/>
              <a:buChar char="§"/>
              <a:defRPr sz="600">
                <a:solidFill>
                  <a:schemeClr val="tx2"/>
                </a:solidFill>
              </a:defRPr>
            </a:lvl2pPr>
            <a:lvl3pPr>
              <a:defRPr sz="500">
                <a:solidFill>
                  <a:schemeClr val="tx2"/>
                </a:solidFill>
              </a:defRPr>
            </a:lvl3pPr>
            <a:lvl4pPr>
              <a:defRPr sz="400">
                <a:solidFill>
                  <a:schemeClr val="tx2"/>
                </a:solidFill>
              </a:defRPr>
            </a:lvl4pPr>
            <a:lvl5pPr>
              <a:defRPr sz="400">
                <a:solidFill>
                  <a:schemeClr val="tx2"/>
                </a:solidFill>
              </a:defRPr>
            </a:lvl5pPr>
          </a:lstStyle>
          <a:p>
            <a:pPr lvl="0"/>
            <a:r>
              <a:rPr lang="en-US"/>
              <a:t>Click to edit Master text styles</a:t>
            </a:r>
          </a:p>
        </p:txBody>
      </p:sp>
      <p:sp>
        <p:nvSpPr>
          <p:cNvPr id="25" name="Text Placeholder 20">
            <a:extLst>
              <a:ext uri="{FF2B5EF4-FFF2-40B4-BE49-F238E27FC236}">
                <a16:creationId xmlns:a16="http://schemas.microsoft.com/office/drawing/2014/main" id="{17E17D8F-2E37-4D46-B421-776844B4D9BC}"/>
              </a:ext>
            </a:extLst>
          </p:cNvPr>
          <p:cNvSpPr>
            <a:spLocks noGrp="1"/>
          </p:cNvSpPr>
          <p:nvPr>
            <p:ph type="body" sz="quarter" idx="15"/>
          </p:nvPr>
        </p:nvSpPr>
        <p:spPr>
          <a:xfrm>
            <a:off x="7286476" y="1064427"/>
            <a:ext cx="1568744" cy="3179763"/>
          </a:xfrm>
          <a:prstGeom prst="rect">
            <a:avLst/>
          </a:prstGeom>
          <a:ln>
            <a:solidFill>
              <a:schemeClr val="accent2"/>
            </a:solidFill>
          </a:ln>
        </p:spPr>
        <p:txBody>
          <a:bodyPr/>
          <a:lstStyle>
            <a:lvl1pPr marL="171450" indent="-171450">
              <a:buFont typeface="Wingdings" panose="05000000000000000000" pitchFamily="2" charset="2"/>
              <a:buChar char="§"/>
              <a:defRPr sz="800">
                <a:solidFill>
                  <a:schemeClr val="tx2"/>
                </a:solidFill>
              </a:defRPr>
            </a:lvl1pPr>
            <a:lvl2pPr marL="514350" indent="-171450">
              <a:buFont typeface="Wingdings" panose="05000000000000000000" pitchFamily="2" charset="2"/>
              <a:buChar char="§"/>
              <a:defRPr sz="600">
                <a:solidFill>
                  <a:schemeClr val="tx2"/>
                </a:solidFill>
              </a:defRPr>
            </a:lvl2pPr>
            <a:lvl3pPr>
              <a:defRPr sz="500">
                <a:solidFill>
                  <a:schemeClr val="tx2"/>
                </a:solidFill>
              </a:defRPr>
            </a:lvl3pPr>
            <a:lvl4pPr>
              <a:defRPr sz="400">
                <a:solidFill>
                  <a:schemeClr val="tx2"/>
                </a:solidFill>
              </a:defRPr>
            </a:lvl4pPr>
            <a:lvl5pPr>
              <a:defRPr sz="400">
                <a:solidFill>
                  <a:schemeClr val="tx2"/>
                </a:solidFill>
              </a:defRPr>
            </a:lvl5pPr>
          </a:lstStyle>
          <a:p>
            <a:pPr lvl="0"/>
            <a:r>
              <a:rPr lang="en-US"/>
              <a:t>Click to edit Master text styles</a:t>
            </a:r>
          </a:p>
        </p:txBody>
      </p:sp>
      <p:sp>
        <p:nvSpPr>
          <p:cNvPr id="29" name="Rectangle 28">
            <a:extLst>
              <a:ext uri="{FF2B5EF4-FFF2-40B4-BE49-F238E27FC236}">
                <a16:creationId xmlns:a16="http://schemas.microsoft.com/office/drawing/2014/main" id="{ED31495B-4ADF-4194-8190-B80B9D68ADFC}"/>
              </a:ext>
            </a:extLst>
          </p:cNvPr>
          <p:cNvSpPr/>
          <p:nvPr userDrawn="1"/>
        </p:nvSpPr>
        <p:spPr>
          <a:xfrm>
            <a:off x="2000920" y="4365149"/>
            <a:ext cx="1341632" cy="318208"/>
          </a:xfrm>
          <a:prstGeom prst="rect">
            <a:avLst/>
          </a:prstGeom>
          <a:solidFill>
            <a:schemeClr val="bg2"/>
          </a:solidFill>
          <a:ln w="19050">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FFFFFF"/>
                </a:solidFill>
                <a:effectLst/>
                <a:uLnTx/>
                <a:uFillTx/>
                <a:latin typeface="Nokia Pure Text Light"/>
                <a:ea typeface="+mn-ea"/>
                <a:cs typeface="+mn-cs"/>
              </a:rPr>
              <a:t>Wavence 23/ 23MP1</a:t>
            </a:r>
            <a:endParaRPr kumimoji="0" lang="en-US" sz="1000" b="0" i="0" u="none" strike="noStrike" kern="1200" cap="none" spc="0" normalizeH="0" baseline="0" noProof="0" dirty="0">
              <a:ln>
                <a:noFill/>
              </a:ln>
              <a:solidFill>
                <a:srgbClr val="FFFFFF"/>
              </a:solidFill>
              <a:effectLst/>
              <a:uLnTx/>
              <a:uFillTx/>
              <a:latin typeface="Nokia Pure Text Ligh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BDD33">
                  <a:lumMod val="10000"/>
                </a:srgbClr>
              </a:solidFill>
              <a:effectLst/>
              <a:uLnTx/>
              <a:uFillTx/>
              <a:latin typeface="Nokia Pure Text Light"/>
              <a:ea typeface="+mn-ea"/>
              <a:cs typeface="+mn-cs"/>
            </a:endParaRPr>
          </a:p>
        </p:txBody>
      </p:sp>
      <p:cxnSp>
        <p:nvCxnSpPr>
          <p:cNvPr id="30" name="Straight Connector 29">
            <a:extLst>
              <a:ext uri="{FF2B5EF4-FFF2-40B4-BE49-F238E27FC236}">
                <a16:creationId xmlns:a16="http://schemas.microsoft.com/office/drawing/2014/main" id="{E6909465-040C-4148-978B-FA0385B2A35A}"/>
              </a:ext>
            </a:extLst>
          </p:cNvPr>
          <p:cNvCxnSpPr>
            <a:cxnSpLocks/>
          </p:cNvCxnSpPr>
          <p:nvPr userDrawn="1"/>
        </p:nvCxnSpPr>
        <p:spPr>
          <a:xfrm flipV="1">
            <a:off x="3317571" y="1064427"/>
            <a:ext cx="2068" cy="3475262"/>
          </a:xfrm>
          <a:prstGeom prst="line">
            <a:avLst/>
          </a:prstGeom>
          <a:ln>
            <a:solidFill>
              <a:schemeClr val="bg2"/>
            </a:solidFill>
            <a:headEnd type="none" w="med" len="med"/>
            <a:tailEnd type="arrow" w="med" len="med"/>
          </a:ln>
        </p:spPr>
        <p:style>
          <a:lnRef idx="2">
            <a:schemeClr val="dk1"/>
          </a:lnRef>
          <a:fillRef idx="0">
            <a:schemeClr val="dk1"/>
          </a:fillRef>
          <a:effectRef idx="1">
            <a:schemeClr val="dk1"/>
          </a:effectRef>
          <a:fontRef idx="minor">
            <a:schemeClr val="tx1"/>
          </a:fontRef>
        </p:style>
      </p:cxnSp>
      <p:sp>
        <p:nvSpPr>
          <p:cNvPr id="31" name="Text Placeholder 20">
            <a:extLst>
              <a:ext uri="{FF2B5EF4-FFF2-40B4-BE49-F238E27FC236}">
                <a16:creationId xmlns:a16="http://schemas.microsoft.com/office/drawing/2014/main" id="{D81CD74B-A6D2-40C5-8085-4758D9E12C2E}"/>
              </a:ext>
            </a:extLst>
          </p:cNvPr>
          <p:cNvSpPr>
            <a:spLocks noGrp="1"/>
          </p:cNvSpPr>
          <p:nvPr>
            <p:ph type="body" sz="quarter" idx="16"/>
          </p:nvPr>
        </p:nvSpPr>
        <p:spPr>
          <a:xfrm>
            <a:off x="1988311" y="1108063"/>
            <a:ext cx="1188720" cy="3182112"/>
          </a:xfrm>
          <a:prstGeom prst="rect">
            <a:avLst/>
          </a:prstGeom>
        </p:spPr>
        <p:txBody>
          <a:bodyPr/>
          <a:lstStyle>
            <a:lvl1pPr marL="171450" indent="-171450">
              <a:buFont typeface="Wingdings" panose="05000000000000000000" pitchFamily="2" charset="2"/>
              <a:buChar char="§"/>
              <a:defRPr sz="800">
                <a:solidFill>
                  <a:schemeClr val="tx2"/>
                </a:solidFill>
              </a:defRPr>
            </a:lvl1pPr>
            <a:lvl2pPr marL="514350" indent="-171450">
              <a:buFont typeface="Wingdings" panose="05000000000000000000" pitchFamily="2" charset="2"/>
              <a:buChar char="§"/>
              <a:defRPr sz="600">
                <a:solidFill>
                  <a:schemeClr val="tx2"/>
                </a:solidFill>
              </a:defRPr>
            </a:lvl2pPr>
            <a:lvl3pPr>
              <a:defRPr sz="500">
                <a:solidFill>
                  <a:schemeClr val="tx2"/>
                </a:solidFill>
              </a:defRPr>
            </a:lvl3pPr>
            <a:lvl4pPr>
              <a:defRPr sz="400">
                <a:solidFill>
                  <a:schemeClr val="tx2"/>
                </a:solidFill>
              </a:defRPr>
            </a:lvl4pPr>
            <a:lvl5pPr>
              <a:defRPr sz="400">
                <a:solidFill>
                  <a:schemeClr val="tx2"/>
                </a:solidFill>
              </a:defRPr>
            </a:lvl5pPr>
          </a:lstStyle>
          <a:p>
            <a:pPr lvl="0"/>
            <a:r>
              <a:rPr lang="en-US"/>
              <a:t>Click to edit Master text styles</a:t>
            </a:r>
          </a:p>
        </p:txBody>
      </p:sp>
      <p:sp>
        <p:nvSpPr>
          <p:cNvPr id="20" name="Rectangle 19">
            <a:extLst>
              <a:ext uri="{FF2B5EF4-FFF2-40B4-BE49-F238E27FC236}">
                <a16:creationId xmlns:a16="http://schemas.microsoft.com/office/drawing/2014/main" id="{8BC1E722-4BD5-4D6A-BF12-88346CEAF3D1}"/>
              </a:ext>
            </a:extLst>
          </p:cNvPr>
          <p:cNvSpPr/>
          <p:nvPr userDrawn="1"/>
        </p:nvSpPr>
        <p:spPr>
          <a:xfrm>
            <a:off x="3709995" y="4365149"/>
            <a:ext cx="1499963" cy="318208"/>
          </a:xfrm>
          <a:prstGeom prst="rect">
            <a:avLst/>
          </a:prstGeom>
          <a:solidFill>
            <a:schemeClr val="bg2"/>
          </a:solidFill>
          <a:ln w="19050">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FFFFFF"/>
                </a:solidFill>
                <a:effectLst/>
                <a:uLnTx/>
                <a:uFillTx/>
                <a:latin typeface="Nokia Pure Text Light"/>
                <a:ea typeface="+mn-ea"/>
                <a:cs typeface="+mn-cs"/>
              </a:rPr>
              <a:t>Wavence 23A</a:t>
            </a:r>
            <a:endParaRPr kumimoji="0" lang="en-US" sz="1000" b="0" i="0" u="none" strike="noStrike" kern="1200" cap="none" spc="0" normalizeH="0" baseline="0" noProof="0" dirty="0">
              <a:ln>
                <a:noFill/>
              </a:ln>
              <a:solidFill>
                <a:srgbClr val="FFFFFF"/>
              </a:solidFill>
              <a:effectLst/>
              <a:uLnTx/>
              <a:uFillTx/>
              <a:latin typeface="Nokia Pure Text Ligh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BDD33">
                  <a:lumMod val="10000"/>
                </a:srgbClr>
              </a:solidFill>
              <a:effectLst/>
              <a:uLnTx/>
              <a:uFillTx/>
              <a:latin typeface="Nokia Pure Text Light"/>
              <a:ea typeface="+mn-ea"/>
              <a:cs typeface="+mn-cs"/>
            </a:endParaRPr>
          </a:p>
        </p:txBody>
      </p:sp>
      <p:cxnSp>
        <p:nvCxnSpPr>
          <p:cNvPr id="23" name="Straight Connector 22">
            <a:extLst>
              <a:ext uri="{FF2B5EF4-FFF2-40B4-BE49-F238E27FC236}">
                <a16:creationId xmlns:a16="http://schemas.microsoft.com/office/drawing/2014/main" id="{1137A898-228E-4A33-98A2-1A7DC7287DE8}"/>
              </a:ext>
            </a:extLst>
          </p:cNvPr>
          <p:cNvCxnSpPr>
            <a:cxnSpLocks/>
          </p:cNvCxnSpPr>
          <p:nvPr userDrawn="1"/>
        </p:nvCxnSpPr>
        <p:spPr>
          <a:xfrm flipV="1">
            <a:off x="1730937" y="1079728"/>
            <a:ext cx="2068" cy="3475262"/>
          </a:xfrm>
          <a:prstGeom prst="line">
            <a:avLst/>
          </a:prstGeom>
          <a:ln>
            <a:solidFill>
              <a:schemeClr val="bg2"/>
            </a:solidFill>
            <a:headEnd type="none" w="med" len="med"/>
            <a:tailEnd type="arrow" w="med" len="med"/>
          </a:ln>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id="{EC28D0FF-377D-4519-8FBC-1FED93B5C401}"/>
              </a:ext>
            </a:extLst>
          </p:cNvPr>
          <p:cNvSpPr/>
          <p:nvPr userDrawn="1"/>
        </p:nvSpPr>
        <p:spPr>
          <a:xfrm>
            <a:off x="459789" y="4365149"/>
            <a:ext cx="1296000" cy="318208"/>
          </a:xfrm>
          <a:prstGeom prst="rect">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Nokia Pure Text Light"/>
                <a:ea typeface="+mn-ea"/>
                <a:cs typeface="+mn-cs"/>
              </a:rPr>
              <a:t>Wavence 22A</a:t>
            </a:r>
            <a:endParaRPr kumimoji="0" lang="en-US" sz="1000" b="0" i="0" u="none" strike="noStrike" kern="1200" cap="none" spc="0" normalizeH="0" baseline="0" noProof="0">
              <a:ln>
                <a:noFill/>
              </a:ln>
              <a:solidFill>
                <a:srgbClr val="FFFFFF"/>
              </a:solidFill>
              <a:effectLst/>
              <a:uLnTx/>
              <a:uFillTx/>
              <a:latin typeface="Nokia Pure Text Ligh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BDD33">
                  <a:lumMod val="10000"/>
                </a:srgbClr>
              </a:solidFill>
              <a:effectLst/>
              <a:uLnTx/>
              <a:uFillTx/>
              <a:latin typeface="Nokia Pure Text Light"/>
              <a:ea typeface="+mn-ea"/>
              <a:cs typeface="+mn-cs"/>
            </a:endParaRPr>
          </a:p>
        </p:txBody>
      </p:sp>
      <p:cxnSp>
        <p:nvCxnSpPr>
          <p:cNvPr id="32" name="Straight Connector 31">
            <a:extLst>
              <a:ext uri="{FF2B5EF4-FFF2-40B4-BE49-F238E27FC236}">
                <a16:creationId xmlns:a16="http://schemas.microsoft.com/office/drawing/2014/main" id="{46E1F7F5-E31D-4E6A-B4DD-71D96AD30993}"/>
              </a:ext>
            </a:extLst>
          </p:cNvPr>
          <p:cNvCxnSpPr>
            <a:cxnSpLocks/>
          </p:cNvCxnSpPr>
          <p:nvPr userDrawn="1"/>
        </p:nvCxnSpPr>
        <p:spPr>
          <a:xfrm flipV="1">
            <a:off x="5194027" y="1023009"/>
            <a:ext cx="2068" cy="3475262"/>
          </a:xfrm>
          <a:prstGeom prst="line">
            <a:avLst/>
          </a:prstGeom>
          <a:ln>
            <a:solidFill>
              <a:schemeClr val="bg2"/>
            </a:solidFill>
            <a:headEnd type="none" w="med" len="med"/>
            <a:tailEnd type="arrow" w="med" len="med"/>
          </a:ln>
        </p:spPr>
        <p:style>
          <a:lnRef idx="2">
            <a:schemeClr val="dk1"/>
          </a:lnRef>
          <a:fillRef idx="0">
            <a:schemeClr val="dk1"/>
          </a:fillRef>
          <a:effectRef idx="1">
            <a:schemeClr val="dk1"/>
          </a:effectRef>
          <a:fontRef idx="minor">
            <a:schemeClr val="tx1"/>
          </a:fontRef>
        </p:style>
      </p:cxnSp>
      <p:sp>
        <p:nvSpPr>
          <p:cNvPr id="21" name="Rectangle 20">
            <a:extLst>
              <a:ext uri="{FF2B5EF4-FFF2-40B4-BE49-F238E27FC236}">
                <a16:creationId xmlns:a16="http://schemas.microsoft.com/office/drawing/2014/main" id="{E422D1D4-6F6B-41EC-AE68-C615B9381FEF}"/>
              </a:ext>
            </a:extLst>
          </p:cNvPr>
          <p:cNvSpPr/>
          <p:nvPr userDrawn="1"/>
        </p:nvSpPr>
        <p:spPr>
          <a:xfrm>
            <a:off x="5621762" y="4365149"/>
            <a:ext cx="1570815" cy="318208"/>
          </a:xfrm>
          <a:prstGeom prst="rect">
            <a:avLst/>
          </a:prstGeom>
          <a:solidFill>
            <a:schemeClr val="bg2"/>
          </a:solidFill>
          <a:ln w="19050">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FFFFFF"/>
                </a:solidFill>
                <a:effectLst/>
                <a:uLnTx/>
                <a:uFillTx/>
                <a:latin typeface="Nokia Pure Text Light"/>
                <a:ea typeface="+mn-ea"/>
                <a:cs typeface="+mn-cs"/>
              </a:rPr>
              <a:t>Wavence 24</a:t>
            </a:r>
            <a:endParaRPr kumimoji="0" lang="en-US" sz="1000" b="0" i="0" u="none" strike="noStrike" kern="1200" cap="none" spc="0" normalizeH="0" baseline="0" noProof="0">
              <a:ln>
                <a:noFill/>
              </a:ln>
              <a:solidFill>
                <a:srgbClr val="FFFFFF"/>
              </a:solidFill>
              <a:effectLst/>
              <a:uLnTx/>
              <a:uFillTx/>
              <a:latin typeface="Nokia Pure Text Ligh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BDD33">
                  <a:lumMod val="10000"/>
                </a:srgbClr>
              </a:solidFill>
              <a:effectLst/>
              <a:uLnTx/>
              <a:uFillTx/>
              <a:latin typeface="Nokia Pure Text Light"/>
              <a:ea typeface="+mn-ea"/>
              <a:cs typeface="+mn-cs"/>
            </a:endParaRPr>
          </a:p>
        </p:txBody>
      </p:sp>
      <p:cxnSp>
        <p:nvCxnSpPr>
          <p:cNvPr id="34" name="Straight Connector 33">
            <a:extLst>
              <a:ext uri="{FF2B5EF4-FFF2-40B4-BE49-F238E27FC236}">
                <a16:creationId xmlns:a16="http://schemas.microsoft.com/office/drawing/2014/main" id="{3A4A5C99-26FC-4200-8796-CBB63908850F}"/>
              </a:ext>
            </a:extLst>
          </p:cNvPr>
          <p:cNvCxnSpPr>
            <a:cxnSpLocks/>
          </p:cNvCxnSpPr>
          <p:nvPr userDrawn="1"/>
        </p:nvCxnSpPr>
        <p:spPr>
          <a:xfrm flipV="1">
            <a:off x="7182047" y="1027660"/>
            <a:ext cx="2068" cy="3475262"/>
          </a:xfrm>
          <a:prstGeom prst="line">
            <a:avLst/>
          </a:prstGeom>
          <a:ln>
            <a:solidFill>
              <a:schemeClr val="bg2"/>
            </a:solidFill>
            <a:headEnd type="none" w="med" len="med"/>
            <a:tailEnd type="arrow" w="med" len="med"/>
          </a:ln>
        </p:spPr>
        <p:style>
          <a:lnRef idx="2">
            <a:schemeClr val="dk1"/>
          </a:lnRef>
          <a:fillRef idx="0">
            <a:schemeClr val="dk1"/>
          </a:fillRef>
          <a:effectRef idx="1">
            <a:schemeClr val="dk1"/>
          </a:effectRef>
          <a:fontRef idx="minor">
            <a:schemeClr val="tx1"/>
          </a:fontRef>
        </p:style>
      </p:cxnSp>
      <p:sp>
        <p:nvSpPr>
          <p:cNvPr id="35" name="Text Placeholder 20">
            <a:extLst>
              <a:ext uri="{FF2B5EF4-FFF2-40B4-BE49-F238E27FC236}">
                <a16:creationId xmlns:a16="http://schemas.microsoft.com/office/drawing/2014/main" id="{DFA94DE9-31E6-4518-9F9E-CEE8181D6FC6}"/>
              </a:ext>
            </a:extLst>
          </p:cNvPr>
          <p:cNvSpPr>
            <a:spLocks noGrp="1"/>
          </p:cNvSpPr>
          <p:nvPr>
            <p:ph type="body" sz="quarter" idx="18"/>
          </p:nvPr>
        </p:nvSpPr>
        <p:spPr>
          <a:xfrm>
            <a:off x="3860558" y="1079728"/>
            <a:ext cx="1188720" cy="3179763"/>
          </a:xfrm>
          <a:prstGeom prst="rect">
            <a:avLst/>
          </a:prstGeom>
        </p:spPr>
        <p:txBody>
          <a:bodyPr/>
          <a:lstStyle>
            <a:lvl1pPr marL="171450" indent="-171450">
              <a:buFont typeface="Wingdings" panose="05000000000000000000" pitchFamily="2" charset="2"/>
              <a:buChar char="§"/>
              <a:defRPr sz="800">
                <a:solidFill>
                  <a:schemeClr val="tx2"/>
                </a:solidFill>
              </a:defRPr>
            </a:lvl1pPr>
            <a:lvl2pPr marL="514350" indent="-171450">
              <a:buFont typeface="Wingdings" panose="05000000000000000000" pitchFamily="2" charset="2"/>
              <a:buChar char="§"/>
              <a:defRPr sz="600">
                <a:solidFill>
                  <a:schemeClr val="tx2"/>
                </a:solidFill>
              </a:defRPr>
            </a:lvl2pPr>
            <a:lvl3pPr>
              <a:defRPr sz="500">
                <a:solidFill>
                  <a:schemeClr val="tx2"/>
                </a:solidFill>
              </a:defRPr>
            </a:lvl3pPr>
            <a:lvl4pPr>
              <a:defRPr sz="400">
                <a:solidFill>
                  <a:schemeClr val="tx2"/>
                </a:solidFill>
              </a:defRPr>
            </a:lvl4pPr>
            <a:lvl5pPr>
              <a:defRPr sz="400">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18885134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Roadmap_layou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76F6C-BD27-4DE7-84DB-F7ECA9D9DE6C}"/>
              </a:ext>
            </a:extLst>
          </p:cNvPr>
          <p:cNvSpPr>
            <a:spLocks noGrp="1"/>
          </p:cNvSpPr>
          <p:nvPr>
            <p:ph type="title"/>
          </p:nvPr>
        </p:nvSpPr>
        <p:spPr>
          <a:xfrm>
            <a:off x="421181" y="290593"/>
            <a:ext cx="7886700" cy="278612"/>
          </a:xfrm>
          <a:prstGeom prst="rect">
            <a:avLst/>
          </a:prstGeom>
        </p:spPr>
        <p:txBody>
          <a:bodyPr lIns="0" tIns="0" rIns="0" bIns="0"/>
          <a:lstStyle>
            <a:lvl1pPr>
              <a:defRPr lang="en-US" sz="2000" baseline="0" dirty="0">
                <a:ea typeface="+mn-ea"/>
                <a:cs typeface="+mn-cs"/>
              </a:defRPr>
            </a:lvl1pPr>
          </a:lstStyle>
          <a:p>
            <a:pPr marL="0" lvl="0" indent="0">
              <a:spcBef>
                <a:spcPts val="750"/>
              </a:spcBef>
              <a:buFont typeface="Arial" panose="020B0604020202020204" pitchFamily="34" charset="0"/>
            </a:pPr>
            <a:r>
              <a:rPr lang="en-US"/>
              <a:t>Click to edit Master title style</a:t>
            </a:r>
          </a:p>
        </p:txBody>
      </p:sp>
      <p:sp>
        <p:nvSpPr>
          <p:cNvPr id="3" name="Footer Placeholder 2">
            <a:extLst>
              <a:ext uri="{FF2B5EF4-FFF2-40B4-BE49-F238E27FC236}">
                <a16:creationId xmlns:a16="http://schemas.microsoft.com/office/drawing/2014/main" id="{DB57295A-A6BF-4193-8538-BC9123B04FBB}"/>
              </a:ext>
            </a:extLst>
          </p:cNvPr>
          <p:cNvSpPr>
            <a:spLocks noGrp="1"/>
          </p:cNvSpPr>
          <p:nvPr>
            <p:ph type="ftr" sz="quarter" idx="10"/>
          </p:nvPr>
        </p:nvSpPr>
        <p:spPr/>
        <p:txBody>
          <a:bodyPr/>
          <a:lstStyle/>
          <a:p>
            <a:r>
              <a:rPr lang="en-GB"/>
              <a:t>Confidential</a:t>
            </a:r>
            <a:endParaRPr lang="en-US"/>
          </a:p>
        </p:txBody>
      </p:sp>
      <p:sp>
        <p:nvSpPr>
          <p:cNvPr id="5" name="Text Placeholder 4">
            <a:extLst>
              <a:ext uri="{FF2B5EF4-FFF2-40B4-BE49-F238E27FC236}">
                <a16:creationId xmlns:a16="http://schemas.microsoft.com/office/drawing/2014/main" id="{AAF597D3-B3CB-4719-890B-A328E09F4C27}"/>
              </a:ext>
            </a:extLst>
          </p:cNvPr>
          <p:cNvSpPr>
            <a:spLocks noGrp="1"/>
          </p:cNvSpPr>
          <p:nvPr>
            <p:ph type="body" sz="quarter" idx="11"/>
          </p:nvPr>
        </p:nvSpPr>
        <p:spPr>
          <a:xfrm>
            <a:off x="421181" y="599942"/>
            <a:ext cx="7886700" cy="278612"/>
          </a:xfrm>
          <a:prstGeom prst="rect">
            <a:avLst/>
          </a:prstGeom>
        </p:spPr>
        <p:txBody>
          <a:bodyPr lIns="0" tIns="0" rIns="0" bIns="0"/>
          <a:lstStyle>
            <a:lvl1pPr>
              <a:defRPr lang="en-US" sz="2000" dirty="0" smtClean="0">
                <a:solidFill>
                  <a:schemeClr val="bg2"/>
                </a:solidFill>
                <a:latin typeface="+mj-lt"/>
              </a:defRPr>
            </a:lvl1pPr>
          </a:lstStyle>
          <a:p>
            <a:pPr marL="0" lvl="0" indent="0">
              <a:buNone/>
            </a:pPr>
            <a:r>
              <a:rPr lang="en-US"/>
              <a:t>Click to edit Master text styles</a:t>
            </a:r>
          </a:p>
        </p:txBody>
      </p:sp>
    </p:spTree>
    <p:extLst>
      <p:ext uri="{BB962C8B-B14F-4D97-AF65-F5344CB8AC3E}">
        <p14:creationId xmlns:p14="http://schemas.microsoft.com/office/powerpoint/2010/main" val="213356019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Nokia Whit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F62760-E0FD-4101-9190-8A556D4DFCEE}"/>
              </a:ext>
            </a:extLst>
          </p:cNvPr>
          <p:cNvGraphicFramePr>
            <a:graphicFrameLocks noChangeAspect="1"/>
          </p:cNvGraphicFramePr>
          <p:nvPr userDrawn="1">
            <p:custDataLst>
              <p:tags r:id="rId1"/>
            </p:custDataLst>
            <p:extLst>
              <p:ext uri="{D42A27DB-BD31-4B8C-83A1-F6EECF244321}">
                <p14:modId xmlns:p14="http://schemas.microsoft.com/office/powerpoint/2010/main" val="2345527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a:extLst>
                          <a:ext uri="{FF2B5EF4-FFF2-40B4-BE49-F238E27FC236}">
                            <a16:creationId xmlns:a16="http://schemas.microsoft.com/office/drawing/2014/main" id="{BEF62760-E0FD-4101-9190-8A556D4DFCE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p:cNvSpPr>
            <a:spLocks noGrp="1"/>
          </p:cNvSpPr>
          <p:nvPr>
            <p:ph type="title"/>
          </p:nvPr>
        </p:nvSpPr>
        <p:spPr>
          <a:xfrm>
            <a:off x="418120" y="279249"/>
            <a:ext cx="8229600" cy="311789"/>
          </a:xfrm>
        </p:spPr>
        <p:txBody>
          <a:bodyPr/>
          <a:lstStyle>
            <a:lvl1pPr>
              <a:defRPr/>
            </a:lvl1pPr>
          </a:lstStyle>
          <a:p>
            <a:r>
              <a:rPr lang="en-US"/>
              <a:t>Click to edit Master title style</a:t>
            </a:r>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233344949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Roadmap_layout_S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76F6C-BD27-4DE7-84DB-F7ECA9D9DE6C}"/>
              </a:ext>
            </a:extLst>
          </p:cNvPr>
          <p:cNvSpPr>
            <a:spLocks noGrp="1"/>
          </p:cNvSpPr>
          <p:nvPr>
            <p:ph type="title"/>
          </p:nvPr>
        </p:nvSpPr>
        <p:spPr>
          <a:xfrm>
            <a:off x="421181" y="290593"/>
            <a:ext cx="7315200" cy="278612"/>
          </a:xfrm>
          <a:prstGeom prst="rect">
            <a:avLst/>
          </a:prstGeom>
        </p:spPr>
        <p:txBody>
          <a:bodyPr lIns="0" tIns="0" rIns="0" bIns="0"/>
          <a:lstStyle>
            <a:lvl1pPr>
              <a:defRPr lang="en-US" sz="2000" baseline="0" dirty="0">
                <a:ea typeface="+mn-ea"/>
                <a:cs typeface="+mn-cs"/>
              </a:defRPr>
            </a:lvl1pPr>
          </a:lstStyle>
          <a:p>
            <a:pPr marL="0" lvl="0" indent="0">
              <a:spcBef>
                <a:spcPts val="750"/>
              </a:spcBef>
              <a:buFont typeface="Arial" panose="020B0604020202020204" pitchFamily="34" charset="0"/>
            </a:pPr>
            <a:r>
              <a:rPr lang="en-US"/>
              <a:t>Click to edit Master title style</a:t>
            </a:r>
          </a:p>
        </p:txBody>
      </p:sp>
      <p:sp>
        <p:nvSpPr>
          <p:cNvPr id="3" name="Footer Placeholder 2">
            <a:extLst>
              <a:ext uri="{FF2B5EF4-FFF2-40B4-BE49-F238E27FC236}">
                <a16:creationId xmlns:a16="http://schemas.microsoft.com/office/drawing/2014/main" id="{DB57295A-A6BF-4193-8538-BC9123B04FBB}"/>
              </a:ext>
            </a:extLst>
          </p:cNvPr>
          <p:cNvSpPr>
            <a:spLocks noGrp="1"/>
          </p:cNvSpPr>
          <p:nvPr>
            <p:ph type="ftr" sz="quarter" idx="10"/>
          </p:nvPr>
        </p:nvSpPr>
        <p:spPr/>
        <p:txBody>
          <a:bodyPr/>
          <a:lstStyle/>
          <a:p>
            <a:r>
              <a:rPr lang="en-GB"/>
              <a:t>Confidential</a:t>
            </a:r>
            <a:endParaRPr lang="en-US"/>
          </a:p>
        </p:txBody>
      </p:sp>
      <p:sp>
        <p:nvSpPr>
          <p:cNvPr id="5" name="Text Placeholder 4">
            <a:extLst>
              <a:ext uri="{FF2B5EF4-FFF2-40B4-BE49-F238E27FC236}">
                <a16:creationId xmlns:a16="http://schemas.microsoft.com/office/drawing/2014/main" id="{AAF597D3-B3CB-4719-890B-A328E09F4C27}"/>
              </a:ext>
            </a:extLst>
          </p:cNvPr>
          <p:cNvSpPr>
            <a:spLocks noGrp="1"/>
          </p:cNvSpPr>
          <p:nvPr>
            <p:ph type="body" sz="quarter" idx="11"/>
          </p:nvPr>
        </p:nvSpPr>
        <p:spPr>
          <a:xfrm>
            <a:off x="421181" y="599942"/>
            <a:ext cx="7315200" cy="278612"/>
          </a:xfrm>
          <a:prstGeom prst="rect">
            <a:avLst/>
          </a:prstGeom>
        </p:spPr>
        <p:txBody>
          <a:bodyPr lIns="0" tIns="0" rIns="0" bIns="0"/>
          <a:lstStyle>
            <a:lvl1pPr marL="0" indent="0">
              <a:buNone/>
              <a:defRPr lang="en-US" sz="2000" dirty="0" smtClean="0">
                <a:solidFill>
                  <a:schemeClr val="bg2"/>
                </a:solidFill>
                <a:latin typeface="+mj-lt"/>
              </a:defRPr>
            </a:lvl1pPr>
          </a:lstStyle>
          <a:p>
            <a:pPr marL="171450" lvl="0" indent="-171450"/>
            <a:r>
              <a:rPr lang="en-US"/>
              <a:t>Click to edit Master text styles</a:t>
            </a:r>
          </a:p>
        </p:txBody>
      </p:sp>
      <p:sp>
        <p:nvSpPr>
          <p:cNvPr id="6" name="Rectangle 5">
            <a:extLst>
              <a:ext uri="{FF2B5EF4-FFF2-40B4-BE49-F238E27FC236}">
                <a16:creationId xmlns:a16="http://schemas.microsoft.com/office/drawing/2014/main" id="{312F0DC2-19AD-4697-9D17-4D9A6B91C848}"/>
              </a:ext>
            </a:extLst>
          </p:cNvPr>
          <p:cNvSpPr/>
          <p:nvPr userDrawn="1"/>
        </p:nvSpPr>
        <p:spPr>
          <a:xfrm>
            <a:off x="4841963" y="1291897"/>
            <a:ext cx="3884651" cy="328241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14" name="Text Placeholder 13">
            <a:extLst>
              <a:ext uri="{FF2B5EF4-FFF2-40B4-BE49-F238E27FC236}">
                <a16:creationId xmlns:a16="http://schemas.microsoft.com/office/drawing/2014/main" id="{BED23EEB-137A-4C34-AEF4-5A2EA030E4CF}"/>
              </a:ext>
            </a:extLst>
          </p:cNvPr>
          <p:cNvSpPr>
            <a:spLocks noGrp="1"/>
          </p:cNvSpPr>
          <p:nvPr>
            <p:ph type="body" sz="quarter" idx="12" hasCustomPrompt="1"/>
          </p:nvPr>
        </p:nvSpPr>
        <p:spPr>
          <a:xfrm>
            <a:off x="420688" y="950049"/>
            <a:ext cx="8305800" cy="327025"/>
          </a:xfrm>
          <a:prstGeom prst="rect">
            <a:avLst/>
          </a:prstGeom>
          <a:solidFill>
            <a:schemeClr val="tx1"/>
          </a:solidFill>
        </p:spPr>
        <p:txBody>
          <a:bodyPr/>
          <a:lstStyle>
            <a:lvl1pPr marL="0" indent="0">
              <a:buNone/>
              <a:defRPr sz="1600">
                <a:solidFill>
                  <a:schemeClr val="bg1"/>
                </a:solidFill>
              </a:defRPr>
            </a:lvl1pPr>
          </a:lstStyle>
          <a:p>
            <a:pPr lvl="0"/>
            <a:r>
              <a:rPr lang="hu-HU"/>
              <a:t>Main </a:t>
            </a:r>
            <a:r>
              <a:rPr lang="hu-HU" err="1"/>
              <a:t>message</a:t>
            </a:r>
            <a:endParaRPr lang="en-US"/>
          </a:p>
        </p:txBody>
      </p:sp>
      <p:sp>
        <p:nvSpPr>
          <p:cNvPr id="16" name="Text Placeholder 15">
            <a:extLst>
              <a:ext uri="{FF2B5EF4-FFF2-40B4-BE49-F238E27FC236}">
                <a16:creationId xmlns:a16="http://schemas.microsoft.com/office/drawing/2014/main" id="{4559E94A-92BA-499A-9869-E0BB9C70AF10}"/>
              </a:ext>
            </a:extLst>
          </p:cNvPr>
          <p:cNvSpPr>
            <a:spLocks noGrp="1"/>
          </p:cNvSpPr>
          <p:nvPr>
            <p:ph type="body" sz="quarter" idx="13" hasCustomPrompt="1"/>
          </p:nvPr>
        </p:nvSpPr>
        <p:spPr>
          <a:xfrm>
            <a:off x="502919" y="1347044"/>
            <a:ext cx="4387733" cy="3227267"/>
          </a:xfrm>
          <a:prstGeom prst="rect">
            <a:avLst/>
          </a:prstGeom>
        </p:spPr>
        <p:txBody>
          <a:bodyPr/>
          <a:lstStyle>
            <a:lvl1pPr marL="182880" indent="-182880">
              <a:spcBef>
                <a:spcPts val="300"/>
              </a:spcBef>
              <a:spcAft>
                <a:spcPts val="300"/>
              </a:spcAft>
              <a:buFont typeface="Arial" panose="020B0604020202020204" pitchFamily="34" charset="0"/>
              <a:buChar char="•"/>
              <a:defRPr sz="1400">
                <a:solidFill>
                  <a:schemeClr val="tx1"/>
                </a:solidFill>
              </a:defRPr>
            </a:lvl1pPr>
            <a:lvl2pPr marL="365760" indent="-182880">
              <a:spcBef>
                <a:spcPts val="0"/>
              </a:spcBef>
              <a:spcAft>
                <a:spcPts val="300"/>
              </a:spcAft>
              <a:buFont typeface="Arial" panose="020B0604020202020204" pitchFamily="34" charset="0"/>
              <a:buChar char="•"/>
              <a:defRPr sz="1200">
                <a:solidFill>
                  <a:schemeClr val="tx1"/>
                </a:solidFill>
              </a:defRPr>
            </a:lvl2pPr>
            <a:lvl3pPr marL="548640" indent="-182880">
              <a:spcBef>
                <a:spcPts val="0"/>
              </a:spcBef>
              <a:spcAft>
                <a:spcPts val="300"/>
              </a:spcAft>
              <a:buFont typeface="Arial" panose="020B0604020202020204" pitchFamily="34" charset="0"/>
              <a:buChar char="•"/>
              <a:defRPr sz="1000">
                <a:solidFill>
                  <a:schemeClr val="tx1"/>
                </a:solidFill>
              </a:defRPr>
            </a:lvl3pPr>
            <a:lvl4pPr marL="1200150" indent="-171450">
              <a:buFont typeface="Wingdings" panose="05000000000000000000" pitchFamily="2" charset="2"/>
              <a:buChar char="§"/>
              <a:defRPr sz="1000">
                <a:solidFill>
                  <a:schemeClr val="tx2"/>
                </a:solidFill>
              </a:defRPr>
            </a:lvl4pPr>
            <a:lvl5pPr marL="1543050" indent="-171450">
              <a:buFont typeface="Wingdings" panose="05000000000000000000" pitchFamily="2" charset="2"/>
              <a:buChar char="§"/>
              <a:defRPr sz="1000">
                <a:solidFill>
                  <a:schemeClr val="tx2"/>
                </a:solidFill>
              </a:defRPr>
            </a:lvl5pPr>
          </a:lstStyle>
          <a:p>
            <a:pPr lvl="0"/>
            <a:r>
              <a:rPr lang="en-US"/>
              <a:t>First Level</a:t>
            </a:r>
          </a:p>
          <a:p>
            <a:pPr lvl="1"/>
            <a:r>
              <a:rPr lang="en-US"/>
              <a:t>Second level</a:t>
            </a:r>
          </a:p>
          <a:p>
            <a:pPr lvl="2"/>
            <a:r>
              <a:rPr lang="en-US"/>
              <a:t>Third level</a:t>
            </a:r>
          </a:p>
          <a:p>
            <a:pPr lvl="0"/>
            <a:r>
              <a:rPr lang="en-US"/>
              <a:t>First level</a:t>
            </a:r>
          </a:p>
          <a:p>
            <a:pPr lvl="1"/>
            <a:r>
              <a:rPr lang="en-US"/>
              <a:t>Second level</a:t>
            </a:r>
          </a:p>
          <a:p>
            <a:pPr lvl="2"/>
            <a:r>
              <a:rPr lang="en-US"/>
              <a:t>Third level</a:t>
            </a:r>
          </a:p>
          <a:p>
            <a:pPr lvl="2"/>
            <a:endParaRPr lang="en-US"/>
          </a:p>
        </p:txBody>
      </p:sp>
      <p:sp>
        <p:nvSpPr>
          <p:cNvPr id="19" name="Content Placeholder 6">
            <a:extLst>
              <a:ext uri="{FF2B5EF4-FFF2-40B4-BE49-F238E27FC236}">
                <a16:creationId xmlns:a16="http://schemas.microsoft.com/office/drawing/2014/main" id="{607356C3-314C-47A7-B0F4-1AED31172A13}"/>
              </a:ext>
            </a:extLst>
          </p:cNvPr>
          <p:cNvSpPr>
            <a:spLocks noGrp="1"/>
          </p:cNvSpPr>
          <p:nvPr>
            <p:ph sz="quarter" idx="16" hasCustomPrompt="1"/>
          </p:nvPr>
        </p:nvSpPr>
        <p:spPr>
          <a:xfrm>
            <a:off x="7808419" y="315599"/>
            <a:ext cx="914400" cy="228600"/>
          </a:xfrm>
          <a:prstGeom prst="rect">
            <a:avLst/>
          </a:prstGeom>
          <a:solidFill>
            <a:schemeClr val="tx1"/>
          </a:solidFill>
        </p:spPr>
        <p:txBody>
          <a:bodyPr vert="horz" lIns="73152" tIns="27432" rIns="73152" bIns="0" anchor="ctr" anchorCtr="0"/>
          <a:lstStyle>
            <a:lvl1pPr marL="0" indent="0" algn="ctr">
              <a:buNone/>
              <a:defRPr sz="1200" b="1">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pPr lvl="0"/>
            <a:r>
              <a:rPr lang="en-US"/>
              <a:t>Release</a:t>
            </a:r>
          </a:p>
        </p:txBody>
      </p:sp>
      <p:cxnSp>
        <p:nvCxnSpPr>
          <p:cNvPr id="20" name="Straight Connector 19">
            <a:extLst>
              <a:ext uri="{FF2B5EF4-FFF2-40B4-BE49-F238E27FC236}">
                <a16:creationId xmlns:a16="http://schemas.microsoft.com/office/drawing/2014/main" id="{A005EEEB-8054-474F-85C6-4C0F78792B36}"/>
              </a:ext>
            </a:extLst>
          </p:cNvPr>
          <p:cNvCxnSpPr>
            <a:cxnSpLocks/>
          </p:cNvCxnSpPr>
          <p:nvPr userDrawn="1"/>
        </p:nvCxnSpPr>
        <p:spPr>
          <a:xfrm>
            <a:off x="443615" y="1270016"/>
            <a:ext cx="0" cy="3494119"/>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9">
            <a:extLst>
              <a:ext uri="{FF2B5EF4-FFF2-40B4-BE49-F238E27FC236}">
                <a16:creationId xmlns:a16="http://schemas.microsoft.com/office/drawing/2014/main" id="{E692BB57-1A91-4418-AFC6-39E7F75C263E}"/>
              </a:ext>
            </a:extLst>
          </p:cNvPr>
          <p:cNvSpPr>
            <a:spLocks noGrp="1"/>
          </p:cNvSpPr>
          <p:nvPr>
            <p:ph sz="quarter" idx="15" hasCustomPrompt="1"/>
          </p:nvPr>
        </p:nvSpPr>
        <p:spPr>
          <a:xfrm>
            <a:off x="421304" y="4620048"/>
            <a:ext cx="1005840" cy="182880"/>
          </a:xfrm>
          <a:prstGeom prst="rect">
            <a:avLst/>
          </a:prstGeom>
          <a:solidFill>
            <a:schemeClr val="tx1"/>
          </a:solidFill>
          <a:ln>
            <a:solidFill>
              <a:schemeClr val="tx1"/>
            </a:solidFill>
          </a:ln>
        </p:spPr>
        <p:txBody>
          <a:bodyPr lIns="0" tIns="0" rIns="0" bIns="0" anchor="ctr" anchorCtr="0"/>
          <a:lstStyle>
            <a:lvl1pPr marL="0" indent="0" algn="ctr">
              <a:buNone/>
              <a:defRPr sz="1000">
                <a:solidFill>
                  <a:schemeClr val="bg1"/>
                </a:solidFill>
                <a:latin typeface="+mj-lt"/>
              </a:defRPr>
            </a:lvl1pPr>
          </a:lstStyle>
          <a:p>
            <a:pPr lvl="0"/>
            <a:r>
              <a:rPr lang="en-US"/>
              <a:t>Feature ID</a:t>
            </a:r>
          </a:p>
        </p:txBody>
      </p:sp>
    </p:spTree>
    <p:extLst>
      <p:ext uri="{BB962C8B-B14F-4D97-AF65-F5344CB8AC3E}">
        <p14:creationId xmlns:p14="http://schemas.microsoft.com/office/powerpoint/2010/main" val="33435579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1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127207-FBDD-4EF5-A60B-68DDED46BE59}"/>
              </a:ext>
            </a:extLst>
          </p:cNvPr>
          <p:cNvGraphicFramePr>
            <a:graphicFrameLocks noChangeAspect="1"/>
          </p:cNvGraphicFramePr>
          <p:nvPr userDrawn="1">
            <p:custDataLst>
              <p:tags r:id="rId1"/>
            </p:custDataLst>
            <p:extLst>
              <p:ext uri="{D42A27DB-BD31-4B8C-83A1-F6EECF244321}">
                <p14:modId xmlns:p14="http://schemas.microsoft.com/office/powerpoint/2010/main" val="2127842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6" imgH="296" progId="TCLayout.ActiveDocument.1">
                  <p:embed/>
                </p:oleObj>
              </mc:Choice>
              <mc:Fallback>
                <p:oleObj name="think-cell Slide" r:id="rId3" imgW="296" imgH="296" progId="TCLayout.ActiveDocument.1">
                  <p:embed/>
                  <p:pic>
                    <p:nvPicPr>
                      <p:cNvPr id="7" name="Object 6" hidden="1">
                        <a:extLst>
                          <a:ext uri="{FF2B5EF4-FFF2-40B4-BE49-F238E27FC236}">
                            <a16:creationId xmlns:a16="http://schemas.microsoft.com/office/drawing/2014/main" id="{1D127207-FBDD-4EF5-A60B-68DDED46B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rtl="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rtl="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rgbClr val="001D47"/>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pic>
        <p:nvPicPr>
          <p:cNvPr id="8" name="Graphic 7">
            <a:extLst>
              <a:ext uri="{FF2B5EF4-FFF2-40B4-BE49-F238E27FC236}">
                <a16:creationId xmlns:a16="http://schemas.microsoft.com/office/drawing/2014/main" id="{1288F38C-132D-4FA0-9BDC-1B41411BE2C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52320" y="4740459"/>
            <a:ext cx="972000" cy="219014"/>
          </a:xfrm>
          <a:prstGeom prst="rect">
            <a:avLst/>
          </a:prstGeom>
        </p:spPr>
      </p:pic>
      <p:sp>
        <p:nvSpPr>
          <p:cNvPr id="12" name="TextBox 11">
            <a:extLst>
              <a:ext uri="{FF2B5EF4-FFF2-40B4-BE49-F238E27FC236}">
                <a16:creationId xmlns:a16="http://schemas.microsoft.com/office/drawing/2014/main" id="{0E93F57C-0B5B-4E65-94C1-E4625B3F7D64}"/>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B8E544A5-9D96-4513-8452-DB6216EDA52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1A5F19C3-3F47-4E52-9358-3BE5D89B4F27}"/>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400035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2 Title and ma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127207-FBDD-4EF5-A60B-68DDED46BE59}"/>
              </a:ext>
            </a:extLst>
          </p:cNvPr>
          <p:cNvGraphicFramePr>
            <a:graphicFrameLocks noChangeAspect="1"/>
          </p:cNvGraphicFramePr>
          <p:nvPr userDrawn="1">
            <p:custDataLst>
              <p:tags r:id="rId1"/>
            </p:custDataLst>
            <p:extLst>
              <p:ext uri="{D42A27DB-BD31-4B8C-83A1-F6EECF244321}">
                <p14:modId xmlns:p14="http://schemas.microsoft.com/office/powerpoint/2010/main" val="1564628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6" imgH="296" progId="TCLayout.ActiveDocument.1">
                  <p:embed/>
                </p:oleObj>
              </mc:Choice>
              <mc:Fallback>
                <p:oleObj name="think-cell Slide" r:id="rId3" imgW="296" imgH="296" progId="TCLayout.ActiveDocument.1">
                  <p:embed/>
                  <p:pic>
                    <p:nvPicPr>
                      <p:cNvPr id="7" name="Object 6" hidden="1">
                        <a:extLst>
                          <a:ext uri="{FF2B5EF4-FFF2-40B4-BE49-F238E27FC236}">
                            <a16:creationId xmlns:a16="http://schemas.microsoft.com/office/drawing/2014/main" id="{1D127207-FBDD-4EF5-A60B-68DDED46B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rtl="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rtl="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rgbClr val="001D47"/>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pic>
        <p:nvPicPr>
          <p:cNvPr id="8" name="Graphic 7">
            <a:extLst>
              <a:ext uri="{FF2B5EF4-FFF2-40B4-BE49-F238E27FC236}">
                <a16:creationId xmlns:a16="http://schemas.microsoft.com/office/drawing/2014/main" id="{1288F38C-132D-4FA0-9BDC-1B41411BE2C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52320" y="4740459"/>
            <a:ext cx="972000" cy="219014"/>
          </a:xfrm>
          <a:prstGeom prst="rect">
            <a:avLst/>
          </a:prstGeom>
        </p:spPr>
      </p:pic>
      <p:sp>
        <p:nvSpPr>
          <p:cNvPr id="12" name="TextBox 11">
            <a:extLst>
              <a:ext uri="{FF2B5EF4-FFF2-40B4-BE49-F238E27FC236}">
                <a16:creationId xmlns:a16="http://schemas.microsoft.com/office/drawing/2014/main" id="{0E93F57C-0B5B-4E65-94C1-E4625B3F7D64}"/>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B8E544A5-9D96-4513-8452-DB6216EDA52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1A5F19C3-3F47-4E52-9358-3BE5D89B4F27}"/>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63C3C20B-69E0-40B2-BEAB-90FBEBE089F7}"/>
              </a:ext>
            </a:extLst>
          </p:cNvPr>
          <p:cNvGrpSpPr/>
          <p:nvPr userDrawn="1"/>
        </p:nvGrpSpPr>
        <p:grpSpPr>
          <a:xfrm>
            <a:off x="1568135" y="1133094"/>
            <a:ext cx="7096714" cy="3545665"/>
            <a:chOff x="995819" y="1133094"/>
            <a:chExt cx="7096714" cy="3545665"/>
          </a:xfrm>
          <a:solidFill>
            <a:srgbClr val="EBEBEB"/>
          </a:solidFill>
        </p:grpSpPr>
        <p:grpSp>
          <p:nvGrpSpPr>
            <p:cNvPr id="334" name="Group 331">
              <a:extLst>
                <a:ext uri="{FF2B5EF4-FFF2-40B4-BE49-F238E27FC236}">
                  <a16:creationId xmlns:a16="http://schemas.microsoft.com/office/drawing/2014/main" id="{4D5D0CD2-7DBA-49DB-8F93-0320934DDF8B}"/>
                </a:ext>
              </a:extLst>
            </p:cNvPr>
            <p:cNvGrpSpPr/>
            <p:nvPr/>
          </p:nvGrpSpPr>
          <p:grpSpPr>
            <a:xfrm>
              <a:off x="3594284" y="2149712"/>
              <a:ext cx="2314543" cy="1981849"/>
              <a:chOff x="3566445" y="2052092"/>
              <a:chExt cx="2450176" cy="2103083"/>
            </a:xfrm>
            <a:grpFill/>
          </p:grpSpPr>
          <p:sp>
            <p:nvSpPr>
              <p:cNvPr id="584" name="Freeform 5">
                <a:extLst>
                  <a:ext uri="{FF2B5EF4-FFF2-40B4-BE49-F238E27FC236}">
                    <a16:creationId xmlns:a16="http://schemas.microsoft.com/office/drawing/2014/main" id="{B3BFE91E-FBD2-4BF3-B105-DAEB95C56375}"/>
                  </a:ext>
                </a:extLst>
              </p:cNvPr>
              <p:cNvSpPr>
                <a:spLocks/>
              </p:cNvSpPr>
              <p:nvPr/>
            </p:nvSpPr>
            <p:spPr bwMode="auto">
              <a:xfrm>
                <a:off x="3639853" y="2710870"/>
                <a:ext cx="5540" cy="17686"/>
              </a:xfrm>
              <a:custGeom>
                <a:avLst/>
                <a:gdLst>
                  <a:gd name="T0" fmla="*/ 6350 w 4"/>
                  <a:gd name="T1" fmla="*/ 9525 h 12"/>
                  <a:gd name="T2" fmla="*/ 0 w 4"/>
                  <a:gd name="T3" fmla="*/ 0 h 12"/>
                  <a:gd name="T4" fmla="*/ 0 w 4"/>
                  <a:gd name="T5" fmla="*/ 19050 h 12"/>
                  <a:gd name="T6" fmla="*/ 6350 w 4"/>
                  <a:gd name="T7" fmla="*/ 9525 h 12"/>
                  <a:gd name="T8" fmla="*/ 6350 w 4"/>
                  <a:gd name="T9" fmla="*/ 9525 h 12"/>
                  <a:gd name="T10" fmla="*/ 0 60000 65536"/>
                  <a:gd name="T11" fmla="*/ 0 60000 65536"/>
                  <a:gd name="T12" fmla="*/ 0 60000 65536"/>
                  <a:gd name="T13" fmla="*/ 0 60000 65536"/>
                  <a:gd name="T14" fmla="*/ 0 60000 65536"/>
                  <a:gd name="T15" fmla="*/ 0 w 4"/>
                  <a:gd name="T16" fmla="*/ 0 h 12"/>
                  <a:gd name="T17" fmla="*/ 4 w 4"/>
                  <a:gd name="T18" fmla="*/ 12 h 12"/>
                </a:gdLst>
                <a:ahLst/>
                <a:cxnLst>
                  <a:cxn ang="T10">
                    <a:pos x="T0" y="T1"/>
                  </a:cxn>
                  <a:cxn ang="T11">
                    <a:pos x="T2" y="T3"/>
                  </a:cxn>
                  <a:cxn ang="T12">
                    <a:pos x="T4" y="T5"/>
                  </a:cxn>
                  <a:cxn ang="T13">
                    <a:pos x="T6" y="T7"/>
                  </a:cxn>
                  <a:cxn ang="T14">
                    <a:pos x="T8" y="T9"/>
                  </a:cxn>
                </a:cxnLst>
                <a:rect l="T15" t="T16" r="T17" b="T18"/>
                <a:pathLst>
                  <a:path w="4" h="12">
                    <a:moveTo>
                      <a:pt x="4" y="6"/>
                    </a:moveTo>
                    <a:lnTo>
                      <a:pt x="0" y="0"/>
                    </a:lnTo>
                    <a:lnTo>
                      <a:pt x="0" y="12"/>
                    </a:lnTo>
                    <a:lnTo>
                      <a:pt x="4"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5" name="Freeform 6">
                <a:extLst>
                  <a:ext uri="{FF2B5EF4-FFF2-40B4-BE49-F238E27FC236}">
                    <a16:creationId xmlns:a16="http://schemas.microsoft.com/office/drawing/2014/main" id="{A0B7F4B9-7ED5-470C-9989-5A50ECB0B2AB}"/>
                  </a:ext>
                </a:extLst>
              </p:cNvPr>
              <p:cNvSpPr>
                <a:spLocks/>
              </p:cNvSpPr>
              <p:nvPr/>
            </p:nvSpPr>
            <p:spPr bwMode="auto">
              <a:xfrm>
                <a:off x="3566445" y="2707923"/>
                <a:ext cx="22161" cy="14738"/>
              </a:xfrm>
              <a:custGeom>
                <a:avLst/>
                <a:gdLst>
                  <a:gd name="T0" fmla="*/ 25400 w 16"/>
                  <a:gd name="T1" fmla="*/ 6350 h 10"/>
                  <a:gd name="T2" fmla="*/ 22225 w 16"/>
                  <a:gd name="T3" fmla="*/ 0 h 10"/>
                  <a:gd name="T4" fmla="*/ 0 w 16"/>
                  <a:gd name="T5" fmla="*/ 3175 h 10"/>
                  <a:gd name="T6" fmla="*/ 6350 w 16"/>
                  <a:gd name="T7" fmla="*/ 15875 h 10"/>
                  <a:gd name="T8" fmla="*/ 25400 w 16"/>
                  <a:gd name="T9" fmla="*/ 6350 h 10"/>
                  <a:gd name="T10" fmla="*/ 25400 w 16"/>
                  <a:gd name="T11" fmla="*/ 6350 h 10"/>
                  <a:gd name="T12" fmla="*/ 0 60000 65536"/>
                  <a:gd name="T13" fmla="*/ 0 60000 65536"/>
                  <a:gd name="T14" fmla="*/ 0 60000 65536"/>
                  <a:gd name="T15" fmla="*/ 0 60000 65536"/>
                  <a:gd name="T16" fmla="*/ 0 60000 65536"/>
                  <a:gd name="T17" fmla="*/ 0 60000 65536"/>
                  <a:gd name="T18" fmla="*/ 0 w 16"/>
                  <a:gd name="T19" fmla="*/ 0 h 10"/>
                  <a:gd name="T20" fmla="*/ 16 w 16"/>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6" h="10">
                    <a:moveTo>
                      <a:pt x="16" y="4"/>
                    </a:moveTo>
                    <a:lnTo>
                      <a:pt x="14" y="0"/>
                    </a:lnTo>
                    <a:lnTo>
                      <a:pt x="0" y="2"/>
                    </a:lnTo>
                    <a:lnTo>
                      <a:pt x="4" y="10"/>
                    </a:lnTo>
                    <a:lnTo>
                      <a:pt x="16"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6" name="Freeform 7">
                <a:extLst>
                  <a:ext uri="{FF2B5EF4-FFF2-40B4-BE49-F238E27FC236}">
                    <a16:creationId xmlns:a16="http://schemas.microsoft.com/office/drawing/2014/main" id="{3BF0909D-071F-4558-BB9E-FF0E08BB9FF0}"/>
                  </a:ext>
                </a:extLst>
              </p:cNvPr>
              <p:cNvSpPr>
                <a:spLocks/>
              </p:cNvSpPr>
              <p:nvPr/>
            </p:nvSpPr>
            <p:spPr bwMode="auto">
              <a:xfrm>
                <a:off x="3637083" y="2731504"/>
                <a:ext cx="16621" cy="17686"/>
              </a:xfrm>
              <a:custGeom>
                <a:avLst/>
                <a:gdLst>
                  <a:gd name="T0" fmla="*/ 3175 w 12"/>
                  <a:gd name="T1" fmla="*/ 3175 h 12"/>
                  <a:gd name="T2" fmla="*/ 0 w 12"/>
                  <a:gd name="T3" fmla="*/ 9525 h 12"/>
                  <a:gd name="T4" fmla="*/ 6350 w 12"/>
                  <a:gd name="T5" fmla="*/ 19050 h 12"/>
                  <a:gd name="T6" fmla="*/ 12700 w 12"/>
                  <a:gd name="T7" fmla="*/ 15875 h 12"/>
                  <a:gd name="T8" fmla="*/ 19050 w 12"/>
                  <a:gd name="T9" fmla="*/ 12700 h 12"/>
                  <a:gd name="T10" fmla="*/ 19050 w 12"/>
                  <a:gd name="T11" fmla="*/ 3175 h 12"/>
                  <a:gd name="T12" fmla="*/ 12700 w 12"/>
                  <a:gd name="T13" fmla="*/ 0 h 12"/>
                  <a:gd name="T14" fmla="*/ 3175 w 12"/>
                  <a:gd name="T15" fmla="*/ 3175 h 12"/>
                  <a:gd name="T16" fmla="*/ 3175 w 12"/>
                  <a:gd name="T17" fmla="*/ 3175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2" y="2"/>
                    </a:moveTo>
                    <a:lnTo>
                      <a:pt x="0" y="6"/>
                    </a:lnTo>
                    <a:lnTo>
                      <a:pt x="4" y="12"/>
                    </a:lnTo>
                    <a:lnTo>
                      <a:pt x="8" y="10"/>
                    </a:lnTo>
                    <a:lnTo>
                      <a:pt x="12" y="8"/>
                    </a:lnTo>
                    <a:lnTo>
                      <a:pt x="12" y="2"/>
                    </a:lnTo>
                    <a:lnTo>
                      <a:pt x="8" y="0"/>
                    </a:lnTo>
                    <a:lnTo>
                      <a:pt x="2" y="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7" name="Freeform 8">
                <a:extLst>
                  <a:ext uri="{FF2B5EF4-FFF2-40B4-BE49-F238E27FC236}">
                    <a16:creationId xmlns:a16="http://schemas.microsoft.com/office/drawing/2014/main" id="{C05458D0-8332-453F-8275-63ED062A47C3}"/>
                  </a:ext>
                </a:extLst>
              </p:cNvPr>
              <p:cNvSpPr>
                <a:spLocks/>
              </p:cNvSpPr>
              <p:nvPr/>
            </p:nvSpPr>
            <p:spPr bwMode="auto">
              <a:xfrm>
                <a:off x="3591376" y="2769822"/>
                <a:ext cx="15235" cy="14738"/>
              </a:xfrm>
              <a:custGeom>
                <a:avLst/>
                <a:gdLst>
                  <a:gd name="T0" fmla="*/ 17463 w 11"/>
                  <a:gd name="T1" fmla="*/ 12700 h 10"/>
                  <a:gd name="T2" fmla="*/ 17463 w 11"/>
                  <a:gd name="T3" fmla="*/ 0 h 10"/>
                  <a:gd name="T4" fmla="*/ 6350 w 11"/>
                  <a:gd name="T5" fmla="*/ 3175 h 10"/>
                  <a:gd name="T6" fmla="*/ 0 w 11"/>
                  <a:gd name="T7" fmla="*/ 15875 h 10"/>
                  <a:gd name="T8" fmla="*/ 17463 w 11"/>
                  <a:gd name="T9" fmla="*/ 12700 h 10"/>
                  <a:gd name="T10" fmla="*/ 17463 w 11"/>
                  <a:gd name="T11" fmla="*/ 1270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8"/>
                    </a:moveTo>
                    <a:lnTo>
                      <a:pt x="11" y="0"/>
                    </a:lnTo>
                    <a:lnTo>
                      <a:pt x="4" y="2"/>
                    </a:lnTo>
                    <a:lnTo>
                      <a:pt x="0" y="10"/>
                    </a:lnTo>
                    <a:lnTo>
                      <a:pt x="11" y="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8" name="Freeform 9">
                <a:extLst>
                  <a:ext uri="{FF2B5EF4-FFF2-40B4-BE49-F238E27FC236}">
                    <a16:creationId xmlns:a16="http://schemas.microsoft.com/office/drawing/2014/main" id="{A9989AC7-A6D7-4A8B-9A73-4E15E443C3D0}"/>
                  </a:ext>
                </a:extLst>
              </p:cNvPr>
              <p:cNvSpPr>
                <a:spLocks/>
              </p:cNvSpPr>
              <p:nvPr/>
            </p:nvSpPr>
            <p:spPr bwMode="auto">
              <a:xfrm>
                <a:off x="3614921" y="2758032"/>
                <a:ext cx="22161" cy="23580"/>
              </a:xfrm>
              <a:custGeom>
                <a:avLst/>
                <a:gdLst>
                  <a:gd name="T0" fmla="*/ 0 w 16"/>
                  <a:gd name="T1" fmla="*/ 22225 h 16"/>
                  <a:gd name="T2" fmla="*/ 9525 w 16"/>
                  <a:gd name="T3" fmla="*/ 25400 h 16"/>
                  <a:gd name="T4" fmla="*/ 22225 w 16"/>
                  <a:gd name="T5" fmla="*/ 19050 h 16"/>
                  <a:gd name="T6" fmla="*/ 25400 w 16"/>
                  <a:gd name="T7" fmla="*/ 12700 h 16"/>
                  <a:gd name="T8" fmla="*/ 0 w 16"/>
                  <a:gd name="T9" fmla="*/ 0 h 16"/>
                  <a:gd name="T10" fmla="*/ 0 w 16"/>
                  <a:gd name="T11" fmla="*/ 22225 h 16"/>
                  <a:gd name="T12" fmla="*/ 0 w 16"/>
                  <a:gd name="T13" fmla="*/ 22225 h 16"/>
                  <a:gd name="T14" fmla="*/ 0 60000 65536"/>
                  <a:gd name="T15" fmla="*/ 0 60000 65536"/>
                  <a:gd name="T16" fmla="*/ 0 60000 65536"/>
                  <a:gd name="T17" fmla="*/ 0 60000 65536"/>
                  <a:gd name="T18" fmla="*/ 0 60000 65536"/>
                  <a:gd name="T19" fmla="*/ 0 60000 65536"/>
                  <a:gd name="T20" fmla="*/ 0 60000 65536"/>
                  <a:gd name="T21" fmla="*/ 0 w 16"/>
                  <a:gd name="T22" fmla="*/ 0 h 16"/>
                  <a:gd name="T23" fmla="*/ 16 w 1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6">
                    <a:moveTo>
                      <a:pt x="0" y="14"/>
                    </a:moveTo>
                    <a:lnTo>
                      <a:pt x="6" y="16"/>
                    </a:lnTo>
                    <a:lnTo>
                      <a:pt x="14" y="12"/>
                    </a:lnTo>
                    <a:lnTo>
                      <a:pt x="16" y="8"/>
                    </a:lnTo>
                    <a:lnTo>
                      <a:pt x="0" y="0"/>
                    </a:lnTo>
                    <a:lnTo>
                      <a:pt x="0" y="1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9" name="Freeform 10">
                <a:extLst>
                  <a:ext uri="{FF2B5EF4-FFF2-40B4-BE49-F238E27FC236}">
                    <a16:creationId xmlns:a16="http://schemas.microsoft.com/office/drawing/2014/main" id="{FB7025CE-3DCA-47F2-8990-5617D42B9188}"/>
                  </a:ext>
                </a:extLst>
              </p:cNvPr>
              <p:cNvSpPr>
                <a:spLocks/>
              </p:cNvSpPr>
              <p:nvPr/>
            </p:nvSpPr>
            <p:spPr bwMode="auto">
              <a:xfrm>
                <a:off x="3594146" y="2722661"/>
                <a:ext cx="26316" cy="8843"/>
              </a:xfrm>
              <a:custGeom>
                <a:avLst/>
                <a:gdLst>
                  <a:gd name="T0" fmla="*/ 3175 w 19"/>
                  <a:gd name="T1" fmla="*/ 9525 h 6"/>
                  <a:gd name="T2" fmla="*/ 30163 w 19"/>
                  <a:gd name="T3" fmla="*/ 3175 h 6"/>
                  <a:gd name="T4" fmla="*/ 0 w 19"/>
                  <a:gd name="T5" fmla="*/ 0 h 6"/>
                  <a:gd name="T6" fmla="*/ 3175 w 19"/>
                  <a:gd name="T7" fmla="*/ 9525 h 6"/>
                  <a:gd name="T8" fmla="*/ 3175 w 19"/>
                  <a:gd name="T9" fmla="*/ 9525 h 6"/>
                  <a:gd name="T10" fmla="*/ 0 60000 65536"/>
                  <a:gd name="T11" fmla="*/ 0 60000 65536"/>
                  <a:gd name="T12" fmla="*/ 0 60000 65536"/>
                  <a:gd name="T13" fmla="*/ 0 60000 65536"/>
                  <a:gd name="T14" fmla="*/ 0 60000 65536"/>
                  <a:gd name="T15" fmla="*/ 0 w 19"/>
                  <a:gd name="T16" fmla="*/ 0 h 6"/>
                  <a:gd name="T17" fmla="*/ 19 w 19"/>
                  <a:gd name="T18" fmla="*/ 6 h 6"/>
                </a:gdLst>
                <a:ahLst/>
                <a:cxnLst>
                  <a:cxn ang="T10">
                    <a:pos x="T0" y="T1"/>
                  </a:cxn>
                  <a:cxn ang="T11">
                    <a:pos x="T2" y="T3"/>
                  </a:cxn>
                  <a:cxn ang="T12">
                    <a:pos x="T4" y="T5"/>
                  </a:cxn>
                  <a:cxn ang="T13">
                    <a:pos x="T6" y="T7"/>
                  </a:cxn>
                  <a:cxn ang="T14">
                    <a:pos x="T8" y="T9"/>
                  </a:cxn>
                </a:cxnLst>
                <a:rect l="T15" t="T16" r="T17" b="T18"/>
                <a:pathLst>
                  <a:path w="19" h="6">
                    <a:moveTo>
                      <a:pt x="2" y="6"/>
                    </a:moveTo>
                    <a:lnTo>
                      <a:pt x="19" y="2"/>
                    </a:lnTo>
                    <a:lnTo>
                      <a:pt x="0" y="0"/>
                    </a:lnTo>
                    <a:lnTo>
                      <a:pt x="2"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0" name="Freeform 3">
                <a:extLst>
                  <a:ext uri="{FF2B5EF4-FFF2-40B4-BE49-F238E27FC236}">
                    <a16:creationId xmlns:a16="http://schemas.microsoft.com/office/drawing/2014/main" id="{B587EF2A-25CC-456C-976B-BB262A4405AC}"/>
                  </a:ext>
                </a:extLst>
              </p:cNvPr>
              <p:cNvSpPr>
                <a:spLocks/>
              </p:cNvSpPr>
              <p:nvPr/>
            </p:nvSpPr>
            <p:spPr bwMode="auto">
              <a:xfrm>
                <a:off x="5085859" y="2665184"/>
                <a:ext cx="196679" cy="218119"/>
              </a:xfrm>
              <a:custGeom>
                <a:avLst/>
                <a:gdLst>
                  <a:gd name="T0" fmla="*/ 115887 w 142"/>
                  <a:gd name="T1" fmla="*/ 0 h 148"/>
                  <a:gd name="T2" fmla="*/ 15875 w 142"/>
                  <a:gd name="T3" fmla="*/ 34925 h 148"/>
                  <a:gd name="T4" fmla="*/ 0 w 142"/>
                  <a:gd name="T5" fmla="*/ 138112 h 148"/>
                  <a:gd name="T6" fmla="*/ 106363 w 142"/>
                  <a:gd name="T7" fmla="*/ 144462 h 148"/>
                  <a:gd name="T8" fmla="*/ 176212 w 142"/>
                  <a:gd name="T9" fmla="*/ 187325 h 148"/>
                  <a:gd name="T10" fmla="*/ 160337 w 142"/>
                  <a:gd name="T11" fmla="*/ 219075 h 148"/>
                  <a:gd name="T12" fmla="*/ 225425 w 142"/>
                  <a:gd name="T13" fmla="*/ 234950 h 148"/>
                  <a:gd name="T14" fmla="*/ 134937 w 142"/>
                  <a:gd name="T15" fmla="*/ 87312 h 148"/>
                  <a:gd name="T16" fmla="*/ 115887 w 142"/>
                  <a:gd name="T17" fmla="*/ 0 h 148"/>
                  <a:gd name="T18" fmla="*/ 115887 w 142"/>
                  <a:gd name="T19" fmla="*/ 0 h 1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2"/>
                  <a:gd name="T31" fmla="*/ 0 h 148"/>
                  <a:gd name="T32" fmla="*/ 142 w 142"/>
                  <a:gd name="T33" fmla="*/ 148 h 1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2" h="148">
                    <a:moveTo>
                      <a:pt x="73" y="0"/>
                    </a:moveTo>
                    <a:lnTo>
                      <a:pt x="10" y="22"/>
                    </a:lnTo>
                    <a:lnTo>
                      <a:pt x="0" y="87"/>
                    </a:lnTo>
                    <a:lnTo>
                      <a:pt x="67" y="91"/>
                    </a:lnTo>
                    <a:lnTo>
                      <a:pt x="111" y="118"/>
                    </a:lnTo>
                    <a:lnTo>
                      <a:pt x="101" y="138"/>
                    </a:lnTo>
                    <a:lnTo>
                      <a:pt x="142" y="148"/>
                    </a:lnTo>
                    <a:lnTo>
                      <a:pt x="85" y="55"/>
                    </a:lnTo>
                    <a:lnTo>
                      <a:pt x="7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1" name="Freeform 4">
                <a:extLst>
                  <a:ext uri="{FF2B5EF4-FFF2-40B4-BE49-F238E27FC236}">
                    <a16:creationId xmlns:a16="http://schemas.microsoft.com/office/drawing/2014/main" id="{54ED8554-5F15-4D4C-A193-5F943D1F1B1C}"/>
                  </a:ext>
                </a:extLst>
              </p:cNvPr>
              <p:cNvSpPr>
                <a:spLocks/>
              </p:cNvSpPr>
              <p:nvPr/>
            </p:nvSpPr>
            <p:spPr bwMode="auto">
              <a:xfrm>
                <a:off x="5555396" y="3763149"/>
                <a:ext cx="30471" cy="26528"/>
              </a:xfrm>
              <a:custGeom>
                <a:avLst/>
                <a:gdLst>
                  <a:gd name="T0" fmla="*/ 22225 w 22"/>
                  <a:gd name="T1" fmla="*/ 22225 h 18"/>
                  <a:gd name="T2" fmla="*/ 34925 w 22"/>
                  <a:gd name="T3" fmla="*/ 9525 h 18"/>
                  <a:gd name="T4" fmla="*/ 9525 w 22"/>
                  <a:gd name="T5" fmla="*/ 0 h 18"/>
                  <a:gd name="T6" fmla="*/ 0 w 22"/>
                  <a:gd name="T7" fmla="*/ 28575 h 18"/>
                  <a:gd name="T8" fmla="*/ 22225 w 22"/>
                  <a:gd name="T9" fmla="*/ 22225 h 18"/>
                  <a:gd name="T10" fmla="*/ 22225 w 22"/>
                  <a:gd name="T11" fmla="*/ 22225 h 18"/>
                  <a:gd name="T12" fmla="*/ 0 60000 65536"/>
                  <a:gd name="T13" fmla="*/ 0 60000 65536"/>
                  <a:gd name="T14" fmla="*/ 0 60000 65536"/>
                  <a:gd name="T15" fmla="*/ 0 60000 65536"/>
                  <a:gd name="T16" fmla="*/ 0 60000 65536"/>
                  <a:gd name="T17" fmla="*/ 0 60000 65536"/>
                  <a:gd name="T18" fmla="*/ 0 w 22"/>
                  <a:gd name="T19" fmla="*/ 0 h 18"/>
                  <a:gd name="T20" fmla="*/ 22 w 2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2" h="18">
                    <a:moveTo>
                      <a:pt x="14" y="14"/>
                    </a:moveTo>
                    <a:lnTo>
                      <a:pt x="22" y="6"/>
                    </a:lnTo>
                    <a:lnTo>
                      <a:pt x="6" y="0"/>
                    </a:lnTo>
                    <a:lnTo>
                      <a:pt x="0" y="18"/>
                    </a:lnTo>
                    <a:lnTo>
                      <a:pt x="14" y="1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2" name="Freeform 11">
                <a:extLst>
                  <a:ext uri="{FF2B5EF4-FFF2-40B4-BE49-F238E27FC236}">
                    <a16:creationId xmlns:a16="http://schemas.microsoft.com/office/drawing/2014/main" id="{89E1022F-38E1-4476-8F96-A4AA919845F4}"/>
                  </a:ext>
                </a:extLst>
              </p:cNvPr>
              <p:cNvSpPr>
                <a:spLocks noEditPoints="1"/>
              </p:cNvSpPr>
              <p:nvPr/>
            </p:nvSpPr>
            <p:spPr bwMode="auto">
              <a:xfrm>
                <a:off x="4601087" y="3802942"/>
                <a:ext cx="408594" cy="352233"/>
              </a:xfrm>
              <a:custGeom>
                <a:avLst/>
                <a:gdLst>
                  <a:gd name="T0" fmla="*/ 290512 w 295"/>
                  <a:gd name="T1" fmla="*/ 66675 h 239"/>
                  <a:gd name="T2" fmla="*/ 274637 w 295"/>
                  <a:gd name="T3" fmla="*/ 106363 h 239"/>
                  <a:gd name="T4" fmla="*/ 209550 w 295"/>
                  <a:gd name="T5" fmla="*/ 92075 h 239"/>
                  <a:gd name="T6" fmla="*/ 174625 w 295"/>
                  <a:gd name="T7" fmla="*/ 141288 h 239"/>
                  <a:gd name="T8" fmla="*/ 142875 w 295"/>
                  <a:gd name="T9" fmla="*/ 141288 h 239"/>
                  <a:gd name="T10" fmla="*/ 139700 w 295"/>
                  <a:gd name="T11" fmla="*/ 85725 h 239"/>
                  <a:gd name="T12" fmla="*/ 123825 w 295"/>
                  <a:gd name="T13" fmla="*/ 79375 h 239"/>
                  <a:gd name="T14" fmla="*/ 112712 w 295"/>
                  <a:gd name="T15" fmla="*/ 119063 h 239"/>
                  <a:gd name="T16" fmla="*/ 112712 w 295"/>
                  <a:gd name="T17" fmla="*/ 185738 h 239"/>
                  <a:gd name="T18" fmla="*/ 77787 w 295"/>
                  <a:gd name="T19" fmla="*/ 204788 h 239"/>
                  <a:gd name="T20" fmla="*/ 33337 w 295"/>
                  <a:gd name="T21" fmla="*/ 179388 h 239"/>
                  <a:gd name="T22" fmla="*/ 17462 w 295"/>
                  <a:gd name="T23" fmla="*/ 179388 h 239"/>
                  <a:gd name="T24" fmla="*/ 0 w 295"/>
                  <a:gd name="T25" fmla="*/ 185738 h 239"/>
                  <a:gd name="T26" fmla="*/ 23812 w 295"/>
                  <a:gd name="T27" fmla="*/ 212725 h 239"/>
                  <a:gd name="T28" fmla="*/ 26987 w 295"/>
                  <a:gd name="T29" fmla="*/ 247650 h 239"/>
                  <a:gd name="T30" fmla="*/ 58737 w 295"/>
                  <a:gd name="T31" fmla="*/ 307975 h 239"/>
                  <a:gd name="T32" fmla="*/ 49212 w 295"/>
                  <a:gd name="T33" fmla="*/ 322263 h 239"/>
                  <a:gd name="T34" fmla="*/ 52387 w 295"/>
                  <a:gd name="T35" fmla="*/ 363538 h 239"/>
                  <a:gd name="T36" fmla="*/ 90487 w 295"/>
                  <a:gd name="T37" fmla="*/ 379413 h 239"/>
                  <a:gd name="T38" fmla="*/ 158750 w 295"/>
                  <a:gd name="T39" fmla="*/ 363538 h 239"/>
                  <a:gd name="T40" fmla="*/ 177800 w 295"/>
                  <a:gd name="T41" fmla="*/ 369888 h 239"/>
                  <a:gd name="T42" fmla="*/ 200025 w 295"/>
                  <a:gd name="T43" fmla="*/ 363538 h 239"/>
                  <a:gd name="T44" fmla="*/ 255587 w 295"/>
                  <a:gd name="T45" fmla="*/ 363538 h 239"/>
                  <a:gd name="T46" fmla="*/ 265112 w 295"/>
                  <a:gd name="T47" fmla="*/ 347663 h 239"/>
                  <a:gd name="T48" fmla="*/ 293687 w 295"/>
                  <a:gd name="T49" fmla="*/ 344488 h 239"/>
                  <a:gd name="T50" fmla="*/ 377825 w 295"/>
                  <a:gd name="T51" fmla="*/ 276225 h 239"/>
                  <a:gd name="T52" fmla="*/ 442912 w 295"/>
                  <a:gd name="T53" fmla="*/ 192088 h 239"/>
                  <a:gd name="T54" fmla="*/ 442912 w 295"/>
                  <a:gd name="T55" fmla="*/ 179388 h 239"/>
                  <a:gd name="T56" fmla="*/ 461962 w 295"/>
                  <a:gd name="T57" fmla="*/ 144463 h 239"/>
                  <a:gd name="T58" fmla="*/ 468312 w 295"/>
                  <a:gd name="T59" fmla="*/ 119063 h 239"/>
                  <a:gd name="T60" fmla="*/ 433387 w 295"/>
                  <a:gd name="T61" fmla="*/ 134938 h 239"/>
                  <a:gd name="T62" fmla="*/ 422275 w 295"/>
                  <a:gd name="T63" fmla="*/ 134938 h 239"/>
                  <a:gd name="T64" fmla="*/ 425450 w 295"/>
                  <a:gd name="T65" fmla="*/ 98425 h 239"/>
                  <a:gd name="T66" fmla="*/ 449262 w 295"/>
                  <a:gd name="T67" fmla="*/ 79375 h 239"/>
                  <a:gd name="T68" fmla="*/ 439737 w 295"/>
                  <a:gd name="T69" fmla="*/ 0 h 239"/>
                  <a:gd name="T70" fmla="*/ 387350 w 295"/>
                  <a:gd name="T71" fmla="*/ 0 h 239"/>
                  <a:gd name="T72" fmla="*/ 290512 w 295"/>
                  <a:gd name="T73" fmla="*/ 66675 h 239"/>
                  <a:gd name="T74" fmla="*/ 290512 w 295"/>
                  <a:gd name="T75" fmla="*/ 66675 h 239"/>
                  <a:gd name="T76" fmla="*/ 303212 w 295"/>
                  <a:gd name="T77" fmla="*/ 228600 h 239"/>
                  <a:gd name="T78" fmla="*/ 352425 w 295"/>
                  <a:gd name="T79" fmla="*/ 198438 h 239"/>
                  <a:gd name="T80" fmla="*/ 371475 w 295"/>
                  <a:gd name="T81" fmla="*/ 219075 h 239"/>
                  <a:gd name="T82" fmla="*/ 352425 w 295"/>
                  <a:gd name="T83" fmla="*/ 241300 h 239"/>
                  <a:gd name="T84" fmla="*/ 330200 w 295"/>
                  <a:gd name="T85" fmla="*/ 247650 h 239"/>
                  <a:gd name="T86" fmla="*/ 303212 w 295"/>
                  <a:gd name="T87" fmla="*/ 228600 h 239"/>
                  <a:gd name="T88" fmla="*/ 303212 w 295"/>
                  <a:gd name="T89" fmla="*/ 228600 h 2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5"/>
                  <a:gd name="T136" fmla="*/ 0 h 239"/>
                  <a:gd name="T137" fmla="*/ 295 w 295"/>
                  <a:gd name="T138" fmla="*/ 239 h 2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5" h="239">
                    <a:moveTo>
                      <a:pt x="183" y="42"/>
                    </a:moveTo>
                    <a:lnTo>
                      <a:pt x="173" y="67"/>
                    </a:lnTo>
                    <a:lnTo>
                      <a:pt x="132" y="58"/>
                    </a:lnTo>
                    <a:lnTo>
                      <a:pt x="110" y="89"/>
                    </a:lnTo>
                    <a:lnTo>
                      <a:pt x="90" y="89"/>
                    </a:lnTo>
                    <a:lnTo>
                      <a:pt x="88" y="54"/>
                    </a:lnTo>
                    <a:lnTo>
                      <a:pt x="78" y="50"/>
                    </a:lnTo>
                    <a:lnTo>
                      <a:pt x="71" y="75"/>
                    </a:lnTo>
                    <a:lnTo>
                      <a:pt x="71" y="117"/>
                    </a:lnTo>
                    <a:lnTo>
                      <a:pt x="49" y="129"/>
                    </a:lnTo>
                    <a:lnTo>
                      <a:pt x="21" y="113"/>
                    </a:lnTo>
                    <a:lnTo>
                      <a:pt x="11" y="113"/>
                    </a:lnTo>
                    <a:lnTo>
                      <a:pt x="0" y="117"/>
                    </a:lnTo>
                    <a:lnTo>
                      <a:pt x="15" y="134"/>
                    </a:lnTo>
                    <a:lnTo>
                      <a:pt x="17" y="156"/>
                    </a:lnTo>
                    <a:lnTo>
                      <a:pt x="37" y="194"/>
                    </a:lnTo>
                    <a:lnTo>
                      <a:pt x="31" y="203"/>
                    </a:lnTo>
                    <a:lnTo>
                      <a:pt x="33" y="229"/>
                    </a:lnTo>
                    <a:lnTo>
                      <a:pt x="57" y="239"/>
                    </a:lnTo>
                    <a:lnTo>
                      <a:pt x="100" y="229"/>
                    </a:lnTo>
                    <a:lnTo>
                      <a:pt x="112" y="233"/>
                    </a:lnTo>
                    <a:lnTo>
                      <a:pt x="126" y="229"/>
                    </a:lnTo>
                    <a:lnTo>
                      <a:pt x="161" y="229"/>
                    </a:lnTo>
                    <a:lnTo>
                      <a:pt x="167" y="219"/>
                    </a:lnTo>
                    <a:lnTo>
                      <a:pt x="185" y="217"/>
                    </a:lnTo>
                    <a:lnTo>
                      <a:pt x="238" y="174"/>
                    </a:lnTo>
                    <a:lnTo>
                      <a:pt x="279" y="121"/>
                    </a:lnTo>
                    <a:lnTo>
                      <a:pt x="279" y="113"/>
                    </a:lnTo>
                    <a:lnTo>
                      <a:pt x="291" y="91"/>
                    </a:lnTo>
                    <a:lnTo>
                      <a:pt x="295" y="75"/>
                    </a:lnTo>
                    <a:lnTo>
                      <a:pt x="273" y="85"/>
                    </a:lnTo>
                    <a:lnTo>
                      <a:pt x="266" y="85"/>
                    </a:lnTo>
                    <a:lnTo>
                      <a:pt x="268" y="62"/>
                    </a:lnTo>
                    <a:lnTo>
                      <a:pt x="283" y="50"/>
                    </a:lnTo>
                    <a:lnTo>
                      <a:pt x="277" y="0"/>
                    </a:lnTo>
                    <a:lnTo>
                      <a:pt x="244" y="0"/>
                    </a:lnTo>
                    <a:lnTo>
                      <a:pt x="183" y="42"/>
                    </a:lnTo>
                    <a:close/>
                    <a:moveTo>
                      <a:pt x="191" y="144"/>
                    </a:moveTo>
                    <a:lnTo>
                      <a:pt x="222" y="125"/>
                    </a:lnTo>
                    <a:lnTo>
                      <a:pt x="234" y="138"/>
                    </a:lnTo>
                    <a:lnTo>
                      <a:pt x="222" y="152"/>
                    </a:lnTo>
                    <a:lnTo>
                      <a:pt x="208" y="156"/>
                    </a:lnTo>
                    <a:lnTo>
                      <a:pt x="191" y="14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3" name="Freeform 12">
                <a:extLst>
                  <a:ext uri="{FF2B5EF4-FFF2-40B4-BE49-F238E27FC236}">
                    <a16:creationId xmlns:a16="http://schemas.microsoft.com/office/drawing/2014/main" id="{1F3EA3F3-C5D1-450A-83C0-BE27939733AC}"/>
                  </a:ext>
                </a:extLst>
              </p:cNvPr>
              <p:cNvSpPr>
                <a:spLocks/>
              </p:cNvSpPr>
              <p:nvPr/>
            </p:nvSpPr>
            <p:spPr bwMode="auto">
              <a:xfrm>
                <a:off x="4865633" y="3987164"/>
                <a:ext cx="59558" cy="45687"/>
              </a:xfrm>
              <a:custGeom>
                <a:avLst/>
                <a:gdLst>
                  <a:gd name="T0" fmla="*/ 49213 w 43"/>
                  <a:gd name="T1" fmla="*/ 0 h 31"/>
                  <a:gd name="T2" fmla="*/ 0 w 43"/>
                  <a:gd name="T3" fmla="*/ 30162 h 31"/>
                  <a:gd name="T4" fmla="*/ 26988 w 43"/>
                  <a:gd name="T5" fmla="*/ 49212 h 31"/>
                  <a:gd name="T6" fmla="*/ 49213 w 43"/>
                  <a:gd name="T7" fmla="*/ 42862 h 31"/>
                  <a:gd name="T8" fmla="*/ 68263 w 43"/>
                  <a:gd name="T9" fmla="*/ 20637 h 31"/>
                  <a:gd name="T10" fmla="*/ 49213 w 43"/>
                  <a:gd name="T11" fmla="*/ 0 h 31"/>
                  <a:gd name="T12" fmla="*/ 49213 w 43"/>
                  <a:gd name="T13" fmla="*/ 0 h 31"/>
                  <a:gd name="T14" fmla="*/ 0 60000 65536"/>
                  <a:gd name="T15" fmla="*/ 0 60000 65536"/>
                  <a:gd name="T16" fmla="*/ 0 60000 65536"/>
                  <a:gd name="T17" fmla="*/ 0 60000 65536"/>
                  <a:gd name="T18" fmla="*/ 0 60000 65536"/>
                  <a:gd name="T19" fmla="*/ 0 60000 65536"/>
                  <a:gd name="T20" fmla="*/ 0 60000 65536"/>
                  <a:gd name="T21" fmla="*/ 0 w 43"/>
                  <a:gd name="T22" fmla="*/ 0 h 31"/>
                  <a:gd name="T23" fmla="*/ 43 w 43"/>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1">
                    <a:moveTo>
                      <a:pt x="31" y="0"/>
                    </a:moveTo>
                    <a:lnTo>
                      <a:pt x="0" y="19"/>
                    </a:lnTo>
                    <a:lnTo>
                      <a:pt x="17" y="31"/>
                    </a:lnTo>
                    <a:lnTo>
                      <a:pt x="31" y="27"/>
                    </a:lnTo>
                    <a:lnTo>
                      <a:pt x="43" y="13"/>
                    </a:lnTo>
                    <a:lnTo>
                      <a:pt x="31"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4" name="Freeform 13">
                <a:extLst>
                  <a:ext uri="{FF2B5EF4-FFF2-40B4-BE49-F238E27FC236}">
                    <a16:creationId xmlns:a16="http://schemas.microsoft.com/office/drawing/2014/main" id="{B8D78FA2-ED46-453D-AD34-EE65859716FA}"/>
                  </a:ext>
                </a:extLst>
              </p:cNvPr>
              <p:cNvSpPr>
                <a:spLocks/>
              </p:cNvSpPr>
              <p:nvPr/>
            </p:nvSpPr>
            <p:spPr bwMode="auto">
              <a:xfrm>
                <a:off x="4502747" y="3655563"/>
                <a:ext cx="343495" cy="337496"/>
              </a:xfrm>
              <a:custGeom>
                <a:avLst/>
                <a:gdLst>
                  <a:gd name="T0" fmla="*/ 393700 w 248"/>
                  <a:gd name="T1" fmla="*/ 28575 h 229"/>
                  <a:gd name="T2" fmla="*/ 387350 w 248"/>
                  <a:gd name="T3" fmla="*/ 9525 h 229"/>
                  <a:gd name="T4" fmla="*/ 328613 w 248"/>
                  <a:gd name="T5" fmla="*/ 15875 h 229"/>
                  <a:gd name="T6" fmla="*/ 280988 w 248"/>
                  <a:gd name="T7" fmla="*/ 34925 h 229"/>
                  <a:gd name="T8" fmla="*/ 203200 w 248"/>
                  <a:gd name="T9" fmla="*/ 25400 h 229"/>
                  <a:gd name="T10" fmla="*/ 203200 w 248"/>
                  <a:gd name="T11" fmla="*/ 15875 h 229"/>
                  <a:gd name="T12" fmla="*/ 130175 w 248"/>
                  <a:gd name="T13" fmla="*/ 19050 h 229"/>
                  <a:gd name="T14" fmla="*/ 68263 w 248"/>
                  <a:gd name="T15" fmla="*/ 0 h 229"/>
                  <a:gd name="T16" fmla="*/ 26988 w 248"/>
                  <a:gd name="T17" fmla="*/ 12700 h 229"/>
                  <a:gd name="T18" fmla="*/ 0 w 248"/>
                  <a:gd name="T19" fmla="*/ 9525 h 229"/>
                  <a:gd name="T20" fmla="*/ 0 w 248"/>
                  <a:gd name="T21" fmla="*/ 25400 h 229"/>
                  <a:gd name="T22" fmla="*/ 12700 w 248"/>
                  <a:gd name="T23" fmla="*/ 34925 h 229"/>
                  <a:gd name="T24" fmla="*/ 65088 w 248"/>
                  <a:gd name="T25" fmla="*/ 147638 h 229"/>
                  <a:gd name="T26" fmla="*/ 80963 w 248"/>
                  <a:gd name="T27" fmla="*/ 147638 h 229"/>
                  <a:gd name="T28" fmla="*/ 80963 w 248"/>
                  <a:gd name="T29" fmla="*/ 165100 h 229"/>
                  <a:gd name="T30" fmla="*/ 74613 w 248"/>
                  <a:gd name="T31" fmla="*/ 196850 h 229"/>
                  <a:gd name="T32" fmla="*/ 112713 w 248"/>
                  <a:gd name="T33" fmla="*/ 344488 h 229"/>
                  <a:gd name="T34" fmla="*/ 130175 w 248"/>
                  <a:gd name="T35" fmla="*/ 338138 h 229"/>
                  <a:gd name="T36" fmla="*/ 146050 w 248"/>
                  <a:gd name="T37" fmla="*/ 338138 h 229"/>
                  <a:gd name="T38" fmla="*/ 190500 w 248"/>
                  <a:gd name="T39" fmla="*/ 363538 h 229"/>
                  <a:gd name="T40" fmla="*/ 225425 w 248"/>
                  <a:gd name="T41" fmla="*/ 344488 h 229"/>
                  <a:gd name="T42" fmla="*/ 225425 w 248"/>
                  <a:gd name="T43" fmla="*/ 277813 h 229"/>
                  <a:gd name="T44" fmla="*/ 236538 w 248"/>
                  <a:gd name="T45" fmla="*/ 238125 h 229"/>
                  <a:gd name="T46" fmla="*/ 230188 w 248"/>
                  <a:gd name="T47" fmla="*/ 193675 h 229"/>
                  <a:gd name="T48" fmla="*/ 258763 w 248"/>
                  <a:gd name="T49" fmla="*/ 158750 h 229"/>
                  <a:gd name="T50" fmla="*/ 271463 w 248"/>
                  <a:gd name="T51" fmla="*/ 71438 h 229"/>
                  <a:gd name="T52" fmla="*/ 261938 w 248"/>
                  <a:gd name="T53" fmla="*/ 49213 h 229"/>
                  <a:gd name="T54" fmla="*/ 296863 w 248"/>
                  <a:gd name="T55" fmla="*/ 52388 h 229"/>
                  <a:gd name="T56" fmla="*/ 342900 w 248"/>
                  <a:gd name="T57" fmla="*/ 34925 h 229"/>
                  <a:gd name="T58" fmla="*/ 358775 w 248"/>
                  <a:gd name="T59" fmla="*/ 44450 h 229"/>
                  <a:gd name="T60" fmla="*/ 393700 w 248"/>
                  <a:gd name="T61" fmla="*/ 28575 h 229"/>
                  <a:gd name="T62" fmla="*/ 393700 w 248"/>
                  <a:gd name="T63" fmla="*/ 28575 h 2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8"/>
                  <a:gd name="T97" fmla="*/ 0 h 229"/>
                  <a:gd name="T98" fmla="*/ 248 w 248"/>
                  <a:gd name="T99" fmla="*/ 229 h 2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8" h="229">
                    <a:moveTo>
                      <a:pt x="248" y="18"/>
                    </a:moveTo>
                    <a:lnTo>
                      <a:pt x="244" y="6"/>
                    </a:lnTo>
                    <a:lnTo>
                      <a:pt x="207" y="10"/>
                    </a:lnTo>
                    <a:lnTo>
                      <a:pt x="177" y="22"/>
                    </a:lnTo>
                    <a:lnTo>
                      <a:pt x="128" y="16"/>
                    </a:lnTo>
                    <a:lnTo>
                      <a:pt x="128" y="10"/>
                    </a:lnTo>
                    <a:lnTo>
                      <a:pt x="82" y="12"/>
                    </a:lnTo>
                    <a:lnTo>
                      <a:pt x="43" y="0"/>
                    </a:lnTo>
                    <a:lnTo>
                      <a:pt x="17" y="8"/>
                    </a:lnTo>
                    <a:lnTo>
                      <a:pt x="0" y="6"/>
                    </a:lnTo>
                    <a:lnTo>
                      <a:pt x="0" y="16"/>
                    </a:lnTo>
                    <a:lnTo>
                      <a:pt x="8" y="22"/>
                    </a:lnTo>
                    <a:lnTo>
                      <a:pt x="41" y="93"/>
                    </a:lnTo>
                    <a:lnTo>
                      <a:pt x="51" y="93"/>
                    </a:lnTo>
                    <a:lnTo>
                      <a:pt x="51" y="104"/>
                    </a:lnTo>
                    <a:lnTo>
                      <a:pt x="47" y="124"/>
                    </a:lnTo>
                    <a:lnTo>
                      <a:pt x="71" y="217"/>
                    </a:lnTo>
                    <a:lnTo>
                      <a:pt x="82" y="213"/>
                    </a:lnTo>
                    <a:lnTo>
                      <a:pt x="92" y="213"/>
                    </a:lnTo>
                    <a:lnTo>
                      <a:pt x="120" y="229"/>
                    </a:lnTo>
                    <a:lnTo>
                      <a:pt x="142" y="217"/>
                    </a:lnTo>
                    <a:lnTo>
                      <a:pt x="142" y="175"/>
                    </a:lnTo>
                    <a:lnTo>
                      <a:pt x="149" y="150"/>
                    </a:lnTo>
                    <a:lnTo>
                      <a:pt x="145" y="122"/>
                    </a:lnTo>
                    <a:lnTo>
                      <a:pt x="163" y="100"/>
                    </a:lnTo>
                    <a:lnTo>
                      <a:pt x="171" y="45"/>
                    </a:lnTo>
                    <a:lnTo>
                      <a:pt x="165" y="31"/>
                    </a:lnTo>
                    <a:lnTo>
                      <a:pt x="187" y="33"/>
                    </a:lnTo>
                    <a:lnTo>
                      <a:pt x="216" y="22"/>
                    </a:lnTo>
                    <a:lnTo>
                      <a:pt x="226" y="28"/>
                    </a:lnTo>
                    <a:lnTo>
                      <a:pt x="248" y="1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5" name="Freeform 14">
                <a:extLst>
                  <a:ext uri="{FF2B5EF4-FFF2-40B4-BE49-F238E27FC236}">
                    <a16:creationId xmlns:a16="http://schemas.microsoft.com/office/drawing/2014/main" id="{8198ECC1-8066-4BDA-B9D7-B2A39BA0108A}"/>
                  </a:ext>
                </a:extLst>
              </p:cNvPr>
              <p:cNvSpPr>
                <a:spLocks/>
              </p:cNvSpPr>
              <p:nvPr/>
            </p:nvSpPr>
            <p:spPr bwMode="auto">
              <a:xfrm>
                <a:off x="4703582" y="3682091"/>
                <a:ext cx="235460" cy="252017"/>
              </a:xfrm>
              <a:custGeom>
                <a:avLst/>
                <a:gdLst>
                  <a:gd name="T0" fmla="*/ 173037 w 170"/>
                  <a:gd name="T1" fmla="*/ 23813 h 171"/>
                  <a:gd name="T2" fmla="*/ 163512 w 170"/>
                  <a:gd name="T3" fmla="*/ 0 h 171"/>
                  <a:gd name="T4" fmla="*/ 128588 w 170"/>
                  <a:gd name="T5" fmla="*/ 15875 h 171"/>
                  <a:gd name="T6" fmla="*/ 112713 w 170"/>
                  <a:gd name="T7" fmla="*/ 6350 h 171"/>
                  <a:gd name="T8" fmla="*/ 66675 w 170"/>
                  <a:gd name="T9" fmla="*/ 23813 h 171"/>
                  <a:gd name="T10" fmla="*/ 31750 w 170"/>
                  <a:gd name="T11" fmla="*/ 20638 h 171"/>
                  <a:gd name="T12" fmla="*/ 41275 w 170"/>
                  <a:gd name="T13" fmla="*/ 42863 h 171"/>
                  <a:gd name="T14" fmla="*/ 28575 w 170"/>
                  <a:gd name="T15" fmla="*/ 130175 h 171"/>
                  <a:gd name="T16" fmla="*/ 0 w 170"/>
                  <a:gd name="T17" fmla="*/ 165100 h 171"/>
                  <a:gd name="T18" fmla="*/ 6350 w 170"/>
                  <a:gd name="T19" fmla="*/ 209550 h 171"/>
                  <a:gd name="T20" fmla="*/ 22225 w 170"/>
                  <a:gd name="T21" fmla="*/ 215900 h 171"/>
                  <a:gd name="T22" fmla="*/ 25400 w 170"/>
                  <a:gd name="T23" fmla="*/ 271463 h 171"/>
                  <a:gd name="T24" fmla="*/ 57150 w 170"/>
                  <a:gd name="T25" fmla="*/ 271463 h 171"/>
                  <a:gd name="T26" fmla="*/ 92075 w 170"/>
                  <a:gd name="T27" fmla="*/ 222250 h 171"/>
                  <a:gd name="T28" fmla="*/ 157162 w 170"/>
                  <a:gd name="T29" fmla="*/ 236538 h 171"/>
                  <a:gd name="T30" fmla="*/ 173037 w 170"/>
                  <a:gd name="T31" fmla="*/ 196850 h 171"/>
                  <a:gd name="T32" fmla="*/ 269875 w 170"/>
                  <a:gd name="T33" fmla="*/ 130175 h 171"/>
                  <a:gd name="T34" fmla="*/ 254000 w 170"/>
                  <a:gd name="T35" fmla="*/ 122238 h 171"/>
                  <a:gd name="T36" fmla="*/ 209550 w 170"/>
                  <a:gd name="T37" fmla="*/ 61913 h 171"/>
                  <a:gd name="T38" fmla="*/ 173037 w 170"/>
                  <a:gd name="T39" fmla="*/ 23813 h 171"/>
                  <a:gd name="T40" fmla="*/ 173037 w 170"/>
                  <a:gd name="T41" fmla="*/ 23813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0"/>
                  <a:gd name="T64" fmla="*/ 0 h 171"/>
                  <a:gd name="T65" fmla="*/ 170 w 170"/>
                  <a:gd name="T66" fmla="*/ 171 h 1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0" h="171">
                    <a:moveTo>
                      <a:pt x="109" y="15"/>
                    </a:moveTo>
                    <a:lnTo>
                      <a:pt x="103" y="0"/>
                    </a:lnTo>
                    <a:lnTo>
                      <a:pt x="81" y="10"/>
                    </a:lnTo>
                    <a:lnTo>
                      <a:pt x="71" y="4"/>
                    </a:lnTo>
                    <a:lnTo>
                      <a:pt x="42" y="15"/>
                    </a:lnTo>
                    <a:lnTo>
                      <a:pt x="20" y="13"/>
                    </a:lnTo>
                    <a:lnTo>
                      <a:pt x="26" y="27"/>
                    </a:lnTo>
                    <a:lnTo>
                      <a:pt x="18" y="82"/>
                    </a:lnTo>
                    <a:lnTo>
                      <a:pt x="0" y="104"/>
                    </a:lnTo>
                    <a:lnTo>
                      <a:pt x="4" y="132"/>
                    </a:lnTo>
                    <a:lnTo>
                      <a:pt x="14" y="136"/>
                    </a:lnTo>
                    <a:lnTo>
                      <a:pt x="16" y="171"/>
                    </a:lnTo>
                    <a:lnTo>
                      <a:pt x="36" y="171"/>
                    </a:lnTo>
                    <a:lnTo>
                      <a:pt x="58" y="140"/>
                    </a:lnTo>
                    <a:lnTo>
                      <a:pt x="99" y="149"/>
                    </a:lnTo>
                    <a:lnTo>
                      <a:pt x="109" y="124"/>
                    </a:lnTo>
                    <a:lnTo>
                      <a:pt x="170" y="82"/>
                    </a:lnTo>
                    <a:lnTo>
                      <a:pt x="160" y="77"/>
                    </a:lnTo>
                    <a:lnTo>
                      <a:pt x="132" y="39"/>
                    </a:lnTo>
                    <a:lnTo>
                      <a:pt x="109" y="1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6" name="Freeform 15">
                <a:extLst>
                  <a:ext uri="{FF2B5EF4-FFF2-40B4-BE49-F238E27FC236}">
                    <a16:creationId xmlns:a16="http://schemas.microsoft.com/office/drawing/2014/main" id="{FB754E63-67B2-4C6D-A84C-56162C640E7A}"/>
                  </a:ext>
                </a:extLst>
              </p:cNvPr>
              <p:cNvSpPr>
                <a:spLocks/>
              </p:cNvSpPr>
              <p:nvPr/>
            </p:nvSpPr>
            <p:spPr bwMode="auto">
              <a:xfrm>
                <a:off x="4969513" y="3876630"/>
                <a:ext cx="23545" cy="51582"/>
              </a:xfrm>
              <a:custGeom>
                <a:avLst/>
                <a:gdLst>
                  <a:gd name="T0" fmla="*/ 26987 w 17"/>
                  <a:gd name="T1" fmla="*/ 0 h 35"/>
                  <a:gd name="T2" fmla="*/ 3175 w 17"/>
                  <a:gd name="T3" fmla="*/ 19050 h 35"/>
                  <a:gd name="T4" fmla="*/ 0 w 17"/>
                  <a:gd name="T5" fmla="*/ 55563 h 35"/>
                  <a:gd name="T6" fmla="*/ 11112 w 17"/>
                  <a:gd name="T7" fmla="*/ 55563 h 35"/>
                  <a:gd name="T8" fmla="*/ 26987 w 17"/>
                  <a:gd name="T9" fmla="*/ 46038 h 35"/>
                  <a:gd name="T10" fmla="*/ 26987 w 17"/>
                  <a:gd name="T11" fmla="*/ 0 h 35"/>
                  <a:gd name="T12" fmla="*/ 26987 w 17"/>
                  <a:gd name="T13" fmla="*/ 0 h 35"/>
                  <a:gd name="T14" fmla="*/ 0 60000 65536"/>
                  <a:gd name="T15" fmla="*/ 0 60000 65536"/>
                  <a:gd name="T16" fmla="*/ 0 60000 65536"/>
                  <a:gd name="T17" fmla="*/ 0 60000 65536"/>
                  <a:gd name="T18" fmla="*/ 0 60000 65536"/>
                  <a:gd name="T19" fmla="*/ 0 60000 65536"/>
                  <a:gd name="T20" fmla="*/ 0 60000 65536"/>
                  <a:gd name="T21" fmla="*/ 0 w 17"/>
                  <a:gd name="T22" fmla="*/ 0 h 35"/>
                  <a:gd name="T23" fmla="*/ 17 w 17"/>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35">
                    <a:moveTo>
                      <a:pt x="17" y="0"/>
                    </a:moveTo>
                    <a:lnTo>
                      <a:pt x="2" y="12"/>
                    </a:lnTo>
                    <a:lnTo>
                      <a:pt x="0" y="35"/>
                    </a:lnTo>
                    <a:lnTo>
                      <a:pt x="7" y="35"/>
                    </a:lnTo>
                    <a:lnTo>
                      <a:pt x="17" y="29"/>
                    </a:lnTo>
                    <a:lnTo>
                      <a:pt x="1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7" name="Freeform 16">
                <a:extLst>
                  <a:ext uri="{FF2B5EF4-FFF2-40B4-BE49-F238E27FC236}">
                    <a16:creationId xmlns:a16="http://schemas.microsoft.com/office/drawing/2014/main" id="{07CA53B9-77E1-4FCB-8CF0-6774BED09BF1}"/>
                  </a:ext>
                </a:extLst>
              </p:cNvPr>
              <p:cNvSpPr>
                <a:spLocks/>
              </p:cNvSpPr>
              <p:nvPr/>
            </p:nvSpPr>
            <p:spPr bwMode="auto">
              <a:xfrm>
                <a:off x="4963973" y="3469867"/>
                <a:ext cx="253466" cy="449504"/>
              </a:xfrm>
              <a:custGeom>
                <a:avLst/>
                <a:gdLst>
                  <a:gd name="T0" fmla="*/ 84137 w 183"/>
                  <a:gd name="T1" fmla="*/ 112713 h 305"/>
                  <a:gd name="T2" fmla="*/ 0 w 183"/>
                  <a:gd name="T3" fmla="*/ 125413 h 305"/>
                  <a:gd name="T4" fmla="*/ 3175 w 183"/>
                  <a:gd name="T5" fmla="*/ 155575 h 305"/>
                  <a:gd name="T6" fmla="*/ 77787 w 183"/>
                  <a:gd name="T7" fmla="*/ 187325 h 305"/>
                  <a:gd name="T8" fmla="*/ 84137 w 183"/>
                  <a:gd name="T9" fmla="*/ 265113 h 305"/>
                  <a:gd name="T10" fmla="*/ 58737 w 183"/>
                  <a:gd name="T11" fmla="*/ 312738 h 305"/>
                  <a:gd name="T12" fmla="*/ 52387 w 183"/>
                  <a:gd name="T13" fmla="*/ 338138 h 305"/>
                  <a:gd name="T14" fmla="*/ 23812 w 183"/>
                  <a:gd name="T15" fmla="*/ 358775 h 305"/>
                  <a:gd name="T16" fmla="*/ 33337 w 183"/>
                  <a:gd name="T17" fmla="*/ 438150 h 305"/>
                  <a:gd name="T18" fmla="*/ 33337 w 183"/>
                  <a:gd name="T19" fmla="*/ 484188 h 305"/>
                  <a:gd name="T20" fmla="*/ 52387 w 183"/>
                  <a:gd name="T21" fmla="*/ 477838 h 305"/>
                  <a:gd name="T22" fmla="*/ 130175 w 183"/>
                  <a:gd name="T23" fmla="*/ 403225 h 305"/>
                  <a:gd name="T24" fmla="*/ 130175 w 183"/>
                  <a:gd name="T25" fmla="*/ 331788 h 305"/>
                  <a:gd name="T26" fmla="*/ 109537 w 183"/>
                  <a:gd name="T27" fmla="*/ 303213 h 305"/>
                  <a:gd name="T28" fmla="*/ 123825 w 183"/>
                  <a:gd name="T29" fmla="*/ 280988 h 305"/>
                  <a:gd name="T30" fmla="*/ 165100 w 183"/>
                  <a:gd name="T31" fmla="*/ 244475 h 305"/>
                  <a:gd name="T32" fmla="*/ 180975 w 183"/>
                  <a:gd name="T33" fmla="*/ 215900 h 305"/>
                  <a:gd name="T34" fmla="*/ 236537 w 183"/>
                  <a:gd name="T35" fmla="*/ 200025 h 305"/>
                  <a:gd name="T36" fmla="*/ 271462 w 183"/>
                  <a:gd name="T37" fmla="*/ 165100 h 305"/>
                  <a:gd name="T38" fmla="*/ 290512 w 183"/>
                  <a:gd name="T39" fmla="*/ 103188 h 305"/>
                  <a:gd name="T40" fmla="*/ 290512 w 183"/>
                  <a:gd name="T41" fmla="*/ 0 h 305"/>
                  <a:gd name="T42" fmla="*/ 209550 w 183"/>
                  <a:gd name="T43" fmla="*/ 36513 h 305"/>
                  <a:gd name="T44" fmla="*/ 136525 w 183"/>
                  <a:gd name="T45" fmla="*/ 28575 h 305"/>
                  <a:gd name="T46" fmla="*/ 123825 w 183"/>
                  <a:gd name="T47" fmla="*/ 65088 h 305"/>
                  <a:gd name="T48" fmla="*/ 152400 w 183"/>
                  <a:gd name="T49" fmla="*/ 106363 h 305"/>
                  <a:gd name="T50" fmla="*/ 165100 w 183"/>
                  <a:gd name="T51" fmla="*/ 152400 h 305"/>
                  <a:gd name="T52" fmla="*/ 158750 w 183"/>
                  <a:gd name="T53" fmla="*/ 174625 h 305"/>
                  <a:gd name="T54" fmla="*/ 142875 w 183"/>
                  <a:gd name="T55" fmla="*/ 177800 h 305"/>
                  <a:gd name="T56" fmla="*/ 142875 w 183"/>
                  <a:gd name="T57" fmla="*/ 200025 h 305"/>
                  <a:gd name="T58" fmla="*/ 112712 w 183"/>
                  <a:gd name="T59" fmla="*/ 180975 h 305"/>
                  <a:gd name="T60" fmla="*/ 112712 w 183"/>
                  <a:gd name="T61" fmla="*/ 168275 h 305"/>
                  <a:gd name="T62" fmla="*/ 127000 w 183"/>
                  <a:gd name="T63" fmla="*/ 138113 h 305"/>
                  <a:gd name="T64" fmla="*/ 84137 w 183"/>
                  <a:gd name="T65" fmla="*/ 112713 h 305"/>
                  <a:gd name="T66" fmla="*/ 84137 w 183"/>
                  <a:gd name="T67" fmla="*/ 112713 h 3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305"/>
                  <a:gd name="T104" fmla="*/ 183 w 183"/>
                  <a:gd name="T105" fmla="*/ 305 h 3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305">
                    <a:moveTo>
                      <a:pt x="53" y="71"/>
                    </a:moveTo>
                    <a:lnTo>
                      <a:pt x="0" y="79"/>
                    </a:lnTo>
                    <a:lnTo>
                      <a:pt x="2" y="98"/>
                    </a:lnTo>
                    <a:lnTo>
                      <a:pt x="49" y="118"/>
                    </a:lnTo>
                    <a:lnTo>
                      <a:pt x="53" y="167"/>
                    </a:lnTo>
                    <a:lnTo>
                      <a:pt x="37" y="197"/>
                    </a:lnTo>
                    <a:lnTo>
                      <a:pt x="33" y="213"/>
                    </a:lnTo>
                    <a:lnTo>
                      <a:pt x="15" y="226"/>
                    </a:lnTo>
                    <a:lnTo>
                      <a:pt x="21" y="276"/>
                    </a:lnTo>
                    <a:lnTo>
                      <a:pt x="21" y="305"/>
                    </a:lnTo>
                    <a:lnTo>
                      <a:pt x="33" y="301"/>
                    </a:lnTo>
                    <a:lnTo>
                      <a:pt x="82" y="254"/>
                    </a:lnTo>
                    <a:lnTo>
                      <a:pt x="82" y="209"/>
                    </a:lnTo>
                    <a:lnTo>
                      <a:pt x="69" y="191"/>
                    </a:lnTo>
                    <a:lnTo>
                      <a:pt x="78" y="177"/>
                    </a:lnTo>
                    <a:lnTo>
                      <a:pt x="104" y="154"/>
                    </a:lnTo>
                    <a:lnTo>
                      <a:pt x="114" y="136"/>
                    </a:lnTo>
                    <a:lnTo>
                      <a:pt x="149" y="126"/>
                    </a:lnTo>
                    <a:lnTo>
                      <a:pt x="171" y="104"/>
                    </a:lnTo>
                    <a:lnTo>
                      <a:pt x="183" y="65"/>
                    </a:lnTo>
                    <a:lnTo>
                      <a:pt x="183" y="0"/>
                    </a:lnTo>
                    <a:lnTo>
                      <a:pt x="132" y="23"/>
                    </a:lnTo>
                    <a:lnTo>
                      <a:pt x="86" y="18"/>
                    </a:lnTo>
                    <a:lnTo>
                      <a:pt x="78" y="41"/>
                    </a:lnTo>
                    <a:lnTo>
                      <a:pt x="96" y="67"/>
                    </a:lnTo>
                    <a:lnTo>
                      <a:pt x="104" y="96"/>
                    </a:lnTo>
                    <a:lnTo>
                      <a:pt x="100" y="110"/>
                    </a:lnTo>
                    <a:lnTo>
                      <a:pt x="90" y="112"/>
                    </a:lnTo>
                    <a:lnTo>
                      <a:pt x="90" y="126"/>
                    </a:lnTo>
                    <a:lnTo>
                      <a:pt x="71" y="114"/>
                    </a:lnTo>
                    <a:lnTo>
                      <a:pt x="71" y="106"/>
                    </a:lnTo>
                    <a:lnTo>
                      <a:pt x="80" y="87"/>
                    </a:lnTo>
                    <a:lnTo>
                      <a:pt x="53" y="7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8" name="Freeform 17">
                <a:extLst>
                  <a:ext uri="{FF2B5EF4-FFF2-40B4-BE49-F238E27FC236}">
                    <a16:creationId xmlns:a16="http://schemas.microsoft.com/office/drawing/2014/main" id="{F8805F8F-D32B-41CF-B9E1-4F7AD8F1E204}"/>
                  </a:ext>
                </a:extLst>
              </p:cNvPr>
              <p:cNvSpPr>
                <a:spLocks/>
              </p:cNvSpPr>
              <p:nvPr/>
            </p:nvSpPr>
            <p:spPr bwMode="auto">
              <a:xfrm>
                <a:off x="5265918" y="3506712"/>
                <a:ext cx="191139" cy="387603"/>
              </a:xfrm>
              <a:custGeom>
                <a:avLst/>
                <a:gdLst>
                  <a:gd name="T0" fmla="*/ 182562 w 138"/>
                  <a:gd name="T1" fmla="*/ 0 h 263"/>
                  <a:gd name="T2" fmla="*/ 147637 w 138"/>
                  <a:gd name="T3" fmla="*/ 88900 h 263"/>
                  <a:gd name="T4" fmla="*/ 112712 w 138"/>
                  <a:gd name="T5" fmla="*/ 88900 h 263"/>
                  <a:gd name="T6" fmla="*/ 112712 w 138"/>
                  <a:gd name="T7" fmla="*/ 106362 h 263"/>
                  <a:gd name="T8" fmla="*/ 44450 w 138"/>
                  <a:gd name="T9" fmla="*/ 134937 h 263"/>
                  <a:gd name="T10" fmla="*/ 25400 w 138"/>
                  <a:gd name="T11" fmla="*/ 182562 h 263"/>
                  <a:gd name="T12" fmla="*/ 41275 w 138"/>
                  <a:gd name="T13" fmla="*/ 231775 h 263"/>
                  <a:gd name="T14" fmla="*/ 0 w 138"/>
                  <a:gd name="T15" fmla="*/ 298450 h 263"/>
                  <a:gd name="T16" fmla="*/ 0 w 138"/>
                  <a:gd name="T17" fmla="*/ 319087 h 263"/>
                  <a:gd name="T18" fmla="*/ 0 w 138"/>
                  <a:gd name="T19" fmla="*/ 322262 h 263"/>
                  <a:gd name="T20" fmla="*/ 0 w 138"/>
                  <a:gd name="T21" fmla="*/ 325437 h 263"/>
                  <a:gd name="T22" fmla="*/ 0 w 138"/>
                  <a:gd name="T23" fmla="*/ 325437 h 263"/>
                  <a:gd name="T24" fmla="*/ 3175 w 138"/>
                  <a:gd name="T25" fmla="*/ 334962 h 263"/>
                  <a:gd name="T26" fmla="*/ 3175 w 138"/>
                  <a:gd name="T27" fmla="*/ 350837 h 263"/>
                  <a:gd name="T28" fmla="*/ 3175 w 138"/>
                  <a:gd name="T29" fmla="*/ 363537 h 263"/>
                  <a:gd name="T30" fmla="*/ 3175 w 138"/>
                  <a:gd name="T31" fmla="*/ 373062 h 263"/>
                  <a:gd name="T32" fmla="*/ 6350 w 138"/>
                  <a:gd name="T33" fmla="*/ 382587 h 263"/>
                  <a:gd name="T34" fmla="*/ 6350 w 138"/>
                  <a:gd name="T35" fmla="*/ 385762 h 263"/>
                  <a:gd name="T36" fmla="*/ 6350 w 138"/>
                  <a:gd name="T37" fmla="*/ 388937 h 263"/>
                  <a:gd name="T38" fmla="*/ 6350 w 138"/>
                  <a:gd name="T39" fmla="*/ 388937 h 263"/>
                  <a:gd name="T40" fmla="*/ 6350 w 138"/>
                  <a:gd name="T41" fmla="*/ 392112 h 263"/>
                  <a:gd name="T42" fmla="*/ 9525 w 138"/>
                  <a:gd name="T43" fmla="*/ 395287 h 263"/>
                  <a:gd name="T44" fmla="*/ 9525 w 138"/>
                  <a:gd name="T45" fmla="*/ 398462 h 263"/>
                  <a:gd name="T46" fmla="*/ 15875 w 138"/>
                  <a:gd name="T47" fmla="*/ 401637 h 263"/>
                  <a:gd name="T48" fmla="*/ 19050 w 138"/>
                  <a:gd name="T49" fmla="*/ 404812 h 263"/>
                  <a:gd name="T50" fmla="*/ 25400 w 138"/>
                  <a:gd name="T51" fmla="*/ 407987 h 263"/>
                  <a:gd name="T52" fmla="*/ 44450 w 138"/>
                  <a:gd name="T53" fmla="*/ 417512 h 263"/>
                  <a:gd name="T54" fmla="*/ 93662 w 138"/>
                  <a:gd name="T55" fmla="*/ 398462 h 263"/>
                  <a:gd name="T56" fmla="*/ 112712 w 138"/>
                  <a:gd name="T57" fmla="*/ 331787 h 263"/>
                  <a:gd name="T58" fmla="*/ 153987 w 138"/>
                  <a:gd name="T59" fmla="*/ 266700 h 263"/>
                  <a:gd name="T60" fmla="*/ 153987 w 138"/>
                  <a:gd name="T61" fmla="*/ 247650 h 263"/>
                  <a:gd name="T62" fmla="*/ 219075 w 138"/>
                  <a:gd name="T63" fmla="*/ 92075 h 263"/>
                  <a:gd name="T64" fmla="*/ 209550 w 138"/>
                  <a:gd name="T65" fmla="*/ 63500 h 263"/>
                  <a:gd name="T66" fmla="*/ 219075 w 138"/>
                  <a:gd name="T67" fmla="*/ 41275 h 263"/>
                  <a:gd name="T68" fmla="*/ 182562 w 138"/>
                  <a:gd name="T69" fmla="*/ 0 h 263"/>
                  <a:gd name="T70" fmla="*/ 182562 w 138"/>
                  <a:gd name="T71" fmla="*/ 0 h 2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8"/>
                  <a:gd name="T109" fmla="*/ 0 h 263"/>
                  <a:gd name="T110" fmla="*/ 138 w 138"/>
                  <a:gd name="T111" fmla="*/ 263 h 26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8" h="263">
                    <a:moveTo>
                      <a:pt x="115" y="0"/>
                    </a:moveTo>
                    <a:lnTo>
                      <a:pt x="93" y="56"/>
                    </a:lnTo>
                    <a:lnTo>
                      <a:pt x="71" y="56"/>
                    </a:lnTo>
                    <a:lnTo>
                      <a:pt x="71" y="67"/>
                    </a:lnTo>
                    <a:lnTo>
                      <a:pt x="28" y="85"/>
                    </a:lnTo>
                    <a:lnTo>
                      <a:pt x="16" y="115"/>
                    </a:lnTo>
                    <a:lnTo>
                      <a:pt x="26" y="146"/>
                    </a:lnTo>
                    <a:lnTo>
                      <a:pt x="0" y="188"/>
                    </a:lnTo>
                    <a:lnTo>
                      <a:pt x="0" y="201"/>
                    </a:lnTo>
                    <a:lnTo>
                      <a:pt x="0" y="203"/>
                    </a:lnTo>
                    <a:lnTo>
                      <a:pt x="0" y="205"/>
                    </a:lnTo>
                    <a:lnTo>
                      <a:pt x="2" y="211"/>
                    </a:lnTo>
                    <a:lnTo>
                      <a:pt x="2" y="221"/>
                    </a:lnTo>
                    <a:lnTo>
                      <a:pt x="2" y="229"/>
                    </a:lnTo>
                    <a:lnTo>
                      <a:pt x="2" y="235"/>
                    </a:lnTo>
                    <a:lnTo>
                      <a:pt x="4" y="241"/>
                    </a:lnTo>
                    <a:lnTo>
                      <a:pt x="4" y="243"/>
                    </a:lnTo>
                    <a:lnTo>
                      <a:pt x="4" y="245"/>
                    </a:lnTo>
                    <a:lnTo>
                      <a:pt x="4" y="247"/>
                    </a:lnTo>
                    <a:lnTo>
                      <a:pt x="6" y="249"/>
                    </a:lnTo>
                    <a:lnTo>
                      <a:pt x="6" y="251"/>
                    </a:lnTo>
                    <a:lnTo>
                      <a:pt x="10" y="253"/>
                    </a:lnTo>
                    <a:lnTo>
                      <a:pt x="12" y="255"/>
                    </a:lnTo>
                    <a:lnTo>
                      <a:pt x="16" y="257"/>
                    </a:lnTo>
                    <a:lnTo>
                      <a:pt x="28" y="263"/>
                    </a:lnTo>
                    <a:lnTo>
                      <a:pt x="59" y="251"/>
                    </a:lnTo>
                    <a:lnTo>
                      <a:pt x="71" y="209"/>
                    </a:lnTo>
                    <a:lnTo>
                      <a:pt x="97" y="168"/>
                    </a:lnTo>
                    <a:lnTo>
                      <a:pt x="97" y="156"/>
                    </a:lnTo>
                    <a:lnTo>
                      <a:pt x="138" y="58"/>
                    </a:lnTo>
                    <a:lnTo>
                      <a:pt x="132" y="40"/>
                    </a:lnTo>
                    <a:lnTo>
                      <a:pt x="138" y="26"/>
                    </a:lnTo>
                    <a:lnTo>
                      <a:pt x="115"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9" name="Freeform 18">
                <a:extLst>
                  <a:ext uri="{FF2B5EF4-FFF2-40B4-BE49-F238E27FC236}">
                    <a16:creationId xmlns:a16="http://schemas.microsoft.com/office/drawing/2014/main" id="{C65732D5-B150-4B4D-A4A8-792DBD5102F5}"/>
                  </a:ext>
                </a:extLst>
              </p:cNvPr>
              <p:cNvSpPr>
                <a:spLocks/>
              </p:cNvSpPr>
              <p:nvPr/>
            </p:nvSpPr>
            <p:spPr bwMode="auto">
              <a:xfrm>
                <a:off x="5037381" y="3446286"/>
                <a:ext cx="70638" cy="209277"/>
              </a:xfrm>
              <a:custGeom>
                <a:avLst/>
                <a:gdLst>
                  <a:gd name="T0" fmla="*/ 42863 w 51"/>
                  <a:gd name="T1" fmla="*/ 0 h 142"/>
                  <a:gd name="T2" fmla="*/ 19050 w 51"/>
                  <a:gd name="T3" fmla="*/ 9525 h 142"/>
                  <a:gd name="T4" fmla="*/ 19050 w 51"/>
                  <a:gd name="T5" fmla="*/ 31750 h 142"/>
                  <a:gd name="T6" fmla="*/ 0 w 51"/>
                  <a:gd name="T7" fmla="*/ 61912 h 142"/>
                  <a:gd name="T8" fmla="*/ 0 w 51"/>
                  <a:gd name="T9" fmla="*/ 138112 h 142"/>
                  <a:gd name="T10" fmla="*/ 42863 w 51"/>
                  <a:gd name="T11" fmla="*/ 163512 h 142"/>
                  <a:gd name="T12" fmla="*/ 28575 w 51"/>
                  <a:gd name="T13" fmla="*/ 193675 h 142"/>
                  <a:gd name="T14" fmla="*/ 28575 w 51"/>
                  <a:gd name="T15" fmla="*/ 206375 h 142"/>
                  <a:gd name="T16" fmla="*/ 58738 w 51"/>
                  <a:gd name="T17" fmla="*/ 225425 h 142"/>
                  <a:gd name="T18" fmla="*/ 58738 w 51"/>
                  <a:gd name="T19" fmla="*/ 203200 h 142"/>
                  <a:gd name="T20" fmla="*/ 74613 w 51"/>
                  <a:gd name="T21" fmla="*/ 200025 h 142"/>
                  <a:gd name="T22" fmla="*/ 80963 w 51"/>
                  <a:gd name="T23" fmla="*/ 177800 h 142"/>
                  <a:gd name="T24" fmla="*/ 68263 w 51"/>
                  <a:gd name="T25" fmla="*/ 131762 h 142"/>
                  <a:gd name="T26" fmla="*/ 39688 w 51"/>
                  <a:gd name="T27" fmla="*/ 90487 h 142"/>
                  <a:gd name="T28" fmla="*/ 52388 w 51"/>
                  <a:gd name="T29" fmla="*/ 53975 h 142"/>
                  <a:gd name="T30" fmla="*/ 42863 w 51"/>
                  <a:gd name="T31" fmla="*/ 0 h 142"/>
                  <a:gd name="T32" fmla="*/ 42863 w 51"/>
                  <a:gd name="T33" fmla="*/ 0 h 1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142"/>
                  <a:gd name="T53" fmla="*/ 51 w 51"/>
                  <a:gd name="T54" fmla="*/ 142 h 1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142">
                    <a:moveTo>
                      <a:pt x="27" y="0"/>
                    </a:moveTo>
                    <a:lnTo>
                      <a:pt x="12" y="6"/>
                    </a:lnTo>
                    <a:lnTo>
                      <a:pt x="12" y="20"/>
                    </a:lnTo>
                    <a:lnTo>
                      <a:pt x="0" y="39"/>
                    </a:lnTo>
                    <a:lnTo>
                      <a:pt x="0" y="87"/>
                    </a:lnTo>
                    <a:lnTo>
                      <a:pt x="27" y="103"/>
                    </a:lnTo>
                    <a:lnTo>
                      <a:pt x="18" y="122"/>
                    </a:lnTo>
                    <a:lnTo>
                      <a:pt x="18" y="130"/>
                    </a:lnTo>
                    <a:lnTo>
                      <a:pt x="37" y="142"/>
                    </a:lnTo>
                    <a:lnTo>
                      <a:pt x="37" y="128"/>
                    </a:lnTo>
                    <a:lnTo>
                      <a:pt x="47" y="126"/>
                    </a:lnTo>
                    <a:lnTo>
                      <a:pt x="51" y="112"/>
                    </a:lnTo>
                    <a:lnTo>
                      <a:pt x="43" y="83"/>
                    </a:lnTo>
                    <a:lnTo>
                      <a:pt x="25" y="57"/>
                    </a:lnTo>
                    <a:lnTo>
                      <a:pt x="33" y="34"/>
                    </a:lnTo>
                    <a:lnTo>
                      <a:pt x="2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0" name="Freeform 19">
                <a:extLst>
                  <a:ext uri="{FF2B5EF4-FFF2-40B4-BE49-F238E27FC236}">
                    <a16:creationId xmlns:a16="http://schemas.microsoft.com/office/drawing/2014/main" id="{B4C9CCF2-5278-43F8-BDAD-EDF964702696}"/>
                  </a:ext>
                </a:extLst>
              </p:cNvPr>
              <p:cNvSpPr>
                <a:spLocks/>
              </p:cNvSpPr>
              <p:nvPr/>
            </p:nvSpPr>
            <p:spPr bwMode="auto">
              <a:xfrm>
                <a:off x="4764525" y="3413863"/>
                <a:ext cx="289478" cy="268228"/>
              </a:xfrm>
              <a:custGeom>
                <a:avLst/>
                <a:gdLst>
                  <a:gd name="T0" fmla="*/ 315912 w 209"/>
                  <a:gd name="T1" fmla="*/ 28575 h 182"/>
                  <a:gd name="T2" fmla="*/ 249237 w 209"/>
                  <a:gd name="T3" fmla="*/ 0 h 182"/>
                  <a:gd name="T4" fmla="*/ 206375 w 209"/>
                  <a:gd name="T5" fmla="*/ 0 h 182"/>
                  <a:gd name="T6" fmla="*/ 165100 w 209"/>
                  <a:gd name="T7" fmla="*/ 96837 h 182"/>
                  <a:gd name="T8" fmla="*/ 122237 w 209"/>
                  <a:gd name="T9" fmla="*/ 109538 h 182"/>
                  <a:gd name="T10" fmla="*/ 90487 w 209"/>
                  <a:gd name="T11" fmla="*/ 85725 h 182"/>
                  <a:gd name="T12" fmla="*/ 61912 w 209"/>
                  <a:gd name="T13" fmla="*/ 82550 h 182"/>
                  <a:gd name="T14" fmla="*/ 52387 w 209"/>
                  <a:gd name="T15" fmla="*/ 138113 h 182"/>
                  <a:gd name="T16" fmla="*/ 0 w 209"/>
                  <a:gd name="T17" fmla="*/ 141288 h 182"/>
                  <a:gd name="T18" fmla="*/ 0 w 209"/>
                  <a:gd name="T19" fmla="*/ 247650 h 182"/>
                  <a:gd name="T20" fmla="*/ 28575 w 209"/>
                  <a:gd name="T21" fmla="*/ 276225 h 182"/>
                  <a:gd name="T22" fmla="*/ 87312 w 209"/>
                  <a:gd name="T23" fmla="*/ 269875 h 182"/>
                  <a:gd name="T24" fmla="*/ 93662 w 209"/>
                  <a:gd name="T25" fmla="*/ 288925 h 182"/>
                  <a:gd name="T26" fmla="*/ 128587 w 209"/>
                  <a:gd name="T27" fmla="*/ 285750 h 182"/>
                  <a:gd name="T28" fmla="*/ 152400 w 209"/>
                  <a:gd name="T29" fmla="*/ 263525 h 182"/>
                  <a:gd name="T30" fmla="*/ 203200 w 209"/>
                  <a:gd name="T31" fmla="*/ 228600 h 182"/>
                  <a:gd name="T32" fmla="*/ 231775 w 209"/>
                  <a:gd name="T33" fmla="*/ 215900 h 182"/>
                  <a:gd name="T34" fmla="*/ 228600 w 209"/>
                  <a:gd name="T35" fmla="*/ 185737 h 182"/>
                  <a:gd name="T36" fmla="*/ 312737 w 209"/>
                  <a:gd name="T37" fmla="*/ 173037 h 182"/>
                  <a:gd name="T38" fmla="*/ 312737 w 209"/>
                  <a:gd name="T39" fmla="*/ 96837 h 182"/>
                  <a:gd name="T40" fmla="*/ 331787 w 209"/>
                  <a:gd name="T41" fmla="*/ 66675 h 182"/>
                  <a:gd name="T42" fmla="*/ 331787 w 209"/>
                  <a:gd name="T43" fmla="*/ 44450 h 182"/>
                  <a:gd name="T44" fmla="*/ 315912 w 209"/>
                  <a:gd name="T45" fmla="*/ 28575 h 182"/>
                  <a:gd name="T46" fmla="*/ 315912 w 209"/>
                  <a:gd name="T47" fmla="*/ 28575 h 1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9"/>
                  <a:gd name="T73" fmla="*/ 0 h 182"/>
                  <a:gd name="T74" fmla="*/ 209 w 209"/>
                  <a:gd name="T75" fmla="*/ 182 h 18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9" h="182">
                    <a:moveTo>
                      <a:pt x="199" y="18"/>
                    </a:moveTo>
                    <a:lnTo>
                      <a:pt x="157" y="0"/>
                    </a:lnTo>
                    <a:lnTo>
                      <a:pt x="130" y="0"/>
                    </a:lnTo>
                    <a:lnTo>
                      <a:pt x="104" y="61"/>
                    </a:lnTo>
                    <a:lnTo>
                      <a:pt x="77" y="69"/>
                    </a:lnTo>
                    <a:lnTo>
                      <a:pt x="57" y="54"/>
                    </a:lnTo>
                    <a:lnTo>
                      <a:pt x="39" y="52"/>
                    </a:lnTo>
                    <a:lnTo>
                      <a:pt x="33" y="87"/>
                    </a:lnTo>
                    <a:lnTo>
                      <a:pt x="0" y="89"/>
                    </a:lnTo>
                    <a:lnTo>
                      <a:pt x="0" y="156"/>
                    </a:lnTo>
                    <a:lnTo>
                      <a:pt x="18" y="174"/>
                    </a:lnTo>
                    <a:lnTo>
                      <a:pt x="55" y="170"/>
                    </a:lnTo>
                    <a:lnTo>
                      <a:pt x="59" y="182"/>
                    </a:lnTo>
                    <a:lnTo>
                      <a:pt x="81" y="180"/>
                    </a:lnTo>
                    <a:lnTo>
                      <a:pt x="96" y="166"/>
                    </a:lnTo>
                    <a:lnTo>
                      <a:pt x="128" y="144"/>
                    </a:lnTo>
                    <a:lnTo>
                      <a:pt x="146" y="136"/>
                    </a:lnTo>
                    <a:lnTo>
                      <a:pt x="144" y="117"/>
                    </a:lnTo>
                    <a:lnTo>
                      <a:pt x="197" y="109"/>
                    </a:lnTo>
                    <a:lnTo>
                      <a:pt x="197" y="61"/>
                    </a:lnTo>
                    <a:lnTo>
                      <a:pt x="209" y="42"/>
                    </a:lnTo>
                    <a:lnTo>
                      <a:pt x="209" y="28"/>
                    </a:lnTo>
                    <a:lnTo>
                      <a:pt x="199" y="1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1" name="Freeform 20">
                <a:extLst>
                  <a:ext uri="{FF2B5EF4-FFF2-40B4-BE49-F238E27FC236}">
                    <a16:creationId xmlns:a16="http://schemas.microsoft.com/office/drawing/2014/main" id="{E5A8431E-78B4-45D1-B84C-0894CBA48D48}"/>
                  </a:ext>
                </a:extLst>
              </p:cNvPr>
              <p:cNvSpPr>
                <a:spLocks/>
              </p:cNvSpPr>
              <p:nvPr/>
            </p:nvSpPr>
            <p:spPr bwMode="auto">
              <a:xfrm>
                <a:off x="4502747" y="3344597"/>
                <a:ext cx="315795" cy="343390"/>
              </a:xfrm>
              <a:custGeom>
                <a:avLst/>
                <a:gdLst>
                  <a:gd name="T0" fmla="*/ 174625 w 228"/>
                  <a:gd name="T1" fmla="*/ 61912 h 233"/>
                  <a:gd name="T2" fmla="*/ 155575 w 228"/>
                  <a:gd name="T3" fmla="*/ 0 h 233"/>
                  <a:gd name="T4" fmla="*/ 26988 w 228"/>
                  <a:gd name="T5" fmla="*/ 0 h 233"/>
                  <a:gd name="T6" fmla="*/ 55563 w 228"/>
                  <a:gd name="T7" fmla="*/ 80962 h 233"/>
                  <a:gd name="T8" fmla="*/ 46037 w 228"/>
                  <a:gd name="T9" fmla="*/ 103187 h 233"/>
                  <a:gd name="T10" fmla="*/ 68263 w 228"/>
                  <a:gd name="T11" fmla="*/ 157162 h 233"/>
                  <a:gd name="T12" fmla="*/ 61913 w 228"/>
                  <a:gd name="T13" fmla="*/ 193675 h 233"/>
                  <a:gd name="T14" fmla="*/ 15875 w 228"/>
                  <a:gd name="T15" fmla="*/ 241300 h 233"/>
                  <a:gd name="T16" fmla="*/ 15875 w 228"/>
                  <a:gd name="T17" fmla="*/ 293687 h 233"/>
                  <a:gd name="T18" fmla="*/ 0 w 228"/>
                  <a:gd name="T19" fmla="*/ 344487 h 233"/>
                  <a:gd name="T20" fmla="*/ 26988 w 228"/>
                  <a:gd name="T21" fmla="*/ 347662 h 233"/>
                  <a:gd name="T22" fmla="*/ 68263 w 228"/>
                  <a:gd name="T23" fmla="*/ 334962 h 233"/>
                  <a:gd name="T24" fmla="*/ 130175 w 228"/>
                  <a:gd name="T25" fmla="*/ 354012 h 233"/>
                  <a:gd name="T26" fmla="*/ 203200 w 228"/>
                  <a:gd name="T27" fmla="*/ 350837 h 233"/>
                  <a:gd name="T28" fmla="*/ 203200 w 228"/>
                  <a:gd name="T29" fmla="*/ 360362 h 233"/>
                  <a:gd name="T30" fmla="*/ 280988 w 228"/>
                  <a:gd name="T31" fmla="*/ 369887 h 233"/>
                  <a:gd name="T32" fmla="*/ 328613 w 228"/>
                  <a:gd name="T33" fmla="*/ 350837 h 233"/>
                  <a:gd name="T34" fmla="*/ 300038 w 228"/>
                  <a:gd name="T35" fmla="*/ 322262 h 233"/>
                  <a:gd name="T36" fmla="*/ 300038 w 228"/>
                  <a:gd name="T37" fmla="*/ 215900 h 233"/>
                  <a:gd name="T38" fmla="*/ 355600 w 228"/>
                  <a:gd name="T39" fmla="*/ 212725 h 233"/>
                  <a:gd name="T40" fmla="*/ 361950 w 228"/>
                  <a:gd name="T41" fmla="*/ 157162 h 233"/>
                  <a:gd name="T42" fmla="*/ 303213 w 228"/>
                  <a:gd name="T43" fmla="*/ 125412 h 233"/>
                  <a:gd name="T44" fmla="*/ 303213 w 228"/>
                  <a:gd name="T45" fmla="*/ 38100 h 233"/>
                  <a:gd name="T46" fmla="*/ 233363 w 228"/>
                  <a:gd name="T47" fmla="*/ 31750 h 233"/>
                  <a:gd name="T48" fmla="*/ 219075 w 228"/>
                  <a:gd name="T49" fmla="*/ 61912 h 233"/>
                  <a:gd name="T50" fmla="*/ 174625 w 228"/>
                  <a:gd name="T51" fmla="*/ 61912 h 233"/>
                  <a:gd name="T52" fmla="*/ 174625 w 228"/>
                  <a:gd name="T53" fmla="*/ 61912 h 2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8"/>
                  <a:gd name="T82" fmla="*/ 0 h 233"/>
                  <a:gd name="T83" fmla="*/ 228 w 228"/>
                  <a:gd name="T84" fmla="*/ 233 h 2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8" h="233">
                    <a:moveTo>
                      <a:pt x="110" y="39"/>
                    </a:moveTo>
                    <a:lnTo>
                      <a:pt x="98" y="0"/>
                    </a:lnTo>
                    <a:lnTo>
                      <a:pt x="17" y="0"/>
                    </a:lnTo>
                    <a:lnTo>
                      <a:pt x="35" y="51"/>
                    </a:lnTo>
                    <a:lnTo>
                      <a:pt x="29" y="65"/>
                    </a:lnTo>
                    <a:lnTo>
                      <a:pt x="43" y="99"/>
                    </a:lnTo>
                    <a:lnTo>
                      <a:pt x="39" y="122"/>
                    </a:lnTo>
                    <a:lnTo>
                      <a:pt x="10" y="152"/>
                    </a:lnTo>
                    <a:lnTo>
                      <a:pt x="10" y="185"/>
                    </a:lnTo>
                    <a:lnTo>
                      <a:pt x="0" y="217"/>
                    </a:lnTo>
                    <a:lnTo>
                      <a:pt x="17" y="219"/>
                    </a:lnTo>
                    <a:lnTo>
                      <a:pt x="43" y="211"/>
                    </a:lnTo>
                    <a:lnTo>
                      <a:pt x="82" y="223"/>
                    </a:lnTo>
                    <a:lnTo>
                      <a:pt x="128" y="221"/>
                    </a:lnTo>
                    <a:lnTo>
                      <a:pt x="128" y="227"/>
                    </a:lnTo>
                    <a:lnTo>
                      <a:pt x="177" y="233"/>
                    </a:lnTo>
                    <a:lnTo>
                      <a:pt x="207" y="221"/>
                    </a:lnTo>
                    <a:lnTo>
                      <a:pt x="189" y="203"/>
                    </a:lnTo>
                    <a:lnTo>
                      <a:pt x="189" y="136"/>
                    </a:lnTo>
                    <a:lnTo>
                      <a:pt x="224" y="134"/>
                    </a:lnTo>
                    <a:lnTo>
                      <a:pt x="228" y="99"/>
                    </a:lnTo>
                    <a:lnTo>
                      <a:pt x="191" y="79"/>
                    </a:lnTo>
                    <a:lnTo>
                      <a:pt x="191" y="24"/>
                    </a:lnTo>
                    <a:lnTo>
                      <a:pt x="147" y="20"/>
                    </a:lnTo>
                    <a:lnTo>
                      <a:pt x="138" y="39"/>
                    </a:lnTo>
                    <a:lnTo>
                      <a:pt x="110"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2" name="Freeform 21">
                <a:extLst>
                  <a:ext uri="{FF2B5EF4-FFF2-40B4-BE49-F238E27FC236}">
                    <a16:creationId xmlns:a16="http://schemas.microsoft.com/office/drawing/2014/main" id="{21D2458B-1266-4496-A4C2-614D9DD4C28C}"/>
                  </a:ext>
                </a:extLst>
              </p:cNvPr>
              <p:cNvSpPr>
                <a:spLocks/>
              </p:cNvSpPr>
              <p:nvPr/>
            </p:nvSpPr>
            <p:spPr bwMode="auto">
              <a:xfrm>
                <a:off x="4947353" y="3197218"/>
                <a:ext cx="270087" cy="306546"/>
              </a:xfrm>
              <a:custGeom>
                <a:avLst/>
                <a:gdLst>
                  <a:gd name="T0" fmla="*/ 284162 w 195"/>
                  <a:gd name="T1" fmla="*/ 109538 h 208"/>
                  <a:gd name="T2" fmla="*/ 231775 w 195"/>
                  <a:gd name="T3" fmla="*/ 61913 h 208"/>
                  <a:gd name="T4" fmla="*/ 142875 w 195"/>
                  <a:gd name="T5" fmla="*/ 0 h 208"/>
                  <a:gd name="T6" fmla="*/ 122237 w 195"/>
                  <a:gd name="T7" fmla="*/ 14288 h 208"/>
                  <a:gd name="T8" fmla="*/ 119062 w 195"/>
                  <a:gd name="T9" fmla="*/ 26988 h 208"/>
                  <a:gd name="T10" fmla="*/ 90487 w 195"/>
                  <a:gd name="T11" fmla="*/ 26988 h 208"/>
                  <a:gd name="T12" fmla="*/ 77787 w 195"/>
                  <a:gd name="T13" fmla="*/ 7938 h 208"/>
                  <a:gd name="T14" fmla="*/ 42862 w 195"/>
                  <a:gd name="T15" fmla="*/ 7938 h 208"/>
                  <a:gd name="T16" fmla="*/ 46037 w 195"/>
                  <a:gd name="T17" fmla="*/ 42862 h 208"/>
                  <a:gd name="T18" fmla="*/ 39687 w 195"/>
                  <a:gd name="T19" fmla="*/ 93662 h 208"/>
                  <a:gd name="T20" fmla="*/ 6350 w 195"/>
                  <a:gd name="T21" fmla="*/ 114300 h 208"/>
                  <a:gd name="T22" fmla="*/ 0 w 195"/>
                  <a:gd name="T23" fmla="*/ 165100 h 208"/>
                  <a:gd name="T24" fmla="*/ 39687 w 195"/>
                  <a:gd name="T25" fmla="*/ 212725 h 208"/>
                  <a:gd name="T26" fmla="*/ 39687 w 195"/>
                  <a:gd name="T27" fmla="*/ 230188 h 208"/>
                  <a:gd name="T28" fmla="*/ 106362 w 195"/>
                  <a:gd name="T29" fmla="*/ 261938 h 208"/>
                  <a:gd name="T30" fmla="*/ 122237 w 195"/>
                  <a:gd name="T31" fmla="*/ 277813 h 208"/>
                  <a:gd name="T32" fmla="*/ 146050 w 195"/>
                  <a:gd name="T33" fmla="*/ 268288 h 208"/>
                  <a:gd name="T34" fmla="*/ 155575 w 195"/>
                  <a:gd name="T35" fmla="*/ 322263 h 208"/>
                  <a:gd name="T36" fmla="*/ 228600 w 195"/>
                  <a:gd name="T37" fmla="*/ 330200 h 208"/>
                  <a:gd name="T38" fmla="*/ 309562 w 195"/>
                  <a:gd name="T39" fmla="*/ 293688 h 208"/>
                  <a:gd name="T40" fmla="*/ 277812 w 195"/>
                  <a:gd name="T41" fmla="*/ 255588 h 208"/>
                  <a:gd name="T42" fmla="*/ 274637 w 195"/>
                  <a:gd name="T43" fmla="*/ 161925 h 208"/>
                  <a:gd name="T44" fmla="*/ 261937 w 195"/>
                  <a:gd name="T45" fmla="*/ 142875 h 208"/>
                  <a:gd name="T46" fmla="*/ 284162 w 195"/>
                  <a:gd name="T47" fmla="*/ 109538 h 208"/>
                  <a:gd name="T48" fmla="*/ 284162 w 195"/>
                  <a:gd name="T49" fmla="*/ 109538 h 2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5"/>
                  <a:gd name="T76" fmla="*/ 0 h 208"/>
                  <a:gd name="T77" fmla="*/ 195 w 195"/>
                  <a:gd name="T78" fmla="*/ 208 h 2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5" h="208">
                    <a:moveTo>
                      <a:pt x="179" y="69"/>
                    </a:moveTo>
                    <a:lnTo>
                      <a:pt x="146" y="39"/>
                    </a:lnTo>
                    <a:lnTo>
                      <a:pt x="90" y="0"/>
                    </a:lnTo>
                    <a:lnTo>
                      <a:pt x="77" y="9"/>
                    </a:lnTo>
                    <a:lnTo>
                      <a:pt x="75" y="17"/>
                    </a:lnTo>
                    <a:lnTo>
                      <a:pt x="57" y="17"/>
                    </a:lnTo>
                    <a:lnTo>
                      <a:pt x="49" y="5"/>
                    </a:lnTo>
                    <a:lnTo>
                      <a:pt x="27" y="5"/>
                    </a:lnTo>
                    <a:lnTo>
                      <a:pt x="29" y="27"/>
                    </a:lnTo>
                    <a:lnTo>
                      <a:pt x="25" y="59"/>
                    </a:lnTo>
                    <a:lnTo>
                      <a:pt x="4" y="72"/>
                    </a:lnTo>
                    <a:lnTo>
                      <a:pt x="0" y="104"/>
                    </a:lnTo>
                    <a:lnTo>
                      <a:pt x="25" y="134"/>
                    </a:lnTo>
                    <a:lnTo>
                      <a:pt x="25" y="145"/>
                    </a:lnTo>
                    <a:lnTo>
                      <a:pt x="67" y="165"/>
                    </a:lnTo>
                    <a:lnTo>
                      <a:pt x="77" y="175"/>
                    </a:lnTo>
                    <a:lnTo>
                      <a:pt x="92" y="169"/>
                    </a:lnTo>
                    <a:lnTo>
                      <a:pt x="98" y="203"/>
                    </a:lnTo>
                    <a:lnTo>
                      <a:pt x="144" y="208"/>
                    </a:lnTo>
                    <a:lnTo>
                      <a:pt x="195" y="185"/>
                    </a:lnTo>
                    <a:lnTo>
                      <a:pt x="175" y="161"/>
                    </a:lnTo>
                    <a:lnTo>
                      <a:pt x="173" y="102"/>
                    </a:lnTo>
                    <a:lnTo>
                      <a:pt x="165" y="90"/>
                    </a:lnTo>
                    <a:lnTo>
                      <a:pt x="179" y="6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3" name="Freeform 22">
                <a:extLst>
                  <a:ext uri="{FF2B5EF4-FFF2-40B4-BE49-F238E27FC236}">
                    <a16:creationId xmlns:a16="http://schemas.microsoft.com/office/drawing/2014/main" id="{9BE1A4E1-D14D-4FBE-8776-5D2BE7C015E8}"/>
                  </a:ext>
                </a:extLst>
              </p:cNvPr>
              <p:cNvSpPr>
                <a:spLocks/>
              </p:cNvSpPr>
              <p:nvPr/>
            </p:nvSpPr>
            <p:spPr bwMode="auto">
              <a:xfrm>
                <a:off x="5069239" y="3045419"/>
                <a:ext cx="188369" cy="244647"/>
              </a:xfrm>
              <a:custGeom>
                <a:avLst/>
                <a:gdLst>
                  <a:gd name="T0" fmla="*/ 185737 w 136"/>
                  <a:gd name="T1" fmla="*/ 12700 h 166"/>
                  <a:gd name="T2" fmla="*/ 147637 w 136"/>
                  <a:gd name="T3" fmla="*/ 28575 h 166"/>
                  <a:gd name="T4" fmla="*/ 41275 w 136"/>
                  <a:gd name="T5" fmla="*/ 0 h 166"/>
                  <a:gd name="T6" fmla="*/ 0 w 136"/>
                  <a:gd name="T7" fmla="*/ 3175 h 166"/>
                  <a:gd name="T8" fmla="*/ 0 w 136"/>
                  <a:gd name="T9" fmla="*/ 22225 h 166"/>
                  <a:gd name="T10" fmla="*/ 15875 w 136"/>
                  <a:gd name="T11" fmla="*/ 90487 h 166"/>
                  <a:gd name="T12" fmla="*/ 0 w 136"/>
                  <a:gd name="T13" fmla="*/ 138112 h 166"/>
                  <a:gd name="T14" fmla="*/ 3175 w 136"/>
                  <a:gd name="T15" fmla="*/ 163512 h 166"/>
                  <a:gd name="T16" fmla="*/ 92075 w 136"/>
                  <a:gd name="T17" fmla="*/ 225425 h 166"/>
                  <a:gd name="T18" fmla="*/ 134937 w 136"/>
                  <a:gd name="T19" fmla="*/ 263525 h 166"/>
                  <a:gd name="T20" fmla="*/ 195262 w 136"/>
                  <a:gd name="T21" fmla="*/ 180975 h 166"/>
                  <a:gd name="T22" fmla="*/ 195262 w 136"/>
                  <a:gd name="T23" fmla="*/ 53975 h 166"/>
                  <a:gd name="T24" fmla="*/ 215900 w 136"/>
                  <a:gd name="T25" fmla="*/ 22225 h 166"/>
                  <a:gd name="T26" fmla="*/ 185737 w 136"/>
                  <a:gd name="T27" fmla="*/ 12700 h 166"/>
                  <a:gd name="T28" fmla="*/ 185737 w 136"/>
                  <a:gd name="T29" fmla="*/ 12700 h 1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66"/>
                  <a:gd name="T47" fmla="*/ 136 w 136"/>
                  <a:gd name="T48" fmla="*/ 166 h 1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66">
                    <a:moveTo>
                      <a:pt x="117" y="8"/>
                    </a:moveTo>
                    <a:lnTo>
                      <a:pt x="93" y="18"/>
                    </a:lnTo>
                    <a:lnTo>
                      <a:pt x="26" y="0"/>
                    </a:lnTo>
                    <a:lnTo>
                      <a:pt x="0" y="2"/>
                    </a:lnTo>
                    <a:lnTo>
                      <a:pt x="0" y="14"/>
                    </a:lnTo>
                    <a:lnTo>
                      <a:pt x="10" y="57"/>
                    </a:lnTo>
                    <a:lnTo>
                      <a:pt x="0" y="87"/>
                    </a:lnTo>
                    <a:lnTo>
                      <a:pt x="2" y="103"/>
                    </a:lnTo>
                    <a:lnTo>
                      <a:pt x="58" y="142"/>
                    </a:lnTo>
                    <a:lnTo>
                      <a:pt x="85" y="166"/>
                    </a:lnTo>
                    <a:lnTo>
                      <a:pt x="123" y="114"/>
                    </a:lnTo>
                    <a:lnTo>
                      <a:pt x="123" y="34"/>
                    </a:lnTo>
                    <a:lnTo>
                      <a:pt x="136" y="14"/>
                    </a:lnTo>
                    <a:lnTo>
                      <a:pt x="117" y="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4" name="Freeform 23">
                <a:extLst>
                  <a:ext uri="{FF2B5EF4-FFF2-40B4-BE49-F238E27FC236}">
                    <a16:creationId xmlns:a16="http://schemas.microsoft.com/office/drawing/2014/main" id="{655B1EBD-5A56-4716-8624-64EC13E48772}"/>
                  </a:ext>
                </a:extLst>
              </p:cNvPr>
              <p:cNvSpPr>
                <a:spLocks/>
              </p:cNvSpPr>
              <p:nvPr/>
            </p:nvSpPr>
            <p:spPr bwMode="auto">
              <a:xfrm>
                <a:off x="5239600" y="2833194"/>
                <a:ext cx="236847" cy="380236"/>
              </a:xfrm>
              <a:custGeom>
                <a:avLst/>
                <a:gdLst>
                  <a:gd name="T0" fmla="*/ 17463 w 171"/>
                  <a:gd name="T1" fmla="*/ 34925 h 258"/>
                  <a:gd name="T2" fmla="*/ 61913 w 171"/>
                  <a:gd name="T3" fmla="*/ 90487 h 258"/>
                  <a:gd name="T4" fmla="*/ 190500 w 171"/>
                  <a:gd name="T5" fmla="*/ 125412 h 258"/>
                  <a:gd name="T6" fmla="*/ 127000 w 171"/>
                  <a:gd name="T7" fmla="*/ 190500 h 258"/>
                  <a:gd name="T8" fmla="*/ 103188 w 171"/>
                  <a:gd name="T9" fmla="*/ 219075 h 258"/>
                  <a:gd name="T10" fmla="*/ 74613 w 171"/>
                  <a:gd name="T11" fmla="*/ 219075 h 258"/>
                  <a:gd name="T12" fmla="*/ 20638 w 171"/>
                  <a:gd name="T13" fmla="*/ 250825 h 258"/>
                  <a:gd name="T14" fmla="*/ 0 w 171"/>
                  <a:gd name="T15" fmla="*/ 282575 h 258"/>
                  <a:gd name="T16" fmla="*/ 0 w 171"/>
                  <a:gd name="T17" fmla="*/ 409575 h 258"/>
                  <a:gd name="T18" fmla="*/ 117475 w 171"/>
                  <a:gd name="T19" fmla="*/ 303212 h 258"/>
                  <a:gd name="T20" fmla="*/ 168275 w 171"/>
                  <a:gd name="T21" fmla="*/ 266700 h 258"/>
                  <a:gd name="T22" fmla="*/ 249238 w 171"/>
                  <a:gd name="T23" fmla="*/ 141287 h 258"/>
                  <a:gd name="T24" fmla="*/ 271463 w 171"/>
                  <a:gd name="T25" fmla="*/ 34925 h 258"/>
                  <a:gd name="T26" fmla="*/ 255588 w 171"/>
                  <a:gd name="T27" fmla="*/ 0 h 258"/>
                  <a:gd name="T28" fmla="*/ 230188 w 171"/>
                  <a:gd name="T29" fmla="*/ 19050 h 258"/>
                  <a:gd name="T30" fmla="*/ 71438 w 171"/>
                  <a:gd name="T31" fmla="*/ 44450 h 258"/>
                  <a:gd name="T32" fmla="*/ 52388 w 171"/>
                  <a:gd name="T33" fmla="*/ 22225 h 258"/>
                  <a:gd name="T34" fmla="*/ 17463 w 171"/>
                  <a:gd name="T35" fmla="*/ 34925 h 258"/>
                  <a:gd name="T36" fmla="*/ 17463 w 171"/>
                  <a:gd name="T37" fmla="*/ 34925 h 2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1"/>
                  <a:gd name="T58" fmla="*/ 0 h 258"/>
                  <a:gd name="T59" fmla="*/ 171 w 171"/>
                  <a:gd name="T60" fmla="*/ 258 h 2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1" h="258">
                    <a:moveTo>
                      <a:pt x="11" y="22"/>
                    </a:moveTo>
                    <a:lnTo>
                      <a:pt x="39" y="57"/>
                    </a:lnTo>
                    <a:lnTo>
                      <a:pt x="120" y="79"/>
                    </a:lnTo>
                    <a:lnTo>
                      <a:pt x="80" y="120"/>
                    </a:lnTo>
                    <a:lnTo>
                      <a:pt x="65" y="138"/>
                    </a:lnTo>
                    <a:lnTo>
                      <a:pt x="47" y="138"/>
                    </a:lnTo>
                    <a:lnTo>
                      <a:pt x="13" y="158"/>
                    </a:lnTo>
                    <a:lnTo>
                      <a:pt x="0" y="178"/>
                    </a:lnTo>
                    <a:lnTo>
                      <a:pt x="0" y="258"/>
                    </a:lnTo>
                    <a:lnTo>
                      <a:pt x="74" y="191"/>
                    </a:lnTo>
                    <a:lnTo>
                      <a:pt x="106" y="168"/>
                    </a:lnTo>
                    <a:lnTo>
                      <a:pt x="157" y="89"/>
                    </a:lnTo>
                    <a:lnTo>
                      <a:pt x="171" y="22"/>
                    </a:lnTo>
                    <a:lnTo>
                      <a:pt x="161" y="0"/>
                    </a:lnTo>
                    <a:lnTo>
                      <a:pt x="145" y="12"/>
                    </a:lnTo>
                    <a:lnTo>
                      <a:pt x="45" y="28"/>
                    </a:lnTo>
                    <a:lnTo>
                      <a:pt x="33" y="14"/>
                    </a:lnTo>
                    <a:lnTo>
                      <a:pt x="11"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5" name="Freeform 24">
                <a:extLst>
                  <a:ext uri="{FF2B5EF4-FFF2-40B4-BE49-F238E27FC236}">
                    <a16:creationId xmlns:a16="http://schemas.microsoft.com/office/drawing/2014/main" id="{50CF6ECE-8081-4141-BD70-B173B3FF8FED}"/>
                  </a:ext>
                </a:extLst>
              </p:cNvPr>
              <p:cNvSpPr>
                <a:spLocks/>
              </p:cNvSpPr>
              <p:nvPr/>
            </p:nvSpPr>
            <p:spPr bwMode="auto">
              <a:xfrm>
                <a:off x="4526293" y="3021838"/>
                <a:ext cx="477846" cy="493716"/>
              </a:xfrm>
              <a:custGeom>
                <a:avLst/>
                <a:gdLst>
                  <a:gd name="T0" fmla="*/ 531812 w 345"/>
                  <a:gd name="T1" fmla="*/ 53975 h 335"/>
                  <a:gd name="T2" fmla="*/ 492125 w 345"/>
                  <a:gd name="T3" fmla="*/ 31750 h 335"/>
                  <a:gd name="T4" fmla="*/ 428625 w 345"/>
                  <a:gd name="T5" fmla="*/ 28575 h 335"/>
                  <a:gd name="T6" fmla="*/ 422275 w 345"/>
                  <a:gd name="T7" fmla="*/ 0 h 335"/>
                  <a:gd name="T8" fmla="*/ 404812 w 345"/>
                  <a:gd name="T9" fmla="*/ 12700 h 335"/>
                  <a:gd name="T10" fmla="*/ 266700 w 345"/>
                  <a:gd name="T11" fmla="*/ 38100 h 335"/>
                  <a:gd name="T12" fmla="*/ 215900 w 345"/>
                  <a:gd name="T13" fmla="*/ 12700 h 335"/>
                  <a:gd name="T14" fmla="*/ 169862 w 345"/>
                  <a:gd name="T15" fmla="*/ 57150 h 335"/>
                  <a:gd name="T16" fmla="*/ 166687 w 345"/>
                  <a:gd name="T17" fmla="*/ 100013 h 335"/>
                  <a:gd name="T18" fmla="*/ 147637 w 345"/>
                  <a:gd name="T19" fmla="*/ 200025 h 335"/>
                  <a:gd name="T20" fmla="*/ 119062 w 345"/>
                  <a:gd name="T21" fmla="*/ 225425 h 335"/>
                  <a:gd name="T22" fmla="*/ 112712 w 345"/>
                  <a:gd name="T23" fmla="*/ 279400 h 335"/>
                  <a:gd name="T24" fmla="*/ 69850 w 345"/>
                  <a:gd name="T25" fmla="*/ 312738 h 335"/>
                  <a:gd name="T26" fmla="*/ 25400 w 345"/>
                  <a:gd name="T27" fmla="*/ 303213 h 335"/>
                  <a:gd name="T28" fmla="*/ 15875 w 345"/>
                  <a:gd name="T29" fmla="*/ 328613 h 335"/>
                  <a:gd name="T30" fmla="*/ 0 w 345"/>
                  <a:gd name="T31" fmla="*/ 347663 h 335"/>
                  <a:gd name="T32" fmla="*/ 128587 w 345"/>
                  <a:gd name="T33" fmla="*/ 347663 h 335"/>
                  <a:gd name="T34" fmla="*/ 147637 w 345"/>
                  <a:gd name="T35" fmla="*/ 409575 h 335"/>
                  <a:gd name="T36" fmla="*/ 192087 w 345"/>
                  <a:gd name="T37" fmla="*/ 409575 h 335"/>
                  <a:gd name="T38" fmla="*/ 206375 w 345"/>
                  <a:gd name="T39" fmla="*/ 379413 h 335"/>
                  <a:gd name="T40" fmla="*/ 276225 w 345"/>
                  <a:gd name="T41" fmla="*/ 385763 h 335"/>
                  <a:gd name="T42" fmla="*/ 276225 w 345"/>
                  <a:gd name="T43" fmla="*/ 473075 h 335"/>
                  <a:gd name="T44" fmla="*/ 334962 w 345"/>
                  <a:gd name="T45" fmla="*/ 504825 h 335"/>
                  <a:gd name="T46" fmla="*/ 363537 w 345"/>
                  <a:gd name="T47" fmla="*/ 508000 h 335"/>
                  <a:gd name="T48" fmla="*/ 395287 w 345"/>
                  <a:gd name="T49" fmla="*/ 531813 h 335"/>
                  <a:gd name="T50" fmla="*/ 438150 w 345"/>
                  <a:gd name="T51" fmla="*/ 519113 h 335"/>
                  <a:gd name="T52" fmla="*/ 479425 w 345"/>
                  <a:gd name="T53" fmla="*/ 422275 h 335"/>
                  <a:gd name="T54" fmla="*/ 522287 w 345"/>
                  <a:gd name="T55" fmla="*/ 422275 h 335"/>
                  <a:gd name="T56" fmla="*/ 522287 w 345"/>
                  <a:gd name="T57" fmla="*/ 401638 h 335"/>
                  <a:gd name="T58" fmla="*/ 482600 w 345"/>
                  <a:gd name="T59" fmla="*/ 354013 h 335"/>
                  <a:gd name="T60" fmla="*/ 488950 w 345"/>
                  <a:gd name="T61" fmla="*/ 303213 h 335"/>
                  <a:gd name="T62" fmla="*/ 479425 w 345"/>
                  <a:gd name="T63" fmla="*/ 254000 h 335"/>
                  <a:gd name="T64" fmla="*/ 469900 w 345"/>
                  <a:gd name="T65" fmla="*/ 234950 h 335"/>
                  <a:gd name="T66" fmla="*/ 498475 w 345"/>
                  <a:gd name="T67" fmla="*/ 203200 h 335"/>
                  <a:gd name="T68" fmla="*/ 495300 w 345"/>
                  <a:gd name="T69" fmla="*/ 160338 h 335"/>
                  <a:gd name="T70" fmla="*/ 547687 w 345"/>
                  <a:gd name="T71" fmla="*/ 96838 h 335"/>
                  <a:gd name="T72" fmla="*/ 531812 w 345"/>
                  <a:gd name="T73" fmla="*/ 53975 h 335"/>
                  <a:gd name="T74" fmla="*/ 531812 w 345"/>
                  <a:gd name="T75" fmla="*/ 53975 h 3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335"/>
                  <a:gd name="T116" fmla="*/ 345 w 345"/>
                  <a:gd name="T117" fmla="*/ 335 h 3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335">
                    <a:moveTo>
                      <a:pt x="335" y="34"/>
                    </a:moveTo>
                    <a:lnTo>
                      <a:pt x="310" y="20"/>
                    </a:lnTo>
                    <a:lnTo>
                      <a:pt x="270" y="18"/>
                    </a:lnTo>
                    <a:lnTo>
                      <a:pt x="266" y="0"/>
                    </a:lnTo>
                    <a:lnTo>
                      <a:pt x="255" y="8"/>
                    </a:lnTo>
                    <a:lnTo>
                      <a:pt x="168" y="24"/>
                    </a:lnTo>
                    <a:lnTo>
                      <a:pt x="136" y="8"/>
                    </a:lnTo>
                    <a:lnTo>
                      <a:pt x="107" y="36"/>
                    </a:lnTo>
                    <a:lnTo>
                      <a:pt x="105" y="63"/>
                    </a:lnTo>
                    <a:lnTo>
                      <a:pt x="93" y="126"/>
                    </a:lnTo>
                    <a:lnTo>
                      <a:pt x="75" y="142"/>
                    </a:lnTo>
                    <a:lnTo>
                      <a:pt x="71" y="176"/>
                    </a:lnTo>
                    <a:lnTo>
                      <a:pt x="44" y="197"/>
                    </a:lnTo>
                    <a:lnTo>
                      <a:pt x="16" y="191"/>
                    </a:lnTo>
                    <a:lnTo>
                      <a:pt x="10" y="207"/>
                    </a:lnTo>
                    <a:lnTo>
                      <a:pt x="0" y="219"/>
                    </a:lnTo>
                    <a:lnTo>
                      <a:pt x="81" y="219"/>
                    </a:lnTo>
                    <a:lnTo>
                      <a:pt x="93" y="258"/>
                    </a:lnTo>
                    <a:lnTo>
                      <a:pt x="121" y="258"/>
                    </a:lnTo>
                    <a:lnTo>
                      <a:pt x="130" y="239"/>
                    </a:lnTo>
                    <a:lnTo>
                      <a:pt x="174" y="243"/>
                    </a:lnTo>
                    <a:lnTo>
                      <a:pt x="174" y="298"/>
                    </a:lnTo>
                    <a:lnTo>
                      <a:pt x="211" y="318"/>
                    </a:lnTo>
                    <a:lnTo>
                      <a:pt x="229" y="320"/>
                    </a:lnTo>
                    <a:lnTo>
                      <a:pt x="249" y="335"/>
                    </a:lnTo>
                    <a:lnTo>
                      <a:pt x="276" y="327"/>
                    </a:lnTo>
                    <a:lnTo>
                      <a:pt x="302" y="266"/>
                    </a:lnTo>
                    <a:lnTo>
                      <a:pt x="329" y="266"/>
                    </a:lnTo>
                    <a:lnTo>
                      <a:pt x="329" y="253"/>
                    </a:lnTo>
                    <a:lnTo>
                      <a:pt x="304" y="223"/>
                    </a:lnTo>
                    <a:lnTo>
                      <a:pt x="308" y="191"/>
                    </a:lnTo>
                    <a:lnTo>
                      <a:pt x="302" y="160"/>
                    </a:lnTo>
                    <a:lnTo>
                      <a:pt x="296" y="148"/>
                    </a:lnTo>
                    <a:lnTo>
                      <a:pt x="314" y="128"/>
                    </a:lnTo>
                    <a:lnTo>
                      <a:pt x="312" y="101"/>
                    </a:lnTo>
                    <a:lnTo>
                      <a:pt x="345" y="61"/>
                    </a:lnTo>
                    <a:lnTo>
                      <a:pt x="335" y="3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6" name="Freeform 25">
                <a:extLst>
                  <a:ext uri="{FF2B5EF4-FFF2-40B4-BE49-F238E27FC236}">
                    <a16:creationId xmlns:a16="http://schemas.microsoft.com/office/drawing/2014/main" id="{DC181A2A-367B-4640-ABB9-A4AD0E6AC3C7}"/>
                  </a:ext>
                </a:extLst>
              </p:cNvPr>
              <p:cNvSpPr>
                <a:spLocks/>
              </p:cNvSpPr>
              <p:nvPr/>
            </p:nvSpPr>
            <p:spPr bwMode="auto">
              <a:xfrm>
                <a:off x="4494437" y="3074894"/>
                <a:ext cx="180058" cy="237279"/>
              </a:xfrm>
              <a:custGeom>
                <a:avLst/>
                <a:gdLst>
                  <a:gd name="T0" fmla="*/ 203200 w 130"/>
                  <a:gd name="T1" fmla="*/ 42863 h 161"/>
                  <a:gd name="T2" fmla="*/ 206375 w 130"/>
                  <a:gd name="T3" fmla="*/ 0 h 161"/>
                  <a:gd name="T4" fmla="*/ 152400 w 130"/>
                  <a:gd name="T5" fmla="*/ 19050 h 161"/>
                  <a:gd name="T6" fmla="*/ 146050 w 130"/>
                  <a:gd name="T7" fmla="*/ 55563 h 161"/>
                  <a:gd name="T8" fmla="*/ 68262 w 130"/>
                  <a:gd name="T9" fmla="*/ 39688 h 161"/>
                  <a:gd name="T10" fmla="*/ 77787 w 130"/>
                  <a:gd name="T11" fmla="*/ 68263 h 161"/>
                  <a:gd name="T12" fmla="*/ 96837 w 130"/>
                  <a:gd name="T13" fmla="*/ 77788 h 161"/>
                  <a:gd name="T14" fmla="*/ 90487 w 130"/>
                  <a:gd name="T15" fmla="*/ 106363 h 161"/>
                  <a:gd name="T16" fmla="*/ 103188 w 130"/>
                  <a:gd name="T17" fmla="*/ 146050 h 161"/>
                  <a:gd name="T18" fmla="*/ 96837 w 130"/>
                  <a:gd name="T19" fmla="*/ 174625 h 161"/>
                  <a:gd name="T20" fmla="*/ 36512 w 130"/>
                  <a:gd name="T21" fmla="*/ 177800 h 161"/>
                  <a:gd name="T22" fmla="*/ 36512 w 130"/>
                  <a:gd name="T23" fmla="*/ 219075 h 161"/>
                  <a:gd name="T24" fmla="*/ 0 w 130"/>
                  <a:gd name="T25" fmla="*/ 231775 h 161"/>
                  <a:gd name="T26" fmla="*/ 15875 w 130"/>
                  <a:gd name="T27" fmla="*/ 255588 h 161"/>
                  <a:gd name="T28" fmla="*/ 61912 w 130"/>
                  <a:gd name="T29" fmla="*/ 246063 h 161"/>
                  <a:gd name="T30" fmla="*/ 106362 w 130"/>
                  <a:gd name="T31" fmla="*/ 255588 h 161"/>
                  <a:gd name="T32" fmla="*/ 149225 w 130"/>
                  <a:gd name="T33" fmla="*/ 222250 h 161"/>
                  <a:gd name="T34" fmla="*/ 155575 w 130"/>
                  <a:gd name="T35" fmla="*/ 168275 h 161"/>
                  <a:gd name="T36" fmla="*/ 184150 w 130"/>
                  <a:gd name="T37" fmla="*/ 142875 h 161"/>
                  <a:gd name="T38" fmla="*/ 203200 w 130"/>
                  <a:gd name="T39" fmla="*/ 42863 h 161"/>
                  <a:gd name="T40" fmla="*/ 203200 w 130"/>
                  <a:gd name="T41" fmla="*/ 42863 h 1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0"/>
                  <a:gd name="T64" fmla="*/ 0 h 161"/>
                  <a:gd name="T65" fmla="*/ 130 w 130"/>
                  <a:gd name="T66" fmla="*/ 161 h 1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0" h="161">
                    <a:moveTo>
                      <a:pt x="128" y="27"/>
                    </a:moveTo>
                    <a:lnTo>
                      <a:pt x="130" y="0"/>
                    </a:lnTo>
                    <a:lnTo>
                      <a:pt x="96" y="12"/>
                    </a:lnTo>
                    <a:lnTo>
                      <a:pt x="92" y="35"/>
                    </a:lnTo>
                    <a:lnTo>
                      <a:pt x="43" y="25"/>
                    </a:lnTo>
                    <a:lnTo>
                      <a:pt x="49" y="43"/>
                    </a:lnTo>
                    <a:lnTo>
                      <a:pt x="61" y="49"/>
                    </a:lnTo>
                    <a:lnTo>
                      <a:pt x="57" y="67"/>
                    </a:lnTo>
                    <a:lnTo>
                      <a:pt x="65" y="92"/>
                    </a:lnTo>
                    <a:lnTo>
                      <a:pt x="61" y="110"/>
                    </a:lnTo>
                    <a:lnTo>
                      <a:pt x="23" y="112"/>
                    </a:lnTo>
                    <a:lnTo>
                      <a:pt x="23" y="138"/>
                    </a:lnTo>
                    <a:lnTo>
                      <a:pt x="0" y="146"/>
                    </a:lnTo>
                    <a:lnTo>
                      <a:pt x="10" y="161"/>
                    </a:lnTo>
                    <a:lnTo>
                      <a:pt x="39" y="155"/>
                    </a:lnTo>
                    <a:lnTo>
                      <a:pt x="67" y="161"/>
                    </a:lnTo>
                    <a:lnTo>
                      <a:pt x="94" y="140"/>
                    </a:lnTo>
                    <a:lnTo>
                      <a:pt x="98" y="106"/>
                    </a:lnTo>
                    <a:lnTo>
                      <a:pt x="116" y="90"/>
                    </a:lnTo>
                    <a:lnTo>
                      <a:pt x="128" y="2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7" name="Freeform 26">
                <a:extLst>
                  <a:ext uri="{FF2B5EF4-FFF2-40B4-BE49-F238E27FC236}">
                    <a16:creationId xmlns:a16="http://schemas.microsoft.com/office/drawing/2014/main" id="{C2B5BF49-FE1A-4BC6-A493-6B41F153BCB7}"/>
                  </a:ext>
                </a:extLst>
              </p:cNvPr>
              <p:cNvSpPr>
                <a:spLocks/>
              </p:cNvSpPr>
              <p:nvPr/>
            </p:nvSpPr>
            <p:spPr bwMode="auto">
              <a:xfrm>
                <a:off x="4436264" y="3111738"/>
                <a:ext cx="148202" cy="178326"/>
              </a:xfrm>
              <a:custGeom>
                <a:avLst/>
                <a:gdLst>
                  <a:gd name="T0" fmla="*/ 144463 w 107"/>
                  <a:gd name="T1" fmla="*/ 28575 h 121"/>
                  <a:gd name="T2" fmla="*/ 134938 w 107"/>
                  <a:gd name="T3" fmla="*/ 0 h 121"/>
                  <a:gd name="T4" fmla="*/ 82550 w 107"/>
                  <a:gd name="T5" fmla="*/ 0 h 121"/>
                  <a:gd name="T6" fmla="*/ 82550 w 107"/>
                  <a:gd name="T7" fmla="*/ 38100 h 121"/>
                  <a:gd name="T8" fmla="*/ 25400 w 107"/>
                  <a:gd name="T9" fmla="*/ 38100 h 121"/>
                  <a:gd name="T10" fmla="*/ 31750 w 107"/>
                  <a:gd name="T11" fmla="*/ 63500 h 121"/>
                  <a:gd name="T12" fmla="*/ 0 w 107"/>
                  <a:gd name="T13" fmla="*/ 100012 h 121"/>
                  <a:gd name="T14" fmla="*/ 66675 w 107"/>
                  <a:gd name="T15" fmla="*/ 192087 h 121"/>
                  <a:gd name="T16" fmla="*/ 103188 w 107"/>
                  <a:gd name="T17" fmla="*/ 179387 h 121"/>
                  <a:gd name="T18" fmla="*/ 103188 w 107"/>
                  <a:gd name="T19" fmla="*/ 138112 h 121"/>
                  <a:gd name="T20" fmla="*/ 163513 w 107"/>
                  <a:gd name="T21" fmla="*/ 134937 h 121"/>
                  <a:gd name="T22" fmla="*/ 169863 w 107"/>
                  <a:gd name="T23" fmla="*/ 106362 h 121"/>
                  <a:gd name="T24" fmla="*/ 157163 w 107"/>
                  <a:gd name="T25" fmla="*/ 66675 h 121"/>
                  <a:gd name="T26" fmla="*/ 163513 w 107"/>
                  <a:gd name="T27" fmla="*/ 38100 h 121"/>
                  <a:gd name="T28" fmla="*/ 144463 w 107"/>
                  <a:gd name="T29" fmla="*/ 28575 h 121"/>
                  <a:gd name="T30" fmla="*/ 144463 w 107"/>
                  <a:gd name="T31" fmla="*/ 28575 h 1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7"/>
                  <a:gd name="T49" fmla="*/ 0 h 121"/>
                  <a:gd name="T50" fmla="*/ 107 w 107"/>
                  <a:gd name="T51" fmla="*/ 121 h 1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7" h="121">
                    <a:moveTo>
                      <a:pt x="91" y="18"/>
                    </a:moveTo>
                    <a:lnTo>
                      <a:pt x="85" y="0"/>
                    </a:lnTo>
                    <a:lnTo>
                      <a:pt x="52" y="0"/>
                    </a:lnTo>
                    <a:lnTo>
                      <a:pt x="52" y="24"/>
                    </a:lnTo>
                    <a:lnTo>
                      <a:pt x="16" y="24"/>
                    </a:lnTo>
                    <a:lnTo>
                      <a:pt x="20" y="40"/>
                    </a:lnTo>
                    <a:lnTo>
                      <a:pt x="0" y="63"/>
                    </a:lnTo>
                    <a:lnTo>
                      <a:pt x="42" y="121"/>
                    </a:lnTo>
                    <a:lnTo>
                      <a:pt x="65" y="113"/>
                    </a:lnTo>
                    <a:lnTo>
                      <a:pt x="65" y="87"/>
                    </a:lnTo>
                    <a:lnTo>
                      <a:pt x="103" y="85"/>
                    </a:lnTo>
                    <a:lnTo>
                      <a:pt x="107" y="67"/>
                    </a:lnTo>
                    <a:lnTo>
                      <a:pt x="99" y="42"/>
                    </a:lnTo>
                    <a:lnTo>
                      <a:pt x="103" y="24"/>
                    </a:lnTo>
                    <a:lnTo>
                      <a:pt x="91" y="1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8" name="Freeform 27">
                <a:extLst>
                  <a:ext uri="{FF2B5EF4-FFF2-40B4-BE49-F238E27FC236}">
                    <a16:creationId xmlns:a16="http://schemas.microsoft.com/office/drawing/2014/main" id="{6B2BCFC3-6B1A-46FB-A838-38F165A168A9}"/>
                  </a:ext>
                </a:extLst>
              </p:cNvPr>
              <p:cNvSpPr>
                <a:spLocks/>
              </p:cNvSpPr>
              <p:nvPr/>
            </p:nvSpPr>
            <p:spPr bwMode="auto">
              <a:xfrm>
                <a:off x="4950122" y="3237010"/>
                <a:ext cx="37396" cy="66321"/>
              </a:xfrm>
              <a:custGeom>
                <a:avLst/>
                <a:gdLst>
                  <a:gd name="T0" fmla="*/ 3175 w 27"/>
                  <a:gd name="T1" fmla="*/ 71438 h 45"/>
                  <a:gd name="T2" fmla="*/ 36512 w 27"/>
                  <a:gd name="T3" fmla="*/ 50800 h 45"/>
                  <a:gd name="T4" fmla="*/ 42862 w 27"/>
                  <a:gd name="T5" fmla="*/ 0 h 45"/>
                  <a:gd name="T6" fmla="*/ 0 w 27"/>
                  <a:gd name="T7" fmla="*/ 22225 h 45"/>
                  <a:gd name="T8" fmla="*/ 3175 w 27"/>
                  <a:gd name="T9" fmla="*/ 71438 h 45"/>
                  <a:gd name="T10" fmla="*/ 3175 w 27"/>
                  <a:gd name="T11" fmla="*/ 71438 h 45"/>
                  <a:gd name="T12" fmla="*/ 0 60000 65536"/>
                  <a:gd name="T13" fmla="*/ 0 60000 65536"/>
                  <a:gd name="T14" fmla="*/ 0 60000 65536"/>
                  <a:gd name="T15" fmla="*/ 0 60000 65536"/>
                  <a:gd name="T16" fmla="*/ 0 60000 65536"/>
                  <a:gd name="T17" fmla="*/ 0 60000 65536"/>
                  <a:gd name="T18" fmla="*/ 0 w 27"/>
                  <a:gd name="T19" fmla="*/ 0 h 45"/>
                  <a:gd name="T20" fmla="*/ 27 w 27"/>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27" h="45">
                    <a:moveTo>
                      <a:pt x="2" y="45"/>
                    </a:moveTo>
                    <a:lnTo>
                      <a:pt x="23" y="32"/>
                    </a:lnTo>
                    <a:lnTo>
                      <a:pt x="27" y="0"/>
                    </a:lnTo>
                    <a:lnTo>
                      <a:pt x="0" y="14"/>
                    </a:lnTo>
                    <a:lnTo>
                      <a:pt x="2" y="4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9" name="Freeform 28">
                <a:extLst>
                  <a:ext uri="{FF2B5EF4-FFF2-40B4-BE49-F238E27FC236}">
                    <a16:creationId xmlns:a16="http://schemas.microsoft.com/office/drawing/2014/main" id="{2CB7CAC7-2198-41D4-A14C-DD87268E95DD}"/>
                  </a:ext>
                </a:extLst>
              </p:cNvPr>
              <p:cNvSpPr>
                <a:spLocks/>
              </p:cNvSpPr>
              <p:nvPr/>
            </p:nvSpPr>
            <p:spPr bwMode="auto">
              <a:xfrm>
                <a:off x="4936272" y="3204588"/>
                <a:ext cx="51246" cy="53056"/>
              </a:xfrm>
              <a:custGeom>
                <a:avLst/>
                <a:gdLst>
                  <a:gd name="T0" fmla="*/ 58737 w 37"/>
                  <a:gd name="T1" fmla="*/ 0 h 36"/>
                  <a:gd name="T2" fmla="*/ 28575 w 37"/>
                  <a:gd name="T3" fmla="*/ 6350 h 36"/>
                  <a:gd name="T4" fmla="*/ 0 w 37"/>
                  <a:gd name="T5" fmla="*/ 38100 h 36"/>
                  <a:gd name="T6" fmla="*/ 15875 w 37"/>
                  <a:gd name="T7" fmla="*/ 57150 h 36"/>
                  <a:gd name="T8" fmla="*/ 58737 w 37"/>
                  <a:gd name="T9" fmla="*/ 34925 h 36"/>
                  <a:gd name="T10" fmla="*/ 58737 w 37"/>
                  <a:gd name="T11" fmla="*/ 0 h 36"/>
                  <a:gd name="T12" fmla="*/ 58737 w 37"/>
                  <a:gd name="T13" fmla="*/ 0 h 36"/>
                  <a:gd name="T14" fmla="*/ 0 60000 65536"/>
                  <a:gd name="T15" fmla="*/ 0 60000 65536"/>
                  <a:gd name="T16" fmla="*/ 0 60000 65536"/>
                  <a:gd name="T17" fmla="*/ 0 60000 65536"/>
                  <a:gd name="T18" fmla="*/ 0 60000 65536"/>
                  <a:gd name="T19" fmla="*/ 0 60000 65536"/>
                  <a:gd name="T20" fmla="*/ 0 60000 65536"/>
                  <a:gd name="T21" fmla="*/ 0 w 37"/>
                  <a:gd name="T22" fmla="*/ 0 h 36"/>
                  <a:gd name="T23" fmla="*/ 37 w 3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6">
                    <a:moveTo>
                      <a:pt x="37" y="0"/>
                    </a:moveTo>
                    <a:lnTo>
                      <a:pt x="18" y="4"/>
                    </a:lnTo>
                    <a:lnTo>
                      <a:pt x="0" y="24"/>
                    </a:lnTo>
                    <a:lnTo>
                      <a:pt x="10" y="36"/>
                    </a:lnTo>
                    <a:lnTo>
                      <a:pt x="37" y="22"/>
                    </a:lnTo>
                    <a:lnTo>
                      <a:pt x="3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0" name="Freeform 29">
                <a:extLst>
                  <a:ext uri="{FF2B5EF4-FFF2-40B4-BE49-F238E27FC236}">
                    <a16:creationId xmlns:a16="http://schemas.microsoft.com/office/drawing/2014/main" id="{E8F23F1D-B294-4640-9DEF-C78EBC62A1A3}"/>
                  </a:ext>
                </a:extLst>
              </p:cNvPr>
              <p:cNvSpPr>
                <a:spLocks/>
              </p:cNvSpPr>
              <p:nvPr/>
            </p:nvSpPr>
            <p:spPr bwMode="auto">
              <a:xfrm>
                <a:off x="4958433" y="3066052"/>
                <a:ext cx="124656" cy="144430"/>
              </a:xfrm>
              <a:custGeom>
                <a:avLst/>
                <a:gdLst>
                  <a:gd name="T0" fmla="*/ 142875 w 90"/>
                  <a:gd name="T1" fmla="*/ 68263 h 98"/>
                  <a:gd name="T2" fmla="*/ 127000 w 90"/>
                  <a:gd name="T3" fmla="*/ 0 h 98"/>
                  <a:gd name="T4" fmla="*/ 36512 w 90"/>
                  <a:gd name="T5" fmla="*/ 6350 h 98"/>
                  <a:gd name="T6" fmla="*/ 52388 w 90"/>
                  <a:gd name="T7" fmla="*/ 49212 h 98"/>
                  <a:gd name="T8" fmla="*/ 0 w 90"/>
                  <a:gd name="T9" fmla="*/ 112713 h 98"/>
                  <a:gd name="T10" fmla="*/ 3175 w 90"/>
                  <a:gd name="T11" fmla="*/ 155575 h 98"/>
                  <a:gd name="T12" fmla="*/ 30163 w 90"/>
                  <a:gd name="T13" fmla="*/ 149225 h 98"/>
                  <a:gd name="T14" fmla="*/ 65088 w 90"/>
                  <a:gd name="T15" fmla="*/ 149225 h 98"/>
                  <a:gd name="T16" fmla="*/ 74612 w 90"/>
                  <a:gd name="T17" fmla="*/ 122238 h 98"/>
                  <a:gd name="T18" fmla="*/ 112713 w 90"/>
                  <a:gd name="T19" fmla="*/ 90487 h 98"/>
                  <a:gd name="T20" fmla="*/ 127000 w 90"/>
                  <a:gd name="T21" fmla="*/ 115888 h 98"/>
                  <a:gd name="T22" fmla="*/ 142875 w 90"/>
                  <a:gd name="T23" fmla="*/ 68263 h 98"/>
                  <a:gd name="T24" fmla="*/ 142875 w 90"/>
                  <a:gd name="T25" fmla="*/ 68263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98"/>
                  <a:gd name="T41" fmla="*/ 90 w 90"/>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98">
                    <a:moveTo>
                      <a:pt x="90" y="43"/>
                    </a:moveTo>
                    <a:lnTo>
                      <a:pt x="80" y="0"/>
                    </a:lnTo>
                    <a:lnTo>
                      <a:pt x="23" y="4"/>
                    </a:lnTo>
                    <a:lnTo>
                      <a:pt x="33" y="31"/>
                    </a:lnTo>
                    <a:lnTo>
                      <a:pt x="0" y="71"/>
                    </a:lnTo>
                    <a:lnTo>
                      <a:pt x="2" y="98"/>
                    </a:lnTo>
                    <a:lnTo>
                      <a:pt x="19" y="94"/>
                    </a:lnTo>
                    <a:lnTo>
                      <a:pt x="41" y="94"/>
                    </a:lnTo>
                    <a:lnTo>
                      <a:pt x="47" y="77"/>
                    </a:lnTo>
                    <a:lnTo>
                      <a:pt x="71" y="57"/>
                    </a:lnTo>
                    <a:lnTo>
                      <a:pt x="80" y="73"/>
                    </a:lnTo>
                    <a:lnTo>
                      <a:pt x="90" y="4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1" name="Freeform 30">
                <a:extLst>
                  <a:ext uri="{FF2B5EF4-FFF2-40B4-BE49-F238E27FC236}">
                    <a16:creationId xmlns:a16="http://schemas.microsoft.com/office/drawing/2014/main" id="{BC62160D-6DF9-40A4-BFF8-527A3CC50B3E}"/>
                  </a:ext>
                </a:extLst>
              </p:cNvPr>
              <p:cNvSpPr>
                <a:spLocks/>
              </p:cNvSpPr>
              <p:nvPr/>
            </p:nvSpPr>
            <p:spPr bwMode="auto">
              <a:xfrm>
                <a:off x="5023531" y="2775718"/>
                <a:ext cx="382277" cy="296229"/>
              </a:xfrm>
              <a:custGeom>
                <a:avLst/>
                <a:gdLst>
                  <a:gd name="T0" fmla="*/ 0 w 276"/>
                  <a:gd name="T1" fmla="*/ 177800 h 201"/>
                  <a:gd name="T2" fmla="*/ 0 w 276"/>
                  <a:gd name="T3" fmla="*/ 203200 h 201"/>
                  <a:gd name="T4" fmla="*/ 19050 w 276"/>
                  <a:gd name="T5" fmla="*/ 203200 h 201"/>
                  <a:gd name="T6" fmla="*/ 65087 w 276"/>
                  <a:gd name="T7" fmla="*/ 258762 h 201"/>
                  <a:gd name="T8" fmla="*/ 90487 w 276"/>
                  <a:gd name="T9" fmla="*/ 265112 h 201"/>
                  <a:gd name="T10" fmla="*/ 93662 w 276"/>
                  <a:gd name="T11" fmla="*/ 290512 h 201"/>
                  <a:gd name="T12" fmla="*/ 200025 w 276"/>
                  <a:gd name="T13" fmla="*/ 319087 h 201"/>
                  <a:gd name="T14" fmla="*/ 238125 w 276"/>
                  <a:gd name="T15" fmla="*/ 303212 h 201"/>
                  <a:gd name="T16" fmla="*/ 268287 w 276"/>
                  <a:gd name="T17" fmla="*/ 312737 h 201"/>
                  <a:gd name="T18" fmla="*/ 322262 w 276"/>
                  <a:gd name="T19" fmla="*/ 280987 h 201"/>
                  <a:gd name="T20" fmla="*/ 350837 w 276"/>
                  <a:gd name="T21" fmla="*/ 280987 h 201"/>
                  <a:gd name="T22" fmla="*/ 374650 w 276"/>
                  <a:gd name="T23" fmla="*/ 252412 h 201"/>
                  <a:gd name="T24" fmla="*/ 438150 w 276"/>
                  <a:gd name="T25" fmla="*/ 187325 h 201"/>
                  <a:gd name="T26" fmla="*/ 309562 w 276"/>
                  <a:gd name="T27" fmla="*/ 152400 h 201"/>
                  <a:gd name="T28" fmla="*/ 247650 w 276"/>
                  <a:gd name="T29" fmla="*/ 71437 h 201"/>
                  <a:gd name="T30" fmla="*/ 258762 w 276"/>
                  <a:gd name="T31" fmla="*/ 49212 h 201"/>
                  <a:gd name="T32" fmla="*/ 231775 w 276"/>
                  <a:gd name="T33" fmla="*/ 25400 h 201"/>
                  <a:gd name="T34" fmla="*/ 187325 w 276"/>
                  <a:gd name="T35" fmla="*/ 0 h 201"/>
                  <a:gd name="T36" fmla="*/ 80962 w 276"/>
                  <a:gd name="T37" fmla="*/ 19050 h 201"/>
                  <a:gd name="T38" fmla="*/ 44450 w 276"/>
                  <a:gd name="T39" fmla="*/ 106362 h 201"/>
                  <a:gd name="T40" fmla="*/ 25400 w 276"/>
                  <a:gd name="T41" fmla="*/ 106362 h 201"/>
                  <a:gd name="T42" fmla="*/ 19050 w 276"/>
                  <a:gd name="T43" fmla="*/ 177800 h 201"/>
                  <a:gd name="T44" fmla="*/ 0 w 276"/>
                  <a:gd name="T45" fmla="*/ 177800 h 201"/>
                  <a:gd name="T46" fmla="*/ 0 w 276"/>
                  <a:gd name="T47" fmla="*/ 177800 h 2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6"/>
                  <a:gd name="T73" fmla="*/ 0 h 201"/>
                  <a:gd name="T74" fmla="*/ 276 w 276"/>
                  <a:gd name="T75" fmla="*/ 201 h 2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6" h="201">
                    <a:moveTo>
                      <a:pt x="0" y="112"/>
                    </a:moveTo>
                    <a:lnTo>
                      <a:pt x="0" y="128"/>
                    </a:lnTo>
                    <a:lnTo>
                      <a:pt x="12" y="128"/>
                    </a:lnTo>
                    <a:lnTo>
                      <a:pt x="41" y="163"/>
                    </a:lnTo>
                    <a:lnTo>
                      <a:pt x="57" y="167"/>
                    </a:lnTo>
                    <a:lnTo>
                      <a:pt x="59" y="183"/>
                    </a:lnTo>
                    <a:lnTo>
                      <a:pt x="126" y="201"/>
                    </a:lnTo>
                    <a:lnTo>
                      <a:pt x="150" y="191"/>
                    </a:lnTo>
                    <a:lnTo>
                      <a:pt x="169" y="197"/>
                    </a:lnTo>
                    <a:lnTo>
                      <a:pt x="203" y="177"/>
                    </a:lnTo>
                    <a:lnTo>
                      <a:pt x="221" y="177"/>
                    </a:lnTo>
                    <a:lnTo>
                      <a:pt x="236" y="159"/>
                    </a:lnTo>
                    <a:lnTo>
                      <a:pt x="276" y="118"/>
                    </a:lnTo>
                    <a:lnTo>
                      <a:pt x="195" y="96"/>
                    </a:lnTo>
                    <a:lnTo>
                      <a:pt x="156" y="45"/>
                    </a:lnTo>
                    <a:lnTo>
                      <a:pt x="163" y="31"/>
                    </a:lnTo>
                    <a:lnTo>
                      <a:pt x="146" y="16"/>
                    </a:lnTo>
                    <a:lnTo>
                      <a:pt x="118" y="0"/>
                    </a:lnTo>
                    <a:lnTo>
                      <a:pt x="51" y="12"/>
                    </a:lnTo>
                    <a:lnTo>
                      <a:pt x="28" y="67"/>
                    </a:lnTo>
                    <a:lnTo>
                      <a:pt x="16" y="67"/>
                    </a:lnTo>
                    <a:lnTo>
                      <a:pt x="12" y="112"/>
                    </a:lnTo>
                    <a:lnTo>
                      <a:pt x="0" y="1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2" name="Freeform 31">
                <a:extLst>
                  <a:ext uri="{FF2B5EF4-FFF2-40B4-BE49-F238E27FC236}">
                    <a16:creationId xmlns:a16="http://schemas.microsoft.com/office/drawing/2014/main" id="{90DAC640-021B-4A3C-8A0E-EE47B11A97A5}"/>
                  </a:ext>
                </a:extLst>
              </p:cNvPr>
              <p:cNvSpPr>
                <a:spLocks/>
              </p:cNvSpPr>
              <p:nvPr/>
            </p:nvSpPr>
            <p:spPr bwMode="auto">
              <a:xfrm>
                <a:off x="4761754" y="2531070"/>
                <a:ext cx="405823" cy="540876"/>
              </a:xfrm>
              <a:custGeom>
                <a:avLst/>
                <a:gdLst>
                  <a:gd name="T0" fmla="*/ 80962 w 293"/>
                  <a:gd name="T1" fmla="*/ 77787 h 367"/>
                  <a:gd name="T2" fmla="*/ 55562 w 293"/>
                  <a:gd name="T3" fmla="*/ 87312 h 367"/>
                  <a:gd name="T4" fmla="*/ 55562 w 293"/>
                  <a:gd name="T5" fmla="*/ 219075 h 367"/>
                  <a:gd name="T6" fmla="*/ 12700 w 293"/>
                  <a:gd name="T7" fmla="*/ 263525 h 367"/>
                  <a:gd name="T8" fmla="*/ 0 w 293"/>
                  <a:gd name="T9" fmla="*/ 306387 h 367"/>
                  <a:gd name="T10" fmla="*/ 71437 w 293"/>
                  <a:gd name="T11" fmla="*/ 450850 h 367"/>
                  <a:gd name="T12" fmla="*/ 93662 w 293"/>
                  <a:gd name="T13" fmla="*/ 454025 h 367"/>
                  <a:gd name="T14" fmla="*/ 152400 w 293"/>
                  <a:gd name="T15" fmla="*/ 528637 h 367"/>
                  <a:gd name="T16" fmla="*/ 158750 w 293"/>
                  <a:gd name="T17" fmla="*/ 557212 h 367"/>
                  <a:gd name="T18" fmla="*/ 222250 w 293"/>
                  <a:gd name="T19" fmla="*/ 560387 h 367"/>
                  <a:gd name="T20" fmla="*/ 261937 w 293"/>
                  <a:gd name="T21" fmla="*/ 582612 h 367"/>
                  <a:gd name="T22" fmla="*/ 352425 w 293"/>
                  <a:gd name="T23" fmla="*/ 576262 h 367"/>
                  <a:gd name="T24" fmla="*/ 352425 w 293"/>
                  <a:gd name="T25" fmla="*/ 557212 h 367"/>
                  <a:gd name="T26" fmla="*/ 393700 w 293"/>
                  <a:gd name="T27" fmla="*/ 554037 h 367"/>
                  <a:gd name="T28" fmla="*/ 390525 w 293"/>
                  <a:gd name="T29" fmla="*/ 528637 h 367"/>
                  <a:gd name="T30" fmla="*/ 365125 w 293"/>
                  <a:gd name="T31" fmla="*/ 522287 h 367"/>
                  <a:gd name="T32" fmla="*/ 319087 w 293"/>
                  <a:gd name="T33" fmla="*/ 466725 h 367"/>
                  <a:gd name="T34" fmla="*/ 300037 w 293"/>
                  <a:gd name="T35" fmla="*/ 466725 h 367"/>
                  <a:gd name="T36" fmla="*/ 300037 w 293"/>
                  <a:gd name="T37" fmla="*/ 441325 h 367"/>
                  <a:gd name="T38" fmla="*/ 319087 w 293"/>
                  <a:gd name="T39" fmla="*/ 441325 h 367"/>
                  <a:gd name="T40" fmla="*/ 325437 w 293"/>
                  <a:gd name="T41" fmla="*/ 369887 h 367"/>
                  <a:gd name="T42" fmla="*/ 344487 w 293"/>
                  <a:gd name="T43" fmla="*/ 369887 h 367"/>
                  <a:gd name="T44" fmla="*/ 381000 w 293"/>
                  <a:gd name="T45" fmla="*/ 282575 h 367"/>
                  <a:gd name="T46" fmla="*/ 396875 w 293"/>
                  <a:gd name="T47" fmla="*/ 182562 h 367"/>
                  <a:gd name="T48" fmla="*/ 465137 w 293"/>
                  <a:gd name="T49" fmla="*/ 150812 h 367"/>
                  <a:gd name="T50" fmla="*/ 415925 w 293"/>
                  <a:gd name="T51" fmla="*/ 106362 h 367"/>
                  <a:gd name="T52" fmla="*/ 400050 w 293"/>
                  <a:gd name="T53" fmla="*/ 25400 h 367"/>
                  <a:gd name="T54" fmla="*/ 361950 w 293"/>
                  <a:gd name="T55" fmla="*/ 0 h 367"/>
                  <a:gd name="T56" fmla="*/ 325437 w 293"/>
                  <a:gd name="T57" fmla="*/ 34925 h 367"/>
                  <a:gd name="T58" fmla="*/ 77787 w 293"/>
                  <a:gd name="T59" fmla="*/ 31750 h 367"/>
                  <a:gd name="T60" fmla="*/ 80962 w 293"/>
                  <a:gd name="T61" fmla="*/ 77787 h 367"/>
                  <a:gd name="T62" fmla="*/ 80962 w 293"/>
                  <a:gd name="T63" fmla="*/ 77787 h 3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3"/>
                  <a:gd name="T97" fmla="*/ 0 h 367"/>
                  <a:gd name="T98" fmla="*/ 293 w 293"/>
                  <a:gd name="T99" fmla="*/ 367 h 3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3" h="367">
                    <a:moveTo>
                      <a:pt x="51" y="49"/>
                    </a:moveTo>
                    <a:lnTo>
                      <a:pt x="35" y="55"/>
                    </a:lnTo>
                    <a:lnTo>
                      <a:pt x="35" y="138"/>
                    </a:lnTo>
                    <a:lnTo>
                      <a:pt x="8" y="166"/>
                    </a:lnTo>
                    <a:lnTo>
                      <a:pt x="0" y="193"/>
                    </a:lnTo>
                    <a:lnTo>
                      <a:pt x="45" y="284"/>
                    </a:lnTo>
                    <a:lnTo>
                      <a:pt x="59" y="286"/>
                    </a:lnTo>
                    <a:lnTo>
                      <a:pt x="96" y="333"/>
                    </a:lnTo>
                    <a:lnTo>
                      <a:pt x="100" y="351"/>
                    </a:lnTo>
                    <a:lnTo>
                      <a:pt x="140" y="353"/>
                    </a:lnTo>
                    <a:lnTo>
                      <a:pt x="165" y="367"/>
                    </a:lnTo>
                    <a:lnTo>
                      <a:pt x="222" y="363"/>
                    </a:lnTo>
                    <a:lnTo>
                      <a:pt x="222" y="351"/>
                    </a:lnTo>
                    <a:lnTo>
                      <a:pt x="248" y="349"/>
                    </a:lnTo>
                    <a:lnTo>
                      <a:pt x="246" y="333"/>
                    </a:lnTo>
                    <a:lnTo>
                      <a:pt x="230" y="329"/>
                    </a:lnTo>
                    <a:lnTo>
                      <a:pt x="201" y="294"/>
                    </a:lnTo>
                    <a:lnTo>
                      <a:pt x="189" y="294"/>
                    </a:lnTo>
                    <a:lnTo>
                      <a:pt x="189" y="278"/>
                    </a:lnTo>
                    <a:lnTo>
                      <a:pt x="201" y="278"/>
                    </a:lnTo>
                    <a:lnTo>
                      <a:pt x="205" y="233"/>
                    </a:lnTo>
                    <a:lnTo>
                      <a:pt x="217" y="233"/>
                    </a:lnTo>
                    <a:lnTo>
                      <a:pt x="240" y="178"/>
                    </a:lnTo>
                    <a:lnTo>
                      <a:pt x="250" y="115"/>
                    </a:lnTo>
                    <a:lnTo>
                      <a:pt x="293" y="95"/>
                    </a:lnTo>
                    <a:lnTo>
                      <a:pt x="262" y="67"/>
                    </a:lnTo>
                    <a:lnTo>
                      <a:pt x="252" y="16"/>
                    </a:lnTo>
                    <a:lnTo>
                      <a:pt x="228" y="0"/>
                    </a:lnTo>
                    <a:lnTo>
                      <a:pt x="205" y="22"/>
                    </a:lnTo>
                    <a:lnTo>
                      <a:pt x="49" y="20"/>
                    </a:lnTo>
                    <a:lnTo>
                      <a:pt x="51" y="4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3" name="Freeform 32">
                <a:extLst>
                  <a:ext uri="{FF2B5EF4-FFF2-40B4-BE49-F238E27FC236}">
                    <a16:creationId xmlns:a16="http://schemas.microsoft.com/office/drawing/2014/main" id="{B232821D-5F52-429B-9FC7-2E8BC2F6934A}"/>
                  </a:ext>
                </a:extLst>
              </p:cNvPr>
              <p:cNvSpPr>
                <a:spLocks/>
              </p:cNvSpPr>
              <p:nvPr/>
            </p:nvSpPr>
            <p:spPr bwMode="auto">
              <a:xfrm>
                <a:off x="4562305" y="2522228"/>
                <a:ext cx="247925" cy="445081"/>
              </a:xfrm>
              <a:custGeom>
                <a:avLst/>
                <a:gdLst>
                  <a:gd name="T0" fmla="*/ 61912 w 179"/>
                  <a:gd name="T1" fmla="*/ 0 h 302"/>
                  <a:gd name="T2" fmla="*/ 34925 w 179"/>
                  <a:gd name="T3" fmla="*/ 12700 h 302"/>
                  <a:gd name="T4" fmla="*/ 34925 w 179"/>
                  <a:gd name="T5" fmla="*/ 50800 h 302"/>
                  <a:gd name="T6" fmla="*/ 61912 w 179"/>
                  <a:gd name="T7" fmla="*/ 96837 h 302"/>
                  <a:gd name="T8" fmla="*/ 44450 w 179"/>
                  <a:gd name="T9" fmla="*/ 119063 h 302"/>
                  <a:gd name="T10" fmla="*/ 44450 w 179"/>
                  <a:gd name="T11" fmla="*/ 192087 h 302"/>
                  <a:gd name="T12" fmla="*/ 19050 w 179"/>
                  <a:gd name="T13" fmla="*/ 228600 h 302"/>
                  <a:gd name="T14" fmla="*/ 0 w 179"/>
                  <a:gd name="T15" fmla="*/ 285750 h 302"/>
                  <a:gd name="T16" fmla="*/ 34925 w 179"/>
                  <a:gd name="T17" fmla="*/ 309562 h 302"/>
                  <a:gd name="T18" fmla="*/ 55562 w 179"/>
                  <a:gd name="T19" fmla="*/ 398462 h 302"/>
                  <a:gd name="T20" fmla="*/ 19050 w 179"/>
                  <a:gd name="T21" fmla="*/ 409575 h 302"/>
                  <a:gd name="T22" fmla="*/ 50800 w 179"/>
                  <a:gd name="T23" fmla="*/ 479425 h 302"/>
                  <a:gd name="T24" fmla="*/ 147637 w 179"/>
                  <a:gd name="T25" fmla="*/ 444500 h 302"/>
                  <a:gd name="T26" fmla="*/ 147637 w 179"/>
                  <a:gd name="T27" fmla="*/ 434975 h 302"/>
                  <a:gd name="T28" fmla="*/ 177800 w 179"/>
                  <a:gd name="T29" fmla="*/ 431800 h 302"/>
                  <a:gd name="T30" fmla="*/ 219075 w 179"/>
                  <a:gd name="T31" fmla="*/ 388937 h 302"/>
                  <a:gd name="T32" fmla="*/ 254000 w 179"/>
                  <a:gd name="T33" fmla="*/ 373062 h 302"/>
                  <a:gd name="T34" fmla="*/ 228600 w 179"/>
                  <a:gd name="T35" fmla="*/ 315912 h 302"/>
                  <a:gd name="T36" fmla="*/ 241300 w 179"/>
                  <a:gd name="T37" fmla="*/ 273050 h 302"/>
                  <a:gd name="T38" fmla="*/ 284162 w 179"/>
                  <a:gd name="T39" fmla="*/ 228600 h 302"/>
                  <a:gd name="T40" fmla="*/ 284162 w 179"/>
                  <a:gd name="T41" fmla="*/ 119063 h 302"/>
                  <a:gd name="T42" fmla="*/ 61912 w 179"/>
                  <a:gd name="T43" fmla="*/ 0 h 302"/>
                  <a:gd name="T44" fmla="*/ 61912 w 179"/>
                  <a:gd name="T45" fmla="*/ 0 h 30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9"/>
                  <a:gd name="T70" fmla="*/ 0 h 302"/>
                  <a:gd name="T71" fmla="*/ 179 w 179"/>
                  <a:gd name="T72" fmla="*/ 302 h 30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9" h="302">
                    <a:moveTo>
                      <a:pt x="39" y="0"/>
                    </a:moveTo>
                    <a:lnTo>
                      <a:pt x="22" y="8"/>
                    </a:lnTo>
                    <a:lnTo>
                      <a:pt x="22" y="32"/>
                    </a:lnTo>
                    <a:lnTo>
                      <a:pt x="39" y="61"/>
                    </a:lnTo>
                    <a:lnTo>
                      <a:pt x="28" y="75"/>
                    </a:lnTo>
                    <a:lnTo>
                      <a:pt x="28" y="121"/>
                    </a:lnTo>
                    <a:lnTo>
                      <a:pt x="12" y="144"/>
                    </a:lnTo>
                    <a:lnTo>
                      <a:pt x="0" y="180"/>
                    </a:lnTo>
                    <a:lnTo>
                      <a:pt x="22" y="195"/>
                    </a:lnTo>
                    <a:lnTo>
                      <a:pt x="35" y="251"/>
                    </a:lnTo>
                    <a:lnTo>
                      <a:pt x="12" y="258"/>
                    </a:lnTo>
                    <a:lnTo>
                      <a:pt x="32" y="302"/>
                    </a:lnTo>
                    <a:lnTo>
                      <a:pt x="93" y="280"/>
                    </a:lnTo>
                    <a:lnTo>
                      <a:pt x="93" y="274"/>
                    </a:lnTo>
                    <a:lnTo>
                      <a:pt x="112" y="272"/>
                    </a:lnTo>
                    <a:lnTo>
                      <a:pt x="138" y="245"/>
                    </a:lnTo>
                    <a:lnTo>
                      <a:pt x="160" y="235"/>
                    </a:lnTo>
                    <a:lnTo>
                      <a:pt x="144" y="199"/>
                    </a:lnTo>
                    <a:lnTo>
                      <a:pt x="152" y="172"/>
                    </a:lnTo>
                    <a:lnTo>
                      <a:pt x="179" y="144"/>
                    </a:lnTo>
                    <a:lnTo>
                      <a:pt x="179" y="75"/>
                    </a:lnTo>
                    <a:lnTo>
                      <a:pt x="39"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4" name="Freeform 33">
                <a:extLst>
                  <a:ext uri="{FF2B5EF4-FFF2-40B4-BE49-F238E27FC236}">
                    <a16:creationId xmlns:a16="http://schemas.microsoft.com/office/drawing/2014/main" id="{FD3B96D7-32C3-439F-B32D-EB7E2D086140}"/>
                  </a:ext>
                </a:extLst>
              </p:cNvPr>
              <p:cNvSpPr>
                <a:spLocks/>
              </p:cNvSpPr>
              <p:nvPr/>
            </p:nvSpPr>
            <p:spPr bwMode="auto">
              <a:xfrm>
                <a:off x="4578926" y="2868565"/>
                <a:ext cx="315795" cy="224014"/>
              </a:xfrm>
              <a:custGeom>
                <a:avLst/>
                <a:gdLst>
                  <a:gd name="T0" fmla="*/ 361950 w 228"/>
                  <a:gd name="T1" fmla="*/ 165100 h 152"/>
                  <a:gd name="T2" fmla="*/ 303213 w 228"/>
                  <a:gd name="T3" fmla="*/ 90487 h 152"/>
                  <a:gd name="T4" fmla="*/ 280988 w 228"/>
                  <a:gd name="T5" fmla="*/ 87312 h 152"/>
                  <a:gd name="T6" fmla="*/ 234950 w 228"/>
                  <a:gd name="T7" fmla="*/ 0 h 152"/>
                  <a:gd name="T8" fmla="*/ 200025 w 228"/>
                  <a:gd name="T9" fmla="*/ 15875 h 152"/>
                  <a:gd name="T10" fmla="*/ 158750 w 228"/>
                  <a:gd name="T11" fmla="*/ 58738 h 152"/>
                  <a:gd name="T12" fmla="*/ 128588 w 228"/>
                  <a:gd name="T13" fmla="*/ 61912 h 152"/>
                  <a:gd name="T14" fmla="*/ 128588 w 228"/>
                  <a:gd name="T15" fmla="*/ 71437 h 152"/>
                  <a:gd name="T16" fmla="*/ 31750 w 228"/>
                  <a:gd name="T17" fmla="*/ 106363 h 152"/>
                  <a:gd name="T18" fmla="*/ 0 w 228"/>
                  <a:gd name="T19" fmla="*/ 177800 h 152"/>
                  <a:gd name="T20" fmla="*/ 3175 w 228"/>
                  <a:gd name="T21" fmla="*/ 215900 h 152"/>
                  <a:gd name="T22" fmla="*/ 55563 w 228"/>
                  <a:gd name="T23" fmla="*/ 241300 h 152"/>
                  <a:gd name="T24" fmla="*/ 109538 w 228"/>
                  <a:gd name="T25" fmla="*/ 222250 h 152"/>
                  <a:gd name="T26" fmla="*/ 155575 w 228"/>
                  <a:gd name="T27" fmla="*/ 177800 h 152"/>
                  <a:gd name="T28" fmla="*/ 206375 w 228"/>
                  <a:gd name="T29" fmla="*/ 203200 h 152"/>
                  <a:gd name="T30" fmla="*/ 344488 w 228"/>
                  <a:gd name="T31" fmla="*/ 177800 h 152"/>
                  <a:gd name="T32" fmla="*/ 361950 w 228"/>
                  <a:gd name="T33" fmla="*/ 165100 h 152"/>
                  <a:gd name="T34" fmla="*/ 361950 w 228"/>
                  <a:gd name="T35" fmla="*/ 165100 h 1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8"/>
                  <a:gd name="T55" fmla="*/ 0 h 152"/>
                  <a:gd name="T56" fmla="*/ 228 w 228"/>
                  <a:gd name="T57" fmla="*/ 152 h 1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8" h="152">
                    <a:moveTo>
                      <a:pt x="228" y="104"/>
                    </a:moveTo>
                    <a:lnTo>
                      <a:pt x="191" y="57"/>
                    </a:lnTo>
                    <a:lnTo>
                      <a:pt x="177" y="55"/>
                    </a:lnTo>
                    <a:lnTo>
                      <a:pt x="148" y="0"/>
                    </a:lnTo>
                    <a:lnTo>
                      <a:pt x="126" y="10"/>
                    </a:lnTo>
                    <a:lnTo>
                      <a:pt x="100" y="37"/>
                    </a:lnTo>
                    <a:lnTo>
                      <a:pt x="81" y="39"/>
                    </a:lnTo>
                    <a:lnTo>
                      <a:pt x="81" y="45"/>
                    </a:lnTo>
                    <a:lnTo>
                      <a:pt x="20" y="67"/>
                    </a:lnTo>
                    <a:lnTo>
                      <a:pt x="0" y="112"/>
                    </a:lnTo>
                    <a:lnTo>
                      <a:pt x="2" y="136"/>
                    </a:lnTo>
                    <a:lnTo>
                      <a:pt x="35" y="152"/>
                    </a:lnTo>
                    <a:lnTo>
                      <a:pt x="69" y="140"/>
                    </a:lnTo>
                    <a:lnTo>
                      <a:pt x="98" y="112"/>
                    </a:lnTo>
                    <a:lnTo>
                      <a:pt x="130" y="128"/>
                    </a:lnTo>
                    <a:lnTo>
                      <a:pt x="217" y="112"/>
                    </a:lnTo>
                    <a:lnTo>
                      <a:pt x="228" y="10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5" name="Freeform 34">
                <a:extLst>
                  <a:ext uri="{FF2B5EF4-FFF2-40B4-BE49-F238E27FC236}">
                    <a16:creationId xmlns:a16="http://schemas.microsoft.com/office/drawing/2014/main" id="{4BE65C88-CA83-4BF1-B544-20DAEDD7E269}"/>
                  </a:ext>
                </a:extLst>
              </p:cNvPr>
              <p:cNvSpPr>
                <a:spLocks/>
              </p:cNvSpPr>
              <p:nvPr/>
            </p:nvSpPr>
            <p:spPr bwMode="auto">
              <a:xfrm>
                <a:off x="4436264" y="2809614"/>
                <a:ext cx="191139" cy="316863"/>
              </a:xfrm>
              <a:custGeom>
                <a:avLst/>
                <a:gdLst>
                  <a:gd name="T0" fmla="*/ 179387 w 138"/>
                  <a:gd name="T1" fmla="*/ 0 h 215"/>
                  <a:gd name="T2" fmla="*/ 150812 w 138"/>
                  <a:gd name="T3" fmla="*/ 19050 h 215"/>
                  <a:gd name="T4" fmla="*/ 153987 w 138"/>
                  <a:gd name="T5" fmla="*/ 44450 h 215"/>
                  <a:gd name="T6" fmla="*/ 128587 w 138"/>
                  <a:gd name="T7" fmla="*/ 88900 h 215"/>
                  <a:gd name="T8" fmla="*/ 82550 w 138"/>
                  <a:gd name="T9" fmla="*/ 201613 h 215"/>
                  <a:gd name="T10" fmla="*/ 50800 w 138"/>
                  <a:gd name="T11" fmla="*/ 188913 h 215"/>
                  <a:gd name="T12" fmla="*/ 22225 w 138"/>
                  <a:gd name="T13" fmla="*/ 201613 h 215"/>
                  <a:gd name="T14" fmla="*/ 0 w 138"/>
                  <a:gd name="T15" fmla="*/ 257175 h 215"/>
                  <a:gd name="T16" fmla="*/ 9525 w 138"/>
                  <a:gd name="T17" fmla="*/ 273050 h 215"/>
                  <a:gd name="T18" fmla="*/ 34925 w 138"/>
                  <a:gd name="T19" fmla="*/ 273050 h 215"/>
                  <a:gd name="T20" fmla="*/ 31750 w 138"/>
                  <a:gd name="T21" fmla="*/ 325438 h 215"/>
                  <a:gd name="T22" fmla="*/ 134937 w 138"/>
                  <a:gd name="T23" fmla="*/ 325438 h 215"/>
                  <a:gd name="T24" fmla="*/ 212725 w 138"/>
                  <a:gd name="T25" fmla="*/ 341313 h 215"/>
                  <a:gd name="T26" fmla="*/ 219075 w 138"/>
                  <a:gd name="T27" fmla="*/ 304800 h 215"/>
                  <a:gd name="T28" fmla="*/ 166687 w 138"/>
                  <a:gd name="T29" fmla="*/ 279400 h 215"/>
                  <a:gd name="T30" fmla="*/ 163512 w 138"/>
                  <a:gd name="T31" fmla="*/ 241300 h 215"/>
                  <a:gd name="T32" fmla="*/ 195262 w 138"/>
                  <a:gd name="T33" fmla="*/ 169863 h 215"/>
                  <a:gd name="T34" fmla="*/ 163512 w 138"/>
                  <a:gd name="T35" fmla="*/ 100013 h 215"/>
                  <a:gd name="T36" fmla="*/ 200025 w 138"/>
                  <a:gd name="T37" fmla="*/ 88900 h 215"/>
                  <a:gd name="T38" fmla="*/ 179387 w 138"/>
                  <a:gd name="T39" fmla="*/ 0 h 215"/>
                  <a:gd name="T40" fmla="*/ 179387 w 138"/>
                  <a:gd name="T41" fmla="*/ 0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215"/>
                  <a:gd name="T65" fmla="*/ 138 w 138"/>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215">
                    <a:moveTo>
                      <a:pt x="113" y="0"/>
                    </a:moveTo>
                    <a:lnTo>
                      <a:pt x="95" y="12"/>
                    </a:lnTo>
                    <a:lnTo>
                      <a:pt x="97" y="28"/>
                    </a:lnTo>
                    <a:lnTo>
                      <a:pt x="81" y="56"/>
                    </a:lnTo>
                    <a:lnTo>
                      <a:pt x="52" y="127"/>
                    </a:lnTo>
                    <a:lnTo>
                      <a:pt x="32" y="119"/>
                    </a:lnTo>
                    <a:lnTo>
                      <a:pt x="14" y="127"/>
                    </a:lnTo>
                    <a:lnTo>
                      <a:pt x="0" y="162"/>
                    </a:lnTo>
                    <a:lnTo>
                      <a:pt x="6" y="172"/>
                    </a:lnTo>
                    <a:lnTo>
                      <a:pt x="22" y="172"/>
                    </a:lnTo>
                    <a:lnTo>
                      <a:pt x="20" y="205"/>
                    </a:lnTo>
                    <a:lnTo>
                      <a:pt x="85" y="205"/>
                    </a:lnTo>
                    <a:lnTo>
                      <a:pt x="134" y="215"/>
                    </a:lnTo>
                    <a:lnTo>
                      <a:pt x="138" y="192"/>
                    </a:lnTo>
                    <a:lnTo>
                      <a:pt x="105" y="176"/>
                    </a:lnTo>
                    <a:lnTo>
                      <a:pt x="103" y="152"/>
                    </a:lnTo>
                    <a:lnTo>
                      <a:pt x="123" y="107"/>
                    </a:lnTo>
                    <a:lnTo>
                      <a:pt x="103" y="63"/>
                    </a:lnTo>
                    <a:lnTo>
                      <a:pt x="126" y="56"/>
                    </a:lnTo>
                    <a:lnTo>
                      <a:pt x="11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6" name="Freeform 35">
                <a:extLst>
                  <a:ext uri="{FF2B5EF4-FFF2-40B4-BE49-F238E27FC236}">
                    <a16:creationId xmlns:a16="http://schemas.microsoft.com/office/drawing/2014/main" id="{963B2454-4582-49E4-9F09-3E353ABA4845}"/>
                  </a:ext>
                </a:extLst>
              </p:cNvPr>
              <p:cNvSpPr>
                <a:spLocks/>
              </p:cNvSpPr>
              <p:nvPr/>
            </p:nvSpPr>
            <p:spPr bwMode="auto">
              <a:xfrm>
                <a:off x="4300527" y="2793403"/>
                <a:ext cx="270088" cy="254964"/>
              </a:xfrm>
              <a:custGeom>
                <a:avLst/>
                <a:gdLst>
                  <a:gd name="T0" fmla="*/ 228600 w 195"/>
                  <a:gd name="T1" fmla="*/ 6350 h 173"/>
                  <a:gd name="T2" fmla="*/ 200025 w 195"/>
                  <a:gd name="T3" fmla="*/ 17462 h 173"/>
                  <a:gd name="T4" fmla="*/ 174625 w 195"/>
                  <a:gd name="T5" fmla="*/ 39687 h 173"/>
                  <a:gd name="T6" fmla="*/ 138113 w 195"/>
                  <a:gd name="T7" fmla="*/ 14287 h 173"/>
                  <a:gd name="T8" fmla="*/ 122238 w 195"/>
                  <a:gd name="T9" fmla="*/ 23812 h 173"/>
                  <a:gd name="T10" fmla="*/ 68263 w 195"/>
                  <a:gd name="T11" fmla="*/ 0 h 173"/>
                  <a:gd name="T12" fmla="*/ 34925 w 195"/>
                  <a:gd name="T13" fmla="*/ 17462 h 173"/>
                  <a:gd name="T14" fmla="*/ 22225 w 195"/>
                  <a:gd name="T15" fmla="*/ 58737 h 173"/>
                  <a:gd name="T16" fmla="*/ 31750 w 195"/>
                  <a:gd name="T17" fmla="*/ 90487 h 173"/>
                  <a:gd name="T18" fmla="*/ 0 w 195"/>
                  <a:gd name="T19" fmla="*/ 161925 h 173"/>
                  <a:gd name="T20" fmla="*/ 0 w 195"/>
                  <a:gd name="T21" fmla="*/ 215900 h 173"/>
                  <a:gd name="T22" fmla="*/ 52388 w 195"/>
                  <a:gd name="T23" fmla="*/ 230187 h 173"/>
                  <a:gd name="T24" fmla="*/ 84138 w 195"/>
                  <a:gd name="T25" fmla="*/ 271462 h 173"/>
                  <a:gd name="T26" fmla="*/ 155575 w 195"/>
                  <a:gd name="T27" fmla="*/ 274637 h 173"/>
                  <a:gd name="T28" fmla="*/ 177800 w 195"/>
                  <a:gd name="T29" fmla="*/ 219075 h 173"/>
                  <a:gd name="T30" fmla="*/ 206375 w 195"/>
                  <a:gd name="T31" fmla="*/ 206375 h 173"/>
                  <a:gd name="T32" fmla="*/ 238125 w 195"/>
                  <a:gd name="T33" fmla="*/ 219075 h 173"/>
                  <a:gd name="T34" fmla="*/ 284163 w 195"/>
                  <a:gd name="T35" fmla="*/ 106362 h 173"/>
                  <a:gd name="T36" fmla="*/ 309563 w 195"/>
                  <a:gd name="T37" fmla="*/ 61912 h 173"/>
                  <a:gd name="T38" fmla="*/ 306388 w 195"/>
                  <a:gd name="T39" fmla="*/ 36512 h 173"/>
                  <a:gd name="T40" fmla="*/ 284163 w 195"/>
                  <a:gd name="T41" fmla="*/ 17462 h 173"/>
                  <a:gd name="T42" fmla="*/ 265113 w 195"/>
                  <a:gd name="T43" fmla="*/ 26987 h 173"/>
                  <a:gd name="T44" fmla="*/ 228600 w 195"/>
                  <a:gd name="T45" fmla="*/ 6350 h 173"/>
                  <a:gd name="T46" fmla="*/ 228600 w 195"/>
                  <a:gd name="T47" fmla="*/ 6350 h 1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5"/>
                  <a:gd name="T73" fmla="*/ 0 h 173"/>
                  <a:gd name="T74" fmla="*/ 195 w 195"/>
                  <a:gd name="T75" fmla="*/ 173 h 1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5" h="173">
                    <a:moveTo>
                      <a:pt x="144" y="4"/>
                    </a:moveTo>
                    <a:lnTo>
                      <a:pt x="126" y="11"/>
                    </a:lnTo>
                    <a:lnTo>
                      <a:pt x="110" y="25"/>
                    </a:lnTo>
                    <a:lnTo>
                      <a:pt x="87" y="9"/>
                    </a:lnTo>
                    <a:lnTo>
                      <a:pt x="77" y="15"/>
                    </a:lnTo>
                    <a:lnTo>
                      <a:pt x="43" y="0"/>
                    </a:lnTo>
                    <a:lnTo>
                      <a:pt x="22" y="11"/>
                    </a:lnTo>
                    <a:lnTo>
                      <a:pt x="14" y="37"/>
                    </a:lnTo>
                    <a:lnTo>
                      <a:pt x="20" y="57"/>
                    </a:lnTo>
                    <a:lnTo>
                      <a:pt x="0" y="102"/>
                    </a:lnTo>
                    <a:lnTo>
                      <a:pt x="0" y="136"/>
                    </a:lnTo>
                    <a:lnTo>
                      <a:pt x="33" y="145"/>
                    </a:lnTo>
                    <a:lnTo>
                      <a:pt x="53" y="171"/>
                    </a:lnTo>
                    <a:lnTo>
                      <a:pt x="98" y="173"/>
                    </a:lnTo>
                    <a:lnTo>
                      <a:pt x="112" y="138"/>
                    </a:lnTo>
                    <a:lnTo>
                      <a:pt x="130" y="130"/>
                    </a:lnTo>
                    <a:lnTo>
                      <a:pt x="150" y="138"/>
                    </a:lnTo>
                    <a:lnTo>
                      <a:pt x="179" y="67"/>
                    </a:lnTo>
                    <a:lnTo>
                      <a:pt x="195" y="39"/>
                    </a:lnTo>
                    <a:lnTo>
                      <a:pt x="193" y="23"/>
                    </a:lnTo>
                    <a:lnTo>
                      <a:pt x="179" y="11"/>
                    </a:lnTo>
                    <a:lnTo>
                      <a:pt x="167" y="17"/>
                    </a:lnTo>
                    <a:lnTo>
                      <a:pt x="144"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7" name="Freeform 36">
                <a:extLst>
                  <a:ext uri="{FF2B5EF4-FFF2-40B4-BE49-F238E27FC236}">
                    <a16:creationId xmlns:a16="http://schemas.microsoft.com/office/drawing/2014/main" id="{A546AD64-A4D3-4B24-A530-6EC31A21D49F}"/>
                  </a:ext>
                </a:extLst>
              </p:cNvPr>
              <p:cNvSpPr>
                <a:spLocks/>
              </p:cNvSpPr>
              <p:nvPr/>
            </p:nvSpPr>
            <p:spPr bwMode="auto">
              <a:xfrm>
                <a:off x="4256205" y="2833194"/>
                <a:ext cx="72024" cy="163590"/>
              </a:xfrm>
              <a:custGeom>
                <a:avLst/>
                <a:gdLst>
                  <a:gd name="T0" fmla="*/ 19050 w 52"/>
                  <a:gd name="T1" fmla="*/ 25400 h 111"/>
                  <a:gd name="T2" fmla="*/ 0 w 52"/>
                  <a:gd name="T3" fmla="*/ 38100 h 111"/>
                  <a:gd name="T4" fmla="*/ 19050 w 52"/>
                  <a:gd name="T5" fmla="*/ 106363 h 111"/>
                  <a:gd name="T6" fmla="*/ 19050 w 52"/>
                  <a:gd name="T7" fmla="*/ 176213 h 111"/>
                  <a:gd name="T8" fmla="*/ 50800 w 52"/>
                  <a:gd name="T9" fmla="*/ 173038 h 111"/>
                  <a:gd name="T10" fmla="*/ 50800 w 52"/>
                  <a:gd name="T11" fmla="*/ 119063 h 111"/>
                  <a:gd name="T12" fmla="*/ 82550 w 52"/>
                  <a:gd name="T13" fmla="*/ 47625 h 111"/>
                  <a:gd name="T14" fmla="*/ 73025 w 52"/>
                  <a:gd name="T15" fmla="*/ 15875 h 111"/>
                  <a:gd name="T16" fmla="*/ 44450 w 52"/>
                  <a:gd name="T17" fmla="*/ 0 h 111"/>
                  <a:gd name="T18" fmla="*/ 31750 w 52"/>
                  <a:gd name="T19" fmla="*/ 25400 h 111"/>
                  <a:gd name="T20" fmla="*/ 19050 w 52"/>
                  <a:gd name="T21" fmla="*/ 25400 h 111"/>
                  <a:gd name="T22" fmla="*/ 19050 w 52"/>
                  <a:gd name="T23" fmla="*/ 25400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111"/>
                  <a:gd name="T38" fmla="*/ 52 w 52"/>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111">
                    <a:moveTo>
                      <a:pt x="12" y="16"/>
                    </a:moveTo>
                    <a:lnTo>
                      <a:pt x="0" y="24"/>
                    </a:lnTo>
                    <a:lnTo>
                      <a:pt x="12" y="67"/>
                    </a:lnTo>
                    <a:lnTo>
                      <a:pt x="12" y="111"/>
                    </a:lnTo>
                    <a:lnTo>
                      <a:pt x="32" y="109"/>
                    </a:lnTo>
                    <a:lnTo>
                      <a:pt x="32" y="75"/>
                    </a:lnTo>
                    <a:lnTo>
                      <a:pt x="52" y="30"/>
                    </a:lnTo>
                    <a:lnTo>
                      <a:pt x="46" y="10"/>
                    </a:lnTo>
                    <a:lnTo>
                      <a:pt x="28" y="0"/>
                    </a:lnTo>
                    <a:lnTo>
                      <a:pt x="20" y="16"/>
                    </a:lnTo>
                    <a:lnTo>
                      <a:pt x="12"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8" name="Freeform 37">
                <a:extLst>
                  <a:ext uri="{FF2B5EF4-FFF2-40B4-BE49-F238E27FC236}">
                    <a16:creationId xmlns:a16="http://schemas.microsoft.com/office/drawing/2014/main" id="{8FC436CE-7AF9-4BCC-B73C-120BE1B078F2}"/>
                  </a:ext>
                </a:extLst>
              </p:cNvPr>
              <p:cNvSpPr>
                <a:spLocks/>
              </p:cNvSpPr>
              <p:nvPr/>
            </p:nvSpPr>
            <p:spPr bwMode="auto">
              <a:xfrm>
                <a:off x="4227120" y="2868565"/>
                <a:ext cx="45707" cy="135588"/>
              </a:xfrm>
              <a:custGeom>
                <a:avLst/>
                <a:gdLst>
                  <a:gd name="T0" fmla="*/ 52387 w 33"/>
                  <a:gd name="T1" fmla="*/ 68263 h 92"/>
                  <a:gd name="T2" fmla="*/ 33337 w 33"/>
                  <a:gd name="T3" fmla="*/ 0 h 92"/>
                  <a:gd name="T4" fmla="*/ 0 w 33"/>
                  <a:gd name="T5" fmla="*/ 0 h 92"/>
                  <a:gd name="T6" fmla="*/ 23812 w 33"/>
                  <a:gd name="T7" fmla="*/ 65088 h 92"/>
                  <a:gd name="T8" fmla="*/ 23812 w 33"/>
                  <a:gd name="T9" fmla="*/ 106363 h 92"/>
                  <a:gd name="T10" fmla="*/ 36512 w 33"/>
                  <a:gd name="T11" fmla="*/ 146050 h 92"/>
                  <a:gd name="T12" fmla="*/ 52387 w 33"/>
                  <a:gd name="T13" fmla="*/ 138113 h 92"/>
                  <a:gd name="T14" fmla="*/ 52387 w 33"/>
                  <a:gd name="T15" fmla="*/ 68263 h 92"/>
                  <a:gd name="T16" fmla="*/ 52387 w 33"/>
                  <a:gd name="T17" fmla="*/ 68263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92"/>
                  <a:gd name="T29" fmla="*/ 33 w 33"/>
                  <a:gd name="T30" fmla="*/ 92 h 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92">
                    <a:moveTo>
                      <a:pt x="33" y="43"/>
                    </a:moveTo>
                    <a:lnTo>
                      <a:pt x="21" y="0"/>
                    </a:lnTo>
                    <a:lnTo>
                      <a:pt x="0" y="0"/>
                    </a:lnTo>
                    <a:lnTo>
                      <a:pt x="15" y="41"/>
                    </a:lnTo>
                    <a:lnTo>
                      <a:pt x="15" y="67"/>
                    </a:lnTo>
                    <a:lnTo>
                      <a:pt x="23" y="92"/>
                    </a:lnTo>
                    <a:lnTo>
                      <a:pt x="33" y="87"/>
                    </a:lnTo>
                    <a:lnTo>
                      <a:pt x="33" y="4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9" name="Freeform 38">
                <a:extLst>
                  <a:ext uri="{FF2B5EF4-FFF2-40B4-BE49-F238E27FC236}">
                    <a16:creationId xmlns:a16="http://schemas.microsoft.com/office/drawing/2014/main" id="{E7476D5C-3508-45C4-970D-59FA8CEF863C}"/>
                  </a:ext>
                </a:extLst>
              </p:cNvPr>
              <p:cNvSpPr>
                <a:spLocks/>
              </p:cNvSpPr>
              <p:nvPr/>
            </p:nvSpPr>
            <p:spPr bwMode="auto">
              <a:xfrm>
                <a:off x="4150942" y="2868565"/>
                <a:ext cx="108036" cy="176853"/>
              </a:xfrm>
              <a:custGeom>
                <a:avLst/>
                <a:gdLst>
                  <a:gd name="T0" fmla="*/ 87312 w 78"/>
                  <a:gd name="T1" fmla="*/ 0 h 120"/>
                  <a:gd name="T2" fmla="*/ 14288 w 78"/>
                  <a:gd name="T3" fmla="*/ 0 h 120"/>
                  <a:gd name="T4" fmla="*/ 14288 w 78"/>
                  <a:gd name="T5" fmla="*/ 39688 h 120"/>
                  <a:gd name="T6" fmla="*/ 23812 w 78"/>
                  <a:gd name="T7" fmla="*/ 80963 h 120"/>
                  <a:gd name="T8" fmla="*/ 0 w 78"/>
                  <a:gd name="T9" fmla="*/ 131763 h 120"/>
                  <a:gd name="T10" fmla="*/ 14288 w 78"/>
                  <a:gd name="T11" fmla="*/ 165100 h 120"/>
                  <a:gd name="T12" fmla="*/ 7937 w 78"/>
                  <a:gd name="T13" fmla="*/ 190500 h 120"/>
                  <a:gd name="T14" fmla="*/ 123825 w 78"/>
                  <a:gd name="T15" fmla="*/ 146050 h 120"/>
                  <a:gd name="T16" fmla="*/ 111125 w 78"/>
                  <a:gd name="T17" fmla="*/ 106363 h 120"/>
                  <a:gd name="T18" fmla="*/ 111125 w 78"/>
                  <a:gd name="T19" fmla="*/ 65088 h 120"/>
                  <a:gd name="T20" fmla="*/ 87312 w 78"/>
                  <a:gd name="T21" fmla="*/ 0 h 120"/>
                  <a:gd name="T22" fmla="*/ 87312 w 78"/>
                  <a:gd name="T23" fmla="*/ 0 h 1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
                  <a:gd name="T37" fmla="*/ 0 h 120"/>
                  <a:gd name="T38" fmla="*/ 78 w 78"/>
                  <a:gd name="T39" fmla="*/ 120 h 1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 h="120">
                    <a:moveTo>
                      <a:pt x="55" y="0"/>
                    </a:moveTo>
                    <a:lnTo>
                      <a:pt x="9" y="0"/>
                    </a:lnTo>
                    <a:lnTo>
                      <a:pt x="9" y="25"/>
                    </a:lnTo>
                    <a:lnTo>
                      <a:pt x="15" y="51"/>
                    </a:lnTo>
                    <a:lnTo>
                      <a:pt x="0" y="83"/>
                    </a:lnTo>
                    <a:lnTo>
                      <a:pt x="9" y="104"/>
                    </a:lnTo>
                    <a:lnTo>
                      <a:pt x="5" y="120"/>
                    </a:lnTo>
                    <a:lnTo>
                      <a:pt x="78" y="92"/>
                    </a:lnTo>
                    <a:lnTo>
                      <a:pt x="70" y="67"/>
                    </a:lnTo>
                    <a:lnTo>
                      <a:pt x="70" y="41"/>
                    </a:lnTo>
                    <a:lnTo>
                      <a:pt x="55"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0" name="Freeform 39">
                <a:extLst>
                  <a:ext uri="{FF2B5EF4-FFF2-40B4-BE49-F238E27FC236}">
                    <a16:creationId xmlns:a16="http://schemas.microsoft.com/office/drawing/2014/main" id="{CAA2D5FD-65FB-4950-9F73-0D0977B5F384}"/>
                  </a:ext>
                </a:extLst>
              </p:cNvPr>
              <p:cNvSpPr>
                <a:spLocks/>
              </p:cNvSpPr>
              <p:nvPr/>
            </p:nvSpPr>
            <p:spPr bwMode="auto">
              <a:xfrm>
                <a:off x="4807461" y="2276106"/>
                <a:ext cx="270088" cy="287387"/>
              </a:xfrm>
              <a:custGeom>
                <a:avLst/>
                <a:gdLst>
                  <a:gd name="T0" fmla="*/ 212725 w 195"/>
                  <a:gd name="T1" fmla="*/ 87313 h 195"/>
                  <a:gd name="T2" fmla="*/ 196850 w 195"/>
                  <a:gd name="T3" fmla="*/ 42863 h 195"/>
                  <a:gd name="T4" fmla="*/ 212725 w 195"/>
                  <a:gd name="T5" fmla="*/ 87313 h 195"/>
                  <a:gd name="T6" fmla="*/ 228600 w 195"/>
                  <a:gd name="T7" fmla="*/ 87313 h 195"/>
                  <a:gd name="T8" fmla="*/ 257175 w 195"/>
                  <a:gd name="T9" fmla="*/ 125413 h 195"/>
                  <a:gd name="T10" fmla="*/ 282575 w 195"/>
                  <a:gd name="T11" fmla="*/ 71438 h 195"/>
                  <a:gd name="T12" fmla="*/ 247650 w 195"/>
                  <a:gd name="T13" fmla="*/ 0 h 195"/>
                  <a:gd name="T14" fmla="*/ 200025 w 195"/>
                  <a:gd name="T15" fmla="*/ 19050 h 195"/>
                  <a:gd name="T16" fmla="*/ 153988 w 195"/>
                  <a:gd name="T17" fmla="*/ 12700 h 195"/>
                  <a:gd name="T18" fmla="*/ 79375 w 195"/>
                  <a:gd name="T19" fmla="*/ 30163 h 195"/>
                  <a:gd name="T20" fmla="*/ 44450 w 195"/>
                  <a:gd name="T21" fmla="*/ 6350 h 195"/>
                  <a:gd name="T22" fmla="*/ 3175 w 195"/>
                  <a:gd name="T23" fmla="*/ 3175 h 195"/>
                  <a:gd name="T24" fmla="*/ 9525 w 195"/>
                  <a:gd name="T25" fmla="*/ 42863 h 195"/>
                  <a:gd name="T26" fmla="*/ 0 w 195"/>
                  <a:gd name="T27" fmla="*/ 55563 h 195"/>
                  <a:gd name="T28" fmla="*/ 22225 w 195"/>
                  <a:gd name="T29" fmla="*/ 93663 h 195"/>
                  <a:gd name="T30" fmla="*/ 25400 w 195"/>
                  <a:gd name="T31" fmla="*/ 306388 h 195"/>
                  <a:gd name="T32" fmla="*/ 273050 w 195"/>
                  <a:gd name="T33" fmla="*/ 309563 h 195"/>
                  <a:gd name="T34" fmla="*/ 309563 w 195"/>
                  <a:gd name="T35" fmla="*/ 274638 h 195"/>
                  <a:gd name="T36" fmla="*/ 309563 w 195"/>
                  <a:gd name="T37" fmla="*/ 241300 h 195"/>
                  <a:gd name="T38" fmla="*/ 266700 w 195"/>
                  <a:gd name="T39" fmla="*/ 187325 h 195"/>
                  <a:gd name="T40" fmla="*/ 247650 w 195"/>
                  <a:gd name="T41" fmla="*/ 142875 h 195"/>
                  <a:gd name="T42" fmla="*/ 212725 w 195"/>
                  <a:gd name="T43" fmla="*/ 87313 h 195"/>
                  <a:gd name="T44" fmla="*/ 212725 w 195"/>
                  <a:gd name="T45" fmla="*/ 87313 h 1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5"/>
                  <a:gd name="T70" fmla="*/ 0 h 195"/>
                  <a:gd name="T71" fmla="*/ 195 w 195"/>
                  <a:gd name="T72" fmla="*/ 195 h 1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5" h="195">
                    <a:moveTo>
                      <a:pt x="134" y="55"/>
                    </a:moveTo>
                    <a:lnTo>
                      <a:pt x="124" y="27"/>
                    </a:lnTo>
                    <a:lnTo>
                      <a:pt x="134" y="55"/>
                    </a:lnTo>
                    <a:lnTo>
                      <a:pt x="144" y="55"/>
                    </a:lnTo>
                    <a:lnTo>
                      <a:pt x="162" y="79"/>
                    </a:lnTo>
                    <a:lnTo>
                      <a:pt x="178" y="45"/>
                    </a:lnTo>
                    <a:lnTo>
                      <a:pt x="156" y="0"/>
                    </a:lnTo>
                    <a:lnTo>
                      <a:pt x="126" y="12"/>
                    </a:lnTo>
                    <a:lnTo>
                      <a:pt x="97" y="8"/>
                    </a:lnTo>
                    <a:lnTo>
                      <a:pt x="50" y="19"/>
                    </a:lnTo>
                    <a:lnTo>
                      <a:pt x="28" y="4"/>
                    </a:lnTo>
                    <a:lnTo>
                      <a:pt x="2" y="2"/>
                    </a:lnTo>
                    <a:lnTo>
                      <a:pt x="6" y="27"/>
                    </a:lnTo>
                    <a:lnTo>
                      <a:pt x="0" y="35"/>
                    </a:lnTo>
                    <a:lnTo>
                      <a:pt x="14" y="59"/>
                    </a:lnTo>
                    <a:lnTo>
                      <a:pt x="16" y="193"/>
                    </a:lnTo>
                    <a:lnTo>
                      <a:pt x="172" y="195"/>
                    </a:lnTo>
                    <a:lnTo>
                      <a:pt x="195" y="173"/>
                    </a:lnTo>
                    <a:lnTo>
                      <a:pt x="195" y="152"/>
                    </a:lnTo>
                    <a:lnTo>
                      <a:pt x="168" y="118"/>
                    </a:lnTo>
                    <a:lnTo>
                      <a:pt x="156" y="90"/>
                    </a:lnTo>
                    <a:lnTo>
                      <a:pt x="134" y="5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1" name="Freeform 40">
                <a:extLst>
                  <a:ext uri="{FF2B5EF4-FFF2-40B4-BE49-F238E27FC236}">
                    <a16:creationId xmlns:a16="http://schemas.microsoft.com/office/drawing/2014/main" id="{B1031F1F-CB28-4615-A0B2-BEF3775E3507}"/>
                  </a:ext>
                </a:extLst>
              </p:cNvPr>
              <p:cNvSpPr>
                <a:spLocks/>
              </p:cNvSpPr>
              <p:nvPr/>
            </p:nvSpPr>
            <p:spPr bwMode="auto">
              <a:xfrm>
                <a:off x="4455655" y="2246630"/>
                <a:ext cx="376737" cy="386130"/>
              </a:xfrm>
              <a:custGeom>
                <a:avLst/>
                <a:gdLst>
                  <a:gd name="T0" fmla="*/ 128587 w 272"/>
                  <a:gd name="T1" fmla="*/ 15875 h 262"/>
                  <a:gd name="T2" fmla="*/ 47625 w 272"/>
                  <a:gd name="T3" fmla="*/ 0 h 262"/>
                  <a:gd name="T4" fmla="*/ 44450 w 272"/>
                  <a:gd name="T5" fmla="*/ 22225 h 262"/>
                  <a:gd name="T6" fmla="*/ 22225 w 272"/>
                  <a:gd name="T7" fmla="*/ 34925 h 262"/>
                  <a:gd name="T8" fmla="*/ 25400 w 272"/>
                  <a:gd name="T9" fmla="*/ 65087 h 262"/>
                  <a:gd name="T10" fmla="*/ 0 w 272"/>
                  <a:gd name="T11" fmla="*/ 96837 h 262"/>
                  <a:gd name="T12" fmla="*/ 15875 w 272"/>
                  <a:gd name="T13" fmla="*/ 250825 h 262"/>
                  <a:gd name="T14" fmla="*/ 60325 w 272"/>
                  <a:gd name="T15" fmla="*/ 269875 h 262"/>
                  <a:gd name="T16" fmla="*/ 60325 w 272"/>
                  <a:gd name="T17" fmla="*/ 290512 h 262"/>
                  <a:gd name="T18" fmla="*/ 87312 w 272"/>
                  <a:gd name="T19" fmla="*/ 287337 h 262"/>
                  <a:gd name="T20" fmla="*/ 109537 w 272"/>
                  <a:gd name="T21" fmla="*/ 296862 h 262"/>
                  <a:gd name="T22" fmla="*/ 134937 w 272"/>
                  <a:gd name="T23" fmla="*/ 315912 h 262"/>
                  <a:gd name="T24" fmla="*/ 157162 w 272"/>
                  <a:gd name="T25" fmla="*/ 309562 h 262"/>
                  <a:gd name="T26" fmla="*/ 184150 w 272"/>
                  <a:gd name="T27" fmla="*/ 296862 h 262"/>
                  <a:gd name="T28" fmla="*/ 406400 w 272"/>
                  <a:gd name="T29" fmla="*/ 415925 h 262"/>
                  <a:gd name="T30" fmla="*/ 406400 w 272"/>
                  <a:gd name="T31" fmla="*/ 393700 h 262"/>
                  <a:gd name="T32" fmla="*/ 431800 w 272"/>
                  <a:gd name="T33" fmla="*/ 384175 h 262"/>
                  <a:gd name="T34" fmla="*/ 425450 w 272"/>
                  <a:gd name="T35" fmla="*/ 125412 h 262"/>
                  <a:gd name="T36" fmla="*/ 403225 w 272"/>
                  <a:gd name="T37" fmla="*/ 87312 h 262"/>
                  <a:gd name="T38" fmla="*/ 412750 w 272"/>
                  <a:gd name="T39" fmla="*/ 74612 h 262"/>
                  <a:gd name="T40" fmla="*/ 406400 w 272"/>
                  <a:gd name="T41" fmla="*/ 34925 h 262"/>
                  <a:gd name="T42" fmla="*/ 347662 w 272"/>
                  <a:gd name="T43" fmla="*/ 28575 h 262"/>
                  <a:gd name="T44" fmla="*/ 334962 w 272"/>
                  <a:gd name="T45" fmla="*/ 3175 h 262"/>
                  <a:gd name="T46" fmla="*/ 312737 w 272"/>
                  <a:gd name="T47" fmla="*/ 0 h 262"/>
                  <a:gd name="T48" fmla="*/ 260350 w 272"/>
                  <a:gd name="T49" fmla="*/ 22225 h 262"/>
                  <a:gd name="T50" fmla="*/ 269875 w 272"/>
                  <a:gd name="T51" fmla="*/ 57150 h 262"/>
                  <a:gd name="T52" fmla="*/ 263525 w 272"/>
                  <a:gd name="T53" fmla="*/ 84137 h 262"/>
                  <a:gd name="T54" fmla="*/ 180975 w 272"/>
                  <a:gd name="T55" fmla="*/ 53975 h 262"/>
                  <a:gd name="T56" fmla="*/ 144462 w 272"/>
                  <a:gd name="T57" fmla="*/ 50800 h 262"/>
                  <a:gd name="T58" fmla="*/ 128587 w 272"/>
                  <a:gd name="T59" fmla="*/ 15875 h 262"/>
                  <a:gd name="T60" fmla="*/ 128587 w 272"/>
                  <a:gd name="T61" fmla="*/ 15875 h 2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72"/>
                  <a:gd name="T94" fmla="*/ 0 h 262"/>
                  <a:gd name="T95" fmla="*/ 272 w 272"/>
                  <a:gd name="T96" fmla="*/ 262 h 2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72" h="262">
                    <a:moveTo>
                      <a:pt x="81" y="10"/>
                    </a:moveTo>
                    <a:lnTo>
                      <a:pt x="30" y="0"/>
                    </a:lnTo>
                    <a:lnTo>
                      <a:pt x="28" y="14"/>
                    </a:lnTo>
                    <a:lnTo>
                      <a:pt x="14" y="22"/>
                    </a:lnTo>
                    <a:lnTo>
                      <a:pt x="16" y="41"/>
                    </a:lnTo>
                    <a:lnTo>
                      <a:pt x="0" y="61"/>
                    </a:lnTo>
                    <a:lnTo>
                      <a:pt x="10" y="158"/>
                    </a:lnTo>
                    <a:lnTo>
                      <a:pt x="38" y="170"/>
                    </a:lnTo>
                    <a:lnTo>
                      <a:pt x="38" y="183"/>
                    </a:lnTo>
                    <a:lnTo>
                      <a:pt x="55" y="181"/>
                    </a:lnTo>
                    <a:lnTo>
                      <a:pt x="69" y="187"/>
                    </a:lnTo>
                    <a:lnTo>
                      <a:pt x="85" y="199"/>
                    </a:lnTo>
                    <a:lnTo>
                      <a:pt x="99" y="195"/>
                    </a:lnTo>
                    <a:lnTo>
                      <a:pt x="116" y="187"/>
                    </a:lnTo>
                    <a:lnTo>
                      <a:pt x="256" y="262"/>
                    </a:lnTo>
                    <a:lnTo>
                      <a:pt x="256" y="248"/>
                    </a:lnTo>
                    <a:lnTo>
                      <a:pt x="272" y="242"/>
                    </a:lnTo>
                    <a:lnTo>
                      <a:pt x="268" y="79"/>
                    </a:lnTo>
                    <a:lnTo>
                      <a:pt x="254" y="55"/>
                    </a:lnTo>
                    <a:lnTo>
                      <a:pt x="260" y="47"/>
                    </a:lnTo>
                    <a:lnTo>
                      <a:pt x="256" y="22"/>
                    </a:lnTo>
                    <a:lnTo>
                      <a:pt x="219" y="18"/>
                    </a:lnTo>
                    <a:lnTo>
                      <a:pt x="211" y="2"/>
                    </a:lnTo>
                    <a:lnTo>
                      <a:pt x="197" y="0"/>
                    </a:lnTo>
                    <a:lnTo>
                      <a:pt x="164" y="14"/>
                    </a:lnTo>
                    <a:lnTo>
                      <a:pt x="170" y="36"/>
                    </a:lnTo>
                    <a:lnTo>
                      <a:pt x="166" y="53"/>
                    </a:lnTo>
                    <a:lnTo>
                      <a:pt x="114" y="34"/>
                    </a:lnTo>
                    <a:lnTo>
                      <a:pt x="91" y="32"/>
                    </a:lnTo>
                    <a:lnTo>
                      <a:pt x="81" y="1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2" name="Freeform 41">
                <a:extLst>
                  <a:ext uri="{FF2B5EF4-FFF2-40B4-BE49-F238E27FC236}">
                    <a16:creationId xmlns:a16="http://schemas.microsoft.com/office/drawing/2014/main" id="{D8ECD4C1-11EB-4BFF-B240-FEB00A068F51}"/>
                  </a:ext>
                </a:extLst>
              </p:cNvPr>
              <p:cNvSpPr>
                <a:spLocks/>
              </p:cNvSpPr>
              <p:nvPr/>
            </p:nvSpPr>
            <p:spPr bwMode="auto">
              <a:xfrm>
                <a:off x="4409949" y="2124307"/>
                <a:ext cx="87258" cy="212224"/>
              </a:xfrm>
              <a:custGeom>
                <a:avLst/>
                <a:gdLst>
                  <a:gd name="T0" fmla="*/ 61912 w 63"/>
                  <a:gd name="T1" fmla="*/ 31750 h 144"/>
                  <a:gd name="T2" fmla="*/ 61912 w 63"/>
                  <a:gd name="T3" fmla="*/ 15875 h 144"/>
                  <a:gd name="T4" fmla="*/ 26987 w 63"/>
                  <a:gd name="T5" fmla="*/ 0 h 144"/>
                  <a:gd name="T6" fmla="*/ 0 w 63"/>
                  <a:gd name="T7" fmla="*/ 115887 h 144"/>
                  <a:gd name="T8" fmla="*/ 52387 w 63"/>
                  <a:gd name="T9" fmla="*/ 228600 h 144"/>
                  <a:gd name="T10" fmla="*/ 77787 w 63"/>
                  <a:gd name="T11" fmla="*/ 196850 h 144"/>
                  <a:gd name="T12" fmla="*/ 74612 w 63"/>
                  <a:gd name="T13" fmla="*/ 166687 h 144"/>
                  <a:gd name="T14" fmla="*/ 96837 w 63"/>
                  <a:gd name="T15" fmla="*/ 153987 h 144"/>
                  <a:gd name="T16" fmla="*/ 100012 w 63"/>
                  <a:gd name="T17" fmla="*/ 131762 h 144"/>
                  <a:gd name="T18" fmla="*/ 46037 w 63"/>
                  <a:gd name="T19" fmla="*/ 100012 h 144"/>
                  <a:gd name="T20" fmla="*/ 68262 w 63"/>
                  <a:gd name="T21" fmla="*/ 66675 h 144"/>
                  <a:gd name="T22" fmla="*/ 52387 w 63"/>
                  <a:gd name="T23" fmla="*/ 41275 h 144"/>
                  <a:gd name="T24" fmla="*/ 61912 w 63"/>
                  <a:gd name="T25" fmla="*/ 31750 h 144"/>
                  <a:gd name="T26" fmla="*/ 61912 w 63"/>
                  <a:gd name="T27" fmla="*/ 31750 h 1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3"/>
                  <a:gd name="T43" fmla="*/ 0 h 144"/>
                  <a:gd name="T44" fmla="*/ 63 w 63"/>
                  <a:gd name="T45" fmla="*/ 144 h 1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3" h="144">
                    <a:moveTo>
                      <a:pt x="39" y="20"/>
                    </a:moveTo>
                    <a:lnTo>
                      <a:pt x="39" y="10"/>
                    </a:lnTo>
                    <a:lnTo>
                      <a:pt x="17" y="0"/>
                    </a:lnTo>
                    <a:lnTo>
                      <a:pt x="0" y="73"/>
                    </a:lnTo>
                    <a:lnTo>
                      <a:pt x="33" y="144"/>
                    </a:lnTo>
                    <a:lnTo>
                      <a:pt x="49" y="124"/>
                    </a:lnTo>
                    <a:lnTo>
                      <a:pt x="47" y="105"/>
                    </a:lnTo>
                    <a:lnTo>
                      <a:pt x="61" y="97"/>
                    </a:lnTo>
                    <a:lnTo>
                      <a:pt x="63" y="83"/>
                    </a:lnTo>
                    <a:lnTo>
                      <a:pt x="29" y="63"/>
                    </a:lnTo>
                    <a:lnTo>
                      <a:pt x="43" y="42"/>
                    </a:lnTo>
                    <a:lnTo>
                      <a:pt x="33" y="26"/>
                    </a:lnTo>
                    <a:lnTo>
                      <a:pt x="39" y="2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3" name="Freeform 42">
                <a:extLst>
                  <a:ext uri="{FF2B5EF4-FFF2-40B4-BE49-F238E27FC236}">
                    <a16:creationId xmlns:a16="http://schemas.microsoft.com/office/drawing/2014/main" id="{908DF93E-0E51-489D-8B85-2023C1752B33}"/>
                  </a:ext>
                </a:extLst>
              </p:cNvPr>
              <p:cNvSpPr>
                <a:spLocks/>
              </p:cNvSpPr>
              <p:nvPr/>
            </p:nvSpPr>
            <p:spPr bwMode="auto">
              <a:xfrm>
                <a:off x="4024900" y="2124307"/>
                <a:ext cx="483386" cy="520244"/>
              </a:xfrm>
              <a:custGeom>
                <a:avLst/>
                <a:gdLst>
                  <a:gd name="T0" fmla="*/ 554037 w 349"/>
                  <a:gd name="T1" fmla="*/ 422275 h 353"/>
                  <a:gd name="T2" fmla="*/ 554037 w 349"/>
                  <a:gd name="T3" fmla="*/ 401637 h 353"/>
                  <a:gd name="T4" fmla="*/ 509587 w 349"/>
                  <a:gd name="T5" fmla="*/ 382587 h 353"/>
                  <a:gd name="T6" fmla="*/ 493712 w 349"/>
                  <a:gd name="T7" fmla="*/ 228600 h 353"/>
                  <a:gd name="T8" fmla="*/ 441325 w 349"/>
                  <a:gd name="T9" fmla="*/ 115887 h 353"/>
                  <a:gd name="T10" fmla="*/ 468312 w 349"/>
                  <a:gd name="T11" fmla="*/ 0 h 353"/>
                  <a:gd name="T12" fmla="*/ 280987 w 349"/>
                  <a:gd name="T13" fmla="*/ 22225 h 353"/>
                  <a:gd name="T14" fmla="*/ 168275 w 349"/>
                  <a:gd name="T15" fmla="*/ 57150 h 353"/>
                  <a:gd name="T16" fmla="*/ 168275 w 349"/>
                  <a:gd name="T17" fmla="*/ 82550 h 353"/>
                  <a:gd name="T18" fmla="*/ 193675 w 349"/>
                  <a:gd name="T19" fmla="*/ 82550 h 353"/>
                  <a:gd name="T20" fmla="*/ 193675 w 349"/>
                  <a:gd name="T21" fmla="*/ 134937 h 353"/>
                  <a:gd name="T22" fmla="*/ 209550 w 349"/>
                  <a:gd name="T23" fmla="*/ 144462 h 353"/>
                  <a:gd name="T24" fmla="*/ 209550 w 349"/>
                  <a:gd name="T25" fmla="*/ 163512 h 353"/>
                  <a:gd name="T26" fmla="*/ 174625 w 349"/>
                  <a:gd name="T27" fmla="*/ 153987 h 353"/>
                  <a:gd name="T28" fmla="*/ 87312 w 349"/>
                  <a:gd name="T29" fmla="*/ 241300 h 353"/>
                  <a:gd name="T30" fmla="*/ 42862 w 349"/>
                  <a:gd name="T31" fmla="*/ 241300 h 353"/>
                  <a:gd name="T32" fmla="*/ 0 w 349"/>
                  <a:gd name="T33" fmla="*/ 266700 h 353"/>
                  <a:gd name="T34" fmla="*/ 0 w 349"/>
                  <a:gd name="T35" fmla="*/ 303212 h 353"/>
                  <a:gd name="T36" fmla="*/ 106362 w 349"/>
                  <a:gd name="T37" fmla="*/ 385762 h 353"/>
                  <a:gd name="T38" fmla="*/ 265112 w 349"/>
                  <a:gd name="T39" fmla="*/ 488950 h 353"/>
                  <a:gd name="T40" fmla="*/ 274637 w 349"/>
                  <a:gd name="T41" fmla="*/ 515937 h 353"/>
                  <a:gd name="T42" fmla="*/ 354012 w 349"/>
                  <a:gd name="T43" fmla="*/ 560387 h 353"/>
                  <a:gd name="T44" fmla="*/ 368300 w 349"/>
                  <a:gd name="T45" fmla="*/ 544512 h 353"/>
                  <a:gd name="T46" fmla="*/ 384175 w 349"/>
                  <a:gd name="T47" fmla="*/ 557212 h 353"/>
                  <a:gd name="T48" fmla="*/ 554037 w 349"/>
                  <a:gd name="T49" fmla="*/ 422275 h 353"/>
                  <a:gd name="T50" fmla="*/ 554037 w 349"/>
                  <a:gd name="T51" fmla="*/ 422275 h 3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9"/>
                  <a:gd name="T79" fmla="*/ 0 h 353"/>
                  <a:gd name="T80" fmla="*/ 349 w 349"/>
                  <a:gd name="T81" fmla="*/ 353 h 3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9" h="353">
                    <a:moveTo>
                      <a:pt x="349" y="266"/>
                    </a:moveTo>
                    <a:lnTo>
                      <a:pt x="349" y="253"/>
                    </a:lnTo>
                    <a:lnTo>
                      <a:pt x="321" y="241"/>
                    </a:lnTo>
                    <a:lnTo>
                      <a:pt x="311" y="144"/>
                    </a:lnTo>
                    <a:lnTo>
                      <a:pt x="278" y="73"/>
                    </a:lnTo>
                    <a:lnTo>
                      <a:pt x="295" y="0"/>
                    </a:lnTo>
                    <a:lnTo>
                      <a:pt x="177" y="14"/>
                    </a:lnTo>
                    <a:lnTo>
                      <a:pt x="106" y="36"/>
                    </a:lnTo>
                    <a:lnTo>
                      <a:pt x="106" y="52"/>
                    </a:lnTo>
                    <a:lnTo>
                      <a:pt x="122" y="52"/>
                    </a:lnTo>
                    <a:lnTo>
                      <a:pt x="122" y="85"/>
                    </a:lnTo>
                    <a:lnTo>
                      <a:pt x="132" y="91"/>
                    </a:lnTo>
                    <a:lnTo>
                      <a:pt x="132" y="103"/>
                    </a:lnTo>
                    <a:lnTo>
                      <a:pt x="110" y="97"/>
                    </a:lnTo>
                    <a:lnTo>
                      <a:pt x="55" y="152"/>
                    </a:lnTo>
                    <a:lnTo>
                      <a:pt x="27" y="152"/>
                    </a:lnTo>
                    <a:lnTo>
                      <a:pt x="0" y="168"/>
                    </a:lnTo>
                    <a:lnTo>
                      <a:pt x="0" y="191"/>
                    </a:lnTo>
                    <a:lnTo>
                      <a:pt x="67" y="243"/>
                    </a:lnTo>
                    <a:lnTo>
                      <a:pt x="167" y="308"/>
                    </a:lnTo>
                    <a:lnTo>
                      <a:pt x="173" y="325"/>
                    </a:lnTo>
                    <a:lnTo>
                      <a:pt x="223" y="353"/>
                    </a:lnTo>
                    <a:lnTo>
                      <a:pt x="232" y="343"/>
                    </a:lnTo>
                    <a:lnTo>
                      <a:pt x="242" y="351"/>
                    </a:lnTo>
                    <a:lnTo>
                      <a:pt x="349" y="26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4" name="Freeform 43">
                <a:extLst>
                  <a:ext uri="{FF2B5EF4-FFF2-40B4-BE49-F238E27FC236}">
                    <a16:creationId xmlns:a16="http://schemas.microsoft.com/office/drawing/2014/main" id="{44C0FCEF-3399-4132-9340-0C89E832C0DA}"/>
                  </a:ext>
                </a:extLst>
              </p:cNvPr>
              <p:cNvSpPr>
                <a:spLocks/>
              </p:cNvSpPr>
              <p:nvPr/>
            </p:nvSpPr>
            <p:spPr bwMode="auto">
              <a:xfrm>
                <a:off x="3909940" y="2168520"/>
                <a:ext cx="297789" cy="237278"/>
              </a:xfrm>
              <a:custGeom>
                <a:avLst/>
                <a:gdLst>
                  <a:gd name="T0" fmla="*/ 300038 w 215"/>
                  <a:gd name="T1" fmla="*/ 34925 h 161"/>
                  <a:gd name="T2" fmla="*/ 300038 w 215"/>
                  <a:gd name="T3" fmla="*/ 9525 h 161"/>
                  <a:gd name="T4" fmla="*/ 219075 w 215"/>
                  <a:gd name="T5" fmla="*/ 9525 h 161"/>
                  <a:gd name="T6" fmla="*/ 209550 w 215"/>
                  <a:gd name="T7" fmla="*/ 0 h 161"/>
                  <a:gd name="T8" fmla="*/ 174625 w 215"/>
                  <a:gd name="T9" fmla="*/ 71437 h 161"/>
                  <a:gd name="T10" fmla="*/ 131763 w 215"/>
                  <a:gd name="T11" fmla="*/ 80962 h 161"/>
                  <a:gd name="T12" fmla="*/ 103188 w 215"/>
                  <a:gd name="T13" fmla="*/ 96837 h 161"/>
                  <a:gd name="T14" fmla="*/ 96838 w 215"/>
                  <a:gd name="T15" fmla="*/ 96837 h 161"/>
                  <a:gd name="T16" fmla="*/ 96838 w 215"/>
                  <a:gd name="T17" fmla="*/ 187325 h 161"/>
                  <a:gd name="T18" fmla="*/ 50800 w 215"/>
                  <a:gd name="T19" fmla="*/ 219075 h 161"/>
                  <a:gd name="T20" fmla="*/ 50800 w 215"/>
                  <a:gd name="T21" fmla="*/ 238125 h 161"/>
                  <a:gd name="T22" fmla="*/ 0 w 215"/>
                  <a:gd name="T23" fmla="*/ 255587 h 161"/>
                  <a:gd name="T24" fmla="*/ 131763 w 215"/>
                  <a:gd name="T25" fmla="*/ 255587 h 161"/>
                  <a:gd name="T26" fmla="*/ 131763 w 215"/>
                  <a:gd name="T27" fmla="*/ 219075 h 161"/>
                  <a:gd name="T28" fmla="*/ 174625 w 215"/>
                  <a:gd name="T29" fmla="*/ 193675 h 161"/>
                  <a:gd name="T30" fmla="*/ 219075 w 215"/>
                  <a:gd name="T31" fmla="*/ 193675 h 161"/>
                  <a:gd name="T32" fmla="*/ 306388 w 215"/>
                  <a:gd name="T33" fmla="*/ 106362 h 161"/>
                  <a:gd name="T34" fmla="*/ 341313 w 215"/>
                  <a:gd name="T35" fmla="*/ 115887 h 161"/>
                  <a:gd name="T36" fmla="*/ 341313 w 215"/>
                  <a:gd name="T37" fmla="*/ 96837 h 161"/>
                  <a:gd name="T38" fmla="*/ 325438 w 215"/>
                  <a:gd name="T39" fmla="*/ 87312 h 161"/>
                  <a:gd name="T40" fmla="*/ 325438 w 215"/>
                  <a:gd name="T41" fmla="*/ 34925 h 161"/>
                  <a:gd name="T42" fmla="*/ 300038 w 215"/>
                  <a:gd name="T43" fmla="*/ 34925 h 161"/>
                  <a:gd name="T44" fmla="*/ 300038 w 215"/>
                  <a:gd name="T45" fmla="*/ 34925 h 1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5"/>
                  <a:gd name="T70" fmla="*/ 0 h 161"/>
                  <a:gd name="T71" fmla="*/ 215 w 215"/>
                  <a:gd name="T72" fmla="*/ 161 h 1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5" h="161">
                    <a:moveTo>
                      <a:pt x="189" y="22"/>
                    </a:moveTo>
                    <a:lnTo>
                      <a:pt x="189" y="6"/>
                    </a:lnTo>
                    <a:lnTo>
                      <a:pt x="138" y="6"/>
                    </a:lnTo>
                    <a:lnTo>
                      <a:pt x="132" y="0"/>
                    </a:lnTo>
                    <a:lnTo>
                      <a:pt x="110" y="45"/>
                    </a:lnTo>
                    <a:lnTo>
                      <a:pt x="83" y="51"/>
                    </a:lnTo>
                    <a:lnTo>
                      <a:pt x="65" y="61"/>
                    </a:lnTo>
                    <a:lnTo>
                      <a:pt x="61" y="61"/>
                    </a:lnTo>
                    <a:lnTo>
                      <a:pt x="61" y="118"/>
                    </a:lnTo>
                    <a:lnTo>
                      <a:pt x="32" y="138"/>
                    </a:lnTo>
                    <a:lnTo>
                      <a:pt x="32" y="150"/>
                    </a:lnTo>
                    <a:lnTo>
                      <a:pt x="0" y="161"/>
                    </a:lnTo>
                    <a:lnTo>
                      <a:pt x="83" y="161"/>
                    </a:lnTo>
                    <a:lnTo>
                      <a:pt x="83" y="138"/>
                    </a:lnTo>
                    <a:lnTo>
                      <a:pt x="110" y="122"/>
                    </a:lnTo>
                    <a:lnTo>
                      <a:pt x="138" y="122"/>
                    </a:lnTo>
                    <a:lnTo>
                      <a:pt x="193" y="67"/>
                    </a:lnTo>
                    <a:lnTo>
                      <a:pt x="215" y="73"/>
                    </a:lnTo>
                    <a:lnTo>
                      <a:pt x="215" y="61"/>
                    </a:lnTo>
                    <a:lnTo>
                      <a:pt x="205" y="55"/>
                    </a:lnTo>
                    <a:lnTo>
                      <a:pt x="205" y="22"/>
                    </a:lnTo>
                    <a:lnTo>
                      <a:pt x="189"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5" name="Freeform 44">
                <a:extLst>
                  <a:ext uri="{FF2B5EF4-FFF2-40B4-BE49-F238E27FC236}">
                    <a16:creationId xmlns:a16="http://schemas.microsoft.com/office/drawing/2014/main" id="{24841F27-01CE-4DB2-BE13-BB70E0C98B6F}"/>
                  </a:ext>
                </a:extLst>
              </p:cNvPr>
              <p:cNvSpPr>
                <a:spLocks/>
              </p:cNvSpPr>
              <p:nvPr/>
            </p:nvSpPr>
            <p:spPr bwMode="auto">
              <a:xfrm>
                <a:off x="3808831" y="2405798"/>
                <a:ext cx="216070" cy="190118"/>
              </a:xfrm>
              <a:custGeom>
                <a:avLst/>
                <a:gdLst>
                  <a:gd name="T0" fmla="*/ 122238 w 156"/>
                  <a:gd name="T1" fmla="*/ 134938 h 129"/>
                  <a:gd name="T2" fmla="*/ 150812 w 156"/>
                  <a:gd name="T3" fmla="*/ 134938 h 129"/>
                  <a:gd name="T4" fmla="*/ 150812 w 156"/>
                  <a:gd name="T5" fmla="*/ 53975 h 129"/>
                  <a:gd name="T6" fmla="*/ 247650 w 156"/>
                  <a:gd name="T7" fmla="*/ 53975 h 129"/>
                  <a:gd name="T8" fmla="*/ 247650 w 156"/>
                  <a:gd name="T9" fmla="*/ 0 h 129"/>
                  <a:gd name="T10" fmla="*/ 115888 w 156"/>
                  <a:gd name="T11" fmla="*/ 0 h 129"/>
                  <a:gd name="T12" fmla="*/ 106363 w 156"/>
                  <a:gd name="T13" fmla="*/ 28575 h 129"/>
                  <a:gd name="T14" fmla="*/ 87312 w 156"/>
                  <a:gd name="T15" fmla="*/ 38100 h 129"/>
                  <a:gd name="T16" fmla="*/ 60325 w 156"/>
                  <a:gd name="T17" fmla="*/ 106363 h 129"/>
                  <a:gd name="T18" fmla="*/ 25400 w 156"/>
                  <a:gd name="T19" fmla="*/ 125413 h 129"/>
                  <a:gd name="T20" fmla="*/ 15875 w 156"/>
                  <a:gd name="T21" fmla="*/ 160338 h 129"/>
                  <a:gd name="T22" fmla="*/ 0 w 156"/>
                  <a:gd name="T23" fmla="*/ 176213 h 129"/>
                  <a:gd name="T24" fmla="*/ 9525 w 156"/>
                  <a:gd name="T25" fmla="*/ 204788 h 129"/>
                  <a:gd name="T26" fmla="*/ 15875 w 156"/>
                  <a:gd name="T27" fmla="*/ 204788 h 129"/>
                  <a:gd name="T28" fmla="*/ 34925 w 156"/>
                  <a:gd name="T29" fmla="*/ 185738 h 129"/>
                  <a:gd name="T30" fmla="*/ 131762 w 156"/>
                  <a:gd name="T31" fmla="*/ 185738 h 129"/>
                  <a:gd name="T32" fmla="*/ 122238 w 156"/>
                  <a:gd name="T33" fmla="*/ 134938 h 129"/>
                  <a:gd name="T34" fmla="*/ 122238 w 156"/>
                  <a:gd name="T35" fmla="*/ 134938 h 1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29"/>
                  <a:gd name="T56" fmla="*/ 156 w 156"/>
                  <a:gd name="T57" fmla="*/ 129 h 1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29">
                    <a:moveTo>
                      <a:pt x="77" y="85"/>
                    </a:moveTo>
                    <a:lnTo>
                      <a:pt x="95" y="85"/>
                    </a:lnTo>
                    <a:lnTo>
                      <a:pt x="95" y="34"/>
                    </a:lnTo>
                    <a:lnTo>
                      <a:pt x="156" y="34"/>
                    </a:lnTo>
                    <a:lnTo>
                      <a:pt x="156" y="0"/>
                    </a:lnTo>
                    <a:lnTo>
                      <a:pt x="73" y="0"/>
                    </a:lnTo>
                    <a:lnTo>
                      <a:pt x="67" y="18"/>
                    </a:lnTo>
                    <a:lnTo>
                      <a:pt x="55" y="24"/>
                    </a:lnTo>
                    <a:lnTo>
                      <a:pt x="38" y="67"/>
                    </a:lnTo>
                    <a:lnTo>
                      <a:pt x="16" y="79"/>
                    </a:lnTo>
                    <a:lnTo>
                      <a:pt x="10" y="101"/>
                    </a:lnTo>
                    <a:lnTo>
                      <a:pt x="0" y="111"/>
                    </a:lnTo>
                    <a:lnTo>
                      <a:pt x="6" y="129"/>
                    </a:lnTo>
                    <a:lnTo>
                      <a:pt x="10" y="129"/>
                    </a:lnTo>
                    <a:lnTo>
                      <a:pt x="22" y="117"/>
                    </a:lnTo>
                    <a:lnTo>
                      <a:pt x="83" y="117"/>
                    </a:lnTo>
                    <a:lnTo>
                      <a:pt x="77" y="8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6" name="Freeform 45">
                <a:extLst>
                  <a:ext uri="{FF2B5EF4-FFF2-40B4-BE49-F238E27FC236}">
                    <a16:creationId xmlns:a16="http://schemas.microsoft.com/office/drawing/2014/main" id="{5C040A52-2B9E-4CAA-B248-C31D28B675F9}"/>
                  </a:ext>
                </a:extLst>
              </p:cNvPr>
              <p:cNvSpPr>
                <a:spLocks/>
              </p:cNvSpPr>
              <p:nvPr/>
            </p:nvSpPr>
            <p:spPr bwMode="auto">
              <a:xfrm>
                <a:off x="3822681" y="2405798"/>
                <a:ext cx="295018" cy="361077"/>
              </a:xfrm>
              <a:custGeom>
                <a:avLst/>
                <a:gdLst>
                  <a:gd name="T0" fmla="*/ 134937 w 213"/>
                  <a:gd name="T1" fmla="*/ 134938 h 245"/>
                  <a:gd name="T2" fmla="*/ 106362 w 213"/>
                  <a:gd name="T3" fmla="*/ 134938 h 245"/>
                  <a:gd name="T4" fmla="*/ 115887 w 213"/>
                  <a:gd name="T5" fmla="*/ 185738 h 245"/>
                  <a:gd name="T6" fmla="*/ 19050 w 213"/>
                  <a:gd name="T7" fmla="*/ 185738 h 245"/>
                  <a:gd name="T8" fmla="*/ 0 w 213"/>
                  <a:gd name="T9" fmla="*/ 204788 h 245"/>
                  <a:gd name="T10" fmla="*/ 0 w 213"/>
                  <a:gd name="T11" fmla="*/ 341313 h 245"/>
                  <a:gd name="T12" fmla="*/ 53975 w 213"/>
                  <a:gd name="T13" fmla="*/ 325438 h 245"/>
                  <a:gd name="T14" fmla="*/ 90487 w 213"/>
                  <a:gd name="T15" fmla="*/ 338138 h 245"/>
                  <a:gd name="T16" fmla="*/ 100012 w 213"/>
                  <a:gd name="T17" fmla="*/ 373063 h 245"/>
                  <a:gd name="T18" fmla="*/ 125412 w 213"/>
                  <a:gd name="T19" fmla="*/ 388938 h 245"/>
                  <a:gd name="T20" fmla="*/ 147637 w 213"/>
                  <a:gd name="T21" fmla="*/ 360363 h 245"/>
                  <a:gd name="T22" fmla="*/ 157162 w 213"/>
                  <a:gd name="T23" fmla="*/ 379413 h 245"/>
                  <a:gd name="T24" fmla="*/ 171450 w 213"/>
                  <a:gd name="T25" fmla="*/ 369888 h 245"/>
                  <a:gd name="T26" fmla="*/ 315912 w 213"/>
                  <a:gd name="T27" fmla="*/ 366713 h 245"/>
                  <a:gd name="T28" fmla="*/ 290512 w 213"/>
                  <a:gd name="T29" fmla="*/ 79375 h 245"/>
                  <a:gd name="T30" fmla="*/ 338137 w 213"/>
                  <a:gd name="T31" fmla="*/ 82550 h 245"/>
                  <a:gd name="T32" fmla="*/ 231775 w 213"/>
                  <a:gd name="T33" fmla="*/ 0 h 245"/>
                  <a:gd name="T34" fmla="*/ 231775 w 213"/>
                  <a:gd name="T35" fmla="*/ 53975 h 245"/>
                  <a:gd name="T36" fmla="*/ 134937 w 213"/>
                  <a:gd name="T37" fmla="*/ 53975 h 245"/>
                  <a:gd name="T38" fmla="*/ 134937 w 213"/>
                  <a:gd name="T39" fmla="*/ 134938 h 245"/>
                  <a:gd name="T40" fmla="*/ 134937 w 213"/>
                  <a:gd name="T41" fmla="*/ 134938 h 2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3"/>
                  <a:gd name="T64" fmla="*/ 0 h 245"/>
                  <a:gd name="T65" fmla="*/ 213 w 213"/>
                  <a:gd name="T66" fmla="*/ 245 h 24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3" h="245">
                    <a:moveTo>
                      <a:pt x="85" y="85"/>
                    </a:moveTo>
                    <a:lnTo>
                      <a:pt x="67" y="85"/>
                    </a:lnTo>
                    <a:lnTo>
                      <a:pt x="73" y="117"/>
                    </a:lnTo>
                    <a:lnTo>
                      <a:pt x="12" y="117"/>
                    </a:lnTo>
                    <a:lnTo>
                      <a:pt x="0" y="129"/>
                    </a:lnTo>
                    <a:lnTo>
                      <a:pt x="0" y="215"/>
                    </a:lnTo>
                    <a:lnTo>
                      <a:pt x="34" y="205"/>
                    </a:lnTo>
                    <a:lnTo>
                      <a:pt x="57" y="213"/>
                    </a:lnTo>
                    <a:lnTo>
                      <a:pt x="63" y="235"/>
                    </a:lnTo>
                    <a:lnTo>
                      <a:pt x="79" y="245"/>
                    </a:lnTo>
                    <a:lnTo>
                      <a:pt x="93" y="227"/>
                    </a:lnTo>
                    <a:lnTo>
                      <a:pt x="99" y="239"/>
                    </a:lnTo>
                    <a:lnTo>
                      <a:pt x="108" y="233"/>
                    </a:lnTo>
                    <a:lnTo>
                      <a:pt x="199" y="231"/>
                    </a:lnTo>
                    <a:lnTo>
                      <a:pt x="183" y="50"/>
                    </a:lnTo>
                    <a:lnTo>
                      <a:pt x="213" y="52"/>
                    </a:lnTo>
                    <a:lnTo>
                      <a:pt x="146" y="0"/>
                    </a:lnTo>
                    <a:lnTo>
                      <a:pt x="146" y="34"/>
                    </a:lnTo>
                    <a:lnTo>
                      <a:pt x="85" y="34"/>
                    </a:lnTo>
                    <a:lnTo>
                      <a:pt x="85" y="8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7" name="Freeform 46">
                <a:extLst>
                  <a:ext uri="{FF2B5EF4-FFF2-40B4-BE49-F238E27FC236}">
                    <a16:creationId xmlns:a16="http://schemas.microsoft.com/office/drawing/2014/main" id="{63851A65-1343-4C4D-ABB3-718596BE3FFF}"/>
                  </a:ext>
                </a:extLst>
              </p:cNvPr>
              <p:cNvSpPr>
                <a:spLocks/>
              </p:cNvSpPr>
              <p:nvPr/>
            </p:nvSpPr>
            <p:spPr bwMode="auto">
              <a:xfrm>
                <a:off x="3932101" y="2479487"/>
                <a:ext cx="408595" cy="409710"/>
              </a:xfrm>
              <a:custGeom>
                <a:avLst/>
                <a:gdLst>
                  <a:gd name="T0" fmla="*/ 46038 w 295"/>
                  <a:gd name="T1" fmla="*/ 290512 h 278"/>
                  <a:gd name="T2" fmla="*/ 31750 w 295"/>
                  <a:gd name="T3" fmla="*/ 300037 h 278"/>
                  <a:gd name="T4" fmla="*/ 22225 w 295"/>
                  <a:gd name="T5" fmla="*/ 280987 h 278"/>
                  <a:gd name="T6" fmla="*/ 0 w 295"/>
                  <a:gd name="T7" fmla="*/ 309562 h 278"/>
                  <a:gd name="T8" fmla="*/ 0 w 295"/>
                  <a:gd name="T9" fmla="*/ 349250 h 278"/>
                  <a:gd name="T10" fmla="*/ 31750 w 295"/>
                  <a:gd name="T11" fmla="*/ 361950 h 278"/>
                  <a:gd name="T12" fmla="*/ 25400 w 295"/>
                  <a:gd name="T13" fmla="*/ 390525 h 278"/>
                  <a:gd name="T14" fmla="*/ 74613 w 295"/>
                  <a:gd name="T15" fmla="*/ 384175 h 278"/>
                  <a:gd name="T16" fmla="*/ 119063 w 295"/>
                  <a:gd name="T17" fmla="*/ 441325 h 278"/>
                  <a:gd name="T18" fmla="*/ 187325 w 295"/>
                  <a:gd name="T19" fmla="*/ 441325 h 278"/>
                  <a:gd name="T20" fmla="*/ 200025 w 295"/>
                  <a:gd name="T21" fmla="*/ 390525 h 278"/>
                  <a:gd name="T22" fmla="*/ 238125 w 295"/>
                  <a:gd name="T23" fmla="*/ 365125 h 278"/>
                  <a:gd name="T24" fmla="*/ 268288 w 295"/>
                  <a:gd name="T25" fmla="*/ 325437 h 278"/>
                  <a:gd name="T26" fmla="*/ 354013 w 295"/>
                  <a:gd name="T27" fmla="*/ 300037 h 278"/>
                  <a:gd name="T28" fmla="*/ 438150 w 295"/>
                  <a:gd name="T29" fmla="*/ 287337 h 278"/>
                  <a:gd name="T30" fmla="*/ 468313 w 295"/>
                  <a:gd name="T31" fmla="*/ 238125 h 278"/>
                  <a:gd name="T32" fmla="*/ 460375 w 295"/>
                  <a:gd name="T33" fmla="*/ 177800 h 278"/>
                  <a:gd name="T34" fmla="*/ 381000 w 295"/>
                  <a:gd name="T35" fmla="*/ 133350 h 278"/>
                  <a:gd name="T36" fmla="*/ 371475 w 295"/>
                  <a:gd name="T37" fmla="*/ 106363 h 278"/>
                  <a:gd name="T38" fmla="*/ 212725 w 295"/>
                  <a:gd name="T39" fmla="*/ 3175 h 278"/>
                  <a:gd name="T40" fmla="*/ 165100 w 295"/>
                  <a:gd name="T41" fmla="*/ 0 h 278"/>
                  <a:gd name="T42" fmla="*/ 190500 w 295"/>
                  <a:gd name="T43" fmla="*/ 287337 h 278"/>
                  <a:gd name="T44" fmla="*/ 46038 w 295"/>
                  <a:gd name="T45" fmla="*/ 290512 h 278"/>
                  <a:gd name="T46" fmla="*/ 46038 w 295"/>
                  <a:gd name="T47" fmla="*/ 290512 h 2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5"/>
                  <a:gd name="T73" fmla="*/ 0 h 278"/>
                  <a:gd name="T74" fmla="*/ 295 w 295"/>
                  <a:gd name="T75" fmla="*/ 278 h 2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5" h="278">
                    <a:moveTo>
                      <a:pt x="29" y="183"/>
                    </a:moveTo>
                    <a:lnTo>
                      <a:pt x="20" y="189"/>
                    </a:lnTo>
                    <a:lnTo>
                      <a:pt x="14" y="177"/>
                    </a:lnTo>
                    <a:lnTo>
                      <a:pt x="0" y="195"/>
                    </a:lnTo>
                    <a:lnTo>
                      <a:pt x="0" y="220"/>
                    </a:lnTo>
                    <a:lnTo>
                      <a:pt x="20" y="228"/>
                    </a:lnTo>
                    <a:lnTo>
                      <a:pt x="16" y="246"/>
                    </a:lnTo>
                    <a:lnTo>
                      <a:pt x="47" y="242"/>
                    </a:lnTo>
                    <a:lnTo>
                      <a:pt x="75" y="278"/>
                    </a:lnTo>
                    <a:lnTo>
                      <a:pt x="118" y="278"/>
                    </a:lnTo>
                    <a:lnTo>
                      <a:pt x="126" y="246"/>
                    </a:lnTo>
                    <a:lnTo>
                      <a:pt x="150" y="230"/>
                    </a:lnTo>
                    <a:lnTo>
                      <a:pt x="169" y="205"/>
                    </a:lnTo>
                    <a:lnTo>
                      <a:pt x="223" y="189"/>
                    </a:lnTo>
                    <a:lnTo>
                      <a:pt x="276" y="181"/>
                    </a:lnTo>
                    <a:lnTo>
                      <a:pt x="295" y="150"/>
                    </a:lnTo>
                    <a:lnTo>
                      <a:pt x="290" y="112"/>
                    </a:lnTo>
                    <a:lnTo>
                      <a:pt x="240" y="84"/>
                    </a:lnTo>
                    <a:lnTo>
                      <a:pt x="234" y="67"/>
                    </a:lnTo>
                    <a:lnTo>
                      <a:pt x="134" y="2"/>
                    </a:lnTo>
                    <a:lnTo>
                      <a:pt x="104" y="0"/>
                    </a:lnTo>
                    <a:lnTo>
                      <a:pt x="120" y="181"/>
                    </a:lnTo>
                    <a:lnTo>
                      <a:pt x="29" y="18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8" name="Freeform 47">
                <a:extLst>
                  <a:ext uri="{FF2B5EF4-FFF2-40B4-BE49-F238E27FC236}">
                    <a16:creationId xmlns:a16="http://schemas.microsoft.com/office/drawing/2014/main" id="{E1A048BC-5FB3-4D81-B970-DC82031D5FF3}"/>
                  </a:ext>
                </a:extLst>
              </p:cNvPr>
              <p:cNvSpPr>
                <a:spLocks/>
              </p:cNvSpPr>
              <p:nvPr/>
            </p:nvSpPr>
            <p:spPr bwMode="auto">
              <a:xfrm>
                <a:off x="4240970" y="2513384"/>
                <a:ext cx="375352" cy="343390"/>
              </a:xfrm>
              <a:custGeom>
                <a:avLst/>
                <a:gdLst>
                  <a:gd name="T0" fmla="*/ 403224 w 271"/>
                  <a:gd name="T1" fmla="*/ 60325 h 233"/>
                  <a:gd name="T2" fmla="*/ 403224 w 271"/>
                  <a:gd name="T3" fmla="*/ 22225 h 233"/>
                  <a:gd name="T4" fmla="*/ 380999 w 271"/>
                  <a:gd name="T5" fmla="*/ 28575 h 233"/>
                  <a:gd name="T6" fmla="*/ 355600 w 271"/>
                  <a:gd name="T7" fmla="*/ 9525 h 233"/>
                  <a:gd name="T8" fmla="*/ 333375 w 271"/>
                  <a:gd name="T9" fmla="*/ 0 h 233"/>
                  <a:gd name="T10" fmla="*/ 306387 w 271"/>
                  <a:gd name="T11" fmla="*/ 3175 h 233"/>
                  <a:gd name="T12" fmla="*/ 136525 w 271"/>
                  <a:gd name="T13" fmla="*/ 138112 h 233"/>
                  <a:gd name="T14" fmla="*/ 120650 w 271"/>
                  <a:gd name="T15" fmla="*/ 125412 h 233"/>
                  <a:gd name="T16" fmla="*/ 106362 w 271"/>
                  <a:gd name="T17" fmla="*/ 141287 h 233"/>
                  <a:gd name="T18" fmla="*/ 114300 w 271"/>
                  <a:gd name="T19" fmla="*/ 201612 h 233"/>
                  <a:gd name="T20" fmla="*/ 84137 w 271"/>
                  <a:gd name="T21" fmla="*/ 250825 h 233"/>
                  <a:gd name="T22" fmla="*/ 0 w 271"/>
                  <a:gd name="T23" fmla="*/ 263525 h 233"/>
                  <a:gd name="T24" fmla="*/ 7937 w 271"/>
                  <a:gd name="T25" fmla="*/ 292100 h 233"/>
                  <a:gd name="T26" fmla="*/ 30162 w 271"/>
                  <a:gd name="T27" fmla="*/ 312737 h 233"/>
                  <a:gd name="T28" fmla="*/ 36512 w 271"/>
                  <a:gd name="T29" fmla="*/ 369887 h 233"/>
                  <a:gd name="T30" fmla="*/ 49212 w 271"/>
                  <a:gd name="T31" fmla="*/ 369887 h 233"/>
                  <a:gd name="T32" fmla="*/ 61912 w 271"/>
                  <a:gd name="T33" fmla="*/ 344487 h 233"/>
                  <a:gd name="T34" fmla="*/ 90487 w 271"/>
                  <a:gd name="T35" fmla="*/ 360362 h 233"/>
                  <a:gd name="T36" fmla="*/ 103187 w 271"/>
                  <a:gd name="T37" fmla="*/ 319087 h 233"/>
                  <a:gd name="T38" fmla="*/ 136525 w 271"/>
                  <a:gd name="T39" fmla="*/ 301625 h 233"/>
                  <a:gd name="T40" fmla="*/ 190500 w 271"/>
                  <a:gd name="T41" fmla="*/ 325437 h 233"/>
                  <a:gd name="T42" fmla="*/ 206375 w 271"/>
                  <a:gd name="T43" fmla="*/ 315912 h 233"/>
                  <a:gd name="T44" fmla="*/ 242887 w 271"/>
                  <a:gd name="T45" fmla="*/ 341312 h 233"/>
                  <a:gd name="T46" fmla="*/ 268287 w 271"/>
                  <a:gd name="T47" fmla="*/ 319087 h 233"/>
                  <a:gd name="T48" fmla="*/ 296862 w 271"/>
                  <a:gd name="T49" fmla="*/ 307975 h 233"/>
                  <a:gd name="T50" fmla="*/ 333375 w 271"/>
                  <a:gd name="T51" fmla="*/ 328612 h 233"/>
                  <a:gd name="T52" fmla="*/ 352425 w 271"/>
                  <a:gd name="T53" fmla="*/ 319087 h 233"/>
                  <a:gd name="T54" fmla="*/ 342900 w 271"/>
                  <a:gd name="T55" fmla="*/ 295275 h 233"/>
                  <a:gd name="T56" fmla="*/ 368300 w 271"/>
                  <a:gd name="T57" fmla="*/ 295275 h 233"/>
                  <a:gd name="T58" fmla="*/ 387349 w 271"/>
                  <a:gd name="T59" fmla="*/ 238125 h 233"/>
                  <a:gd name="T60" fmla="*/ 412750 w 271"/>
                  <a:gd name="T61" fmla="*/ 201612 h 233"/>
                  <a:gd name="T62" fmla="*/ 412750 w 271"/>
                  <a:gd name="T63" fmla="*/ 198437 h 233"/>
                  <a:gd name="T64" fmla="*/ 412750 w 271"/>
                  <a:gd name="T65" fmla="*/ 195262 h 233"/>
                  <a:gd name="T66" fmla="*/ 412750 w 271"/>
                  <a:gd name="T67" fmla="*/ 188912 h 233"/>
                  <a:gd name="T68" fmla="*/ 412750 w 271"/>
                  <a:gd name="T69" fmla="*/ 179387 h 233"/>
                  <a:gd name="T70" fmla="*/ 412750 w 271"/>
                  <a:gd name="T71" fmla="*/ 169862 h 233"/>
                  <a:gd name="T72" fmla="*/ 412750 w 271"/>
                  <a:gd name="T73" fmla="*/ 157162 h 233"/>
                  <a:gd name="T74" fmla="*/ 412750 w 271"/>
                  <a:gd name="T75" fmla="*/ 141287 h 233"/>
                  <a:gd name="T76" fmla="*/ 412750 w 271"/>
                  <a:gd name="T77" fmla="*/ 128587 h 233"/>
                  <a:gd name="T78" fmla="*/ 430212 w 271"/>
                  <a:gd name="T79" fmla="*/ 106362 h 233"/>
                  <a:gd name="T80" fmla="*/ 403224 w 271"/>
                  <a:gd name="T81" fmla="*/ 60325 h 233"/>
                  <a:gd name="T82" fmla="*/ 403224 w 271"/>
                  <a:gd name="T83" fmla="*/ 60325 h 23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1"/>
                  <a:gd name="T127" fmla="*/ 0 h 233"/>
                  <a:gd name="T128" fmla="*/ 271 w 271"/>
                  <a:gd name="T129" fmla="*/ 233 h 23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1" h="233">
                    <a:moveTo>
                      <a:pt x="254" y="38"/>
                    </a:moveTo>
                    <a:lnTo>
                      <a:pt x="254" y="14"/>
                    </a:lnTo>
                    <a:lnTo>
                      <a:pt x="240" y="18"/>
                    </a:lnTo>
                    <a:lnTo>
                      <a:pt x="224" y="6"/>
                    </a:lnTo>
                    <a:lnTo>
                      <a:pt x="210" y="0"/>
                    </a:lnTo>
                    <a:lnTo>
                      <a:pt x="193" y="2"/>
                    </a:lnTo>
                    <a:lnTo>
                      <a:pt x="86" y="87"/>
                    </a:lnTo>
                    <a:lnTo>
                      <a:pt x="76" y="79"/>
                    </a:lnTo>
                    <a:lnTo>
                      <a:pt x="67" y="89"/>
                    </a:lnTo>
                    <a:lnTo>
                      <a:pt x="72" y="127"/>
                    </a:lnTo>
                    <a:lnTo>
                      <a:pt x="53" y="158"/>
                    </a:lnTo>
                    <a:lnTo>
                      <a:pt x="0" y="166"/>
                    </a:lnTo>
                    <a:lnTo>
                      <a:pt x="5" y="184"/>
                    </a:lnTo>
                    <a:lnTo>
                      <a:pt x="19" y="197"/>
                    </a:lnTo>
                    <a:lnTo>
                      <a:pt x="23" y="233"/>
                    </a:lnTo>
                    <a:lnTo>
                      <a:pt x="31" y="233"/>
                    </a:lnTo>
                    <a:lnTo>
                      <a:pt x="39" y="217"/>
                    </a:lnTo>
                    <a:lnTo>
                      <a:pt x="57" y="227"/>
                    </a:lnTo>
                    <a:lnTo>
                      <a:pt x="65" y="201"/>
                    </a:lnTo>
                    <a:lnTo>
                      <a:pt x="86" y="190"/>
                    </a:lnTo>
                    <a:lnTo>
                      <a:pt x="120" y="205"/>
                    </a:lnTo>
                    <a:lnTo>
                      <a:pt x="130" y="199"/>
                    </a:lnTo>
                    <a:lnTo>
                      <a:pt x="153" y="215"/>
                    </a:lnTo>
                    <a:lnTo>
                      <a:pt x="169" y="201"/>
                    </a:lnTo>
                    <a:lnTo>
                      <a:pt x="187" y="194"/>
                    </a:lnTo>
                    <a:lnTo>
                      <a:pt x="210" y="207"/>
                    </a:lnTo>
                    <a:lnTo>
                      <a:pt x="222" y="201"/>
                    </a:lnTo>
                    <a:lnTo>
                      <a:pt x="216" y="186"/>
                    </a:lnTo>
                    <a:lnTo>
                      <a:pt x="232" y="186"/>
                    </a:lnTo>
                    <a:lnTo>
                      <a:pt x="244" y="150"/>
                    </a:lnTo>
                    <a:lnTo>
                      <a:pt x="260" y="127"/>
                    </a:lnTo>
                    <a:lnTo>
                      <a:pt x="260" y="125"/>
                    </a:lnTo>
                    <a:lnTo>
                      <a:pt x="260" y="123"/>
                    </a:lnTo>
                    <a:lnTo>
                      <a:pt x="260" y="119"/>
                    </a:lnTo>
                    <a:lnTo>
                      <a:pt x="260" y="113"/>
                    </a:lnTo>
                    <a:lnTo>
                      <a:pt x="260" y="107"/>
                    </a:lnTo>
                    <a:lnTo>
                      <a:pt x="260" y="99"/>
                    </a:lnTo>
                    <a:lnTo>
                      <a:pt x="260" y="89"/>
                    </a:lnTo>
                    <a:lnTo>
                      <a:pt x="260" y="81"/>
                    </a:lnTo>
                    <a:lnTo>
                      <a:pt x="271" y="67"/>
                    </a:lnTo>
                    <a:lnTo>
                      <a:pt x="254" y="3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9" name="Freeform 48">
                <a:extLst>
                  <a:ext uri="{FF2B5EF4-FFF2-40B4-BE49-F238E27FC236}">
                    <a16:creationId xmlns:a16="http://schemas.microsoft.com/office/drawing/2014/main" id="{ACF3B462-1ACD-4FF9-A632-26E82B49C03B}"/>
                  </a:ext>
                </a:extLst>
              </p:cNvPr>
              <p:cNvSpPr>
                <a:spLocks/>
              </p:cNvSpPr>
              <p:nvPr/>
            </p:nvSpPr>
            <p:spPr bwMode="auto">
              <a:xfrm>
                <a:off x="4095539" y="2758032"/>
                <a:ext cx="177289" cy="147378"/>
              </a:xfrm>
              <a:custGeom>
                <a:avLst/>
                <a:gdLst>
                  <a:gd name="T0" fmla="*/ 80962 w 128"/>
                  <a:gd name="T1" fmla="*/ 25400 h 100"/>
                  <a:gd name="T2" fmla="*/ 50800 w 128"/>
                  <a:gd name="T3" fmla="*/ 65088 h 100"/>
                  <a:gd name="T4" fmla="*/ 12700 w 128"/>
                  <a:gd name="T5" fmla="*/ 90487 h 100"/>
                  <a:gd name="T6" fmla="*/ 0 w 128"/>
                  <a:gd name="T7" fmla="*/ 141288 h 100"/>
                  <a:gd name="T8" fmla="*/ 77787 w 128"/>
                  <a:gd name="T9" fmla="*/ 158750 h 100"/>
                  <a:gd name="T10" fmla="*/ 77787 w 128"/>
                  <a:gd name="T11" fmla="*/ 119063 h 100"/>
                  <a:gd name="T12" fmla="*/ 184150 w 128"/>
                  <a:gd name="T13" fmla="*/ 119063 h 100"/>
                  <a:gd name="T14" fmla="*/ 203200 w 128"/>
                  <a:gd name="T15" fmla="*/ 106363 h 100"/>
                  <a:gd name="T16" fmla="*/ 196850 w 128"/>
                  <a:gd name="T17" fmla="*/ 49212 h 100"/>
                  <a:gd name="T18" fmla="*/ 174625 w 128"/>
                  <a:gd name="T19" fmla="*/ 28575 h 100"/>
                  <a:gd name="T20" fmla="*/ 166687 w 128"/>
                  <a:gd name="T21" fmla="*/ 0 h 100"/>
                  <a:gd name="T22" fmla="*/ 80962 w 128"/>
                  <a:gd name="T23" fmla="*/ 25400 h 100"/>
                  <a:gd name="T24" fmla="*/ 80962 w 128"/>
                  <a:gd name="T25" fmla="*/ 2540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8"/>
                  <a:gd name="T40" fmla="*/ 0 h 100"/>
                  <a:gd name="T41" fmla="*/ 128 w 128"/>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8" h="100">
                    <a:moveTo>
                      <a:pt x="51" y="16"/>
                    </a:moveTo>
                    <a:lnTo>
                      <a:pt x="32" y="41"/>
                    </a:lnTo>
                    <a:lnTo>
                      <a:pt x="8" y="57"/>
                    </a:lnTo>
                    <a:lnTo>
                      <a:pt x="0" y="89"/>
                    </a:lnTo>
                    <a:lnTo>
                      <a:pt x="49" y="100"/>
                    </a:lnTo>
                    <a:lnTo>
                      <a:pt x="49" y="75"/>
                    </a:lnTo>
                    <a:lnTo>
                      <a:pt x="116" y="75"/>
                    </a:lnTo>
                    <a:lnTo>
                      <a:pt x="128" y="67"/>
                    </a:lnTo>
                    <a:lnTo>
                      <a:pt x="124" y="31"/>
                    </a:lnTo>
                    <a:lnTo>
                      <a:pt x="110" y="18"/>
                    </a:lnTo>
                    <a:lnTo>
                      <a:pt x="105" y="0"/>
                    </a:lnTo>
                    <a:lnTo>
                      <a:pt x="51"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0" name="Freeform 49">
                <a:extLst>
                  <a:ext uri="{FF2B5EF4-FFF2-40B4-BE49-F238E27FC236}">
                    <a16:creationId xmlns:a16="http://schemas.microsoft.com/office/drawing/2014/main" id="{C3D817B2-F4E2-4571-9F75-0D8921D1CE6E}"/>
                  </a:ext>
                </a:extLst>
              </p:cNvPr>
              <p:cNvSpPr>
                <a:spLocks/>
              </p:cNvSpPr>
              <p:nvPr/>
            </p:nvSpPr>
            <p:spPr bwMode="auto">
              <a:xfrm>
                <a:off x="3800521" y="2707924"/>
                <a:ext cx="159282" cy="134113"/>
              </a:xfrm>
              <a:custGeom>
                <a:avLst/>
                <a:gdLst>
                  <a:gd name="T0" fmla="*/ 115887 w 115"/>
                  <a:gd name="T1" fmla="*/ 12700 h 91"/>
                  <a:gd name="T2" fmla="*/ 79375 w 115"/>
                  <a:gd name="T3" fmla="*/ 0 h 91"/>
                  <a:gd name="T4" fmla="*/ 25400 w 115"/>
                  <a:gd name="T5" fmla="*/ 15875 h 91"/>
                  <a:gd name="T6" fmla="*/ 0 w 115"/>
                  <a:gd name="T7" fmla="*/ 66675 h 91"/>
                  <a:gd name="T8" fmla="*/ 19050 w 115"/>
                  <a:gd name="T9" fmla="*/ 85725 h 91"/>
                  <a:gd name="T10" fmla="*/ 96837 w 115"/>
                  <a:gd name="T11" fmla="*/ 82550 h 91"/>
                  <a:gd name="T12" fmla="*/ 109537 w 115"/>
                  <a:gd name="T13" fmla="*/ 106362 h 91"/>
                  <a:gd name="T14" fmla="*/ 12700 w 115"/>
                  <a:gd name="T15" fmla="*/ 112712 h 91"/>
                  <a:gd name="T16" fmla="*/ 12700 w 115"/>
                  <a:gd name="T17" fmla="*/ 134937 h 91"/>
                  <a:gd name="T18" fmla="*/ 109537 w 115"/>
                  <a:gd name="T19" fmla="*/ 128587 h 91"/>
                  <a:gd name="T20" fmla="*/ 176212 w 115"/>
                  <a:gd name="T21" fmla="*/ 144462 h 91"/>
                  <a:gd name="T22" fmla="*/ 182562 w 115"/>
                  <a:gd name="T23" fmla="*/ 115887 h 91"/>
                  <a:gd name="T24" fmla="*/ 150812 w 115"/>
                  <a:gd name="T25" fmla="*/ 103187 h 91"/>
                  <a:gd name="T26" fmla="*/ 150812 w 115"/>
                  <a:gd name="T27" fmla="*/ 63500 h 91"/>
                  <a:gd name="T28" fmla="*/ 125412 w 115"/>
                  <a:gd name="T29" fmla="*/ 47625 h 91"/>
                  <a:gd name="T30" fmla="*/ 115887 w 115"/>
                  <a:gd name="T31" fmla="*/ 12700 h 91"/>
                  <a:gd name="T32" fmla="*/ 115887 w 115"/>
                  <a:gd name="T33" fmla="*/ 12700 h 9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91"/>
                  <a:gd name="T53" fmla="*/ 115 w 115"/>
                  <a:gd name="T54" fmla="*/ 91 h 9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91">
                    <a:moveTo>
                      <a:pt x="73" y="8"/>
                    </a:moveTo>
                    <a:lnTo>
                      <a:pt x="50" y="0"/>
                    </a:lnTo>
                    <a:lnTo>
                      <a:pt x="16" y="10"/>
                    </a:lnTo>
                    <a:lnTo>
                      <a:pt x="0" y="42"/>
                    </a:lnTo>
                    <a:lnTo>
                      <a:pt x="12" y="54"/>
                    </a:lnTo>
                    <a:lnTo>
                      <a:pt x="61" y="52"/>
                    </a:lnTo>
                    <a:lnTo>
                      <a:pt x="69" y="67"/>
                    </a:lnTo>
                    <a:lnTo>
                      <a:pt x="8" y="71"/>
                    </a:lnTo>
                    <a:lnTo>
                      <a:pt x="8" y="85"/>
                    </a:lnTo>
                    <a:lnTo>
                      <a:pt x="69" y="81"/>
                    </a:lnTo>
                    <a:lnTo>
                      <a:pt x="111" y="91"/>
                    </a:lnTo>
                    <a:lnTo>
                      <a:pt x="115" y="73"/>
                    </a:lnTo>
                    <a:lnTo>
                      <a:pt x="95" y="65"/>
                    </a:lnTo>
                    <a:lnTo>
                      <a:pt x="95" y="40"/>
                    </a:lnTo>
                    <a:lnTo>
                      <a:pt x="79" y="30"/>
                    </a:lnTo>
                    <a:lnTo>
                      <a:pt x="73" y="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1" name="Freeform 50">
                <a:extLst>
                  <a:ext uri="{FF2B5EF4-FFF2-40B4-BE49-F238E27FC236}">
                    <a16:creationId xmlns:a16="http://schemas.microsoft.com/office/drawing/2014/main" id="{09CCE9EC-0D5C-4737-A280-BCB3A0F5B622}"/>
                  </a:ext>
                </a:extLst>
              </p:cNvPr>
              <p:cNvSpPr>
                <a:spLocks/>
              </p:cNvSpPr>
              <p:nvPr/>
            </p:nvSpPr>
            <p:spPr bwMode="auto">
              <a:xfrm>
                <a:off x="3811601" y="2784560"/>
                <a:ext cx="84488" cy="28001"/>
              </a:xfrm>
              <a:custGeom>
                <a:avLst/>
                <a:gdLst>
                  <a:gd name="T0" fmla="*/ 84137 w 61"/>
                  <a:gd name="T1" fmla="*/ 0 h 19"/>
                  <a:gd name="T2" fmla="*/ 6350 w 61"/>
                  <a:gd name="T3" fmla="*/ 3175 h 19"/>
                  <a:gd name="T4" fmla="*/ 0 w 61"/>
                  <a:gd name="T5" fmla="*/ 30162 h 19"/>
                  <a:gd name="T6" fmla="*/ 96837 w 61"/>
                  <a:gd name="T7" fmla="*/ 23812 h 19"/>
                  <a:gd name="T8" fmla="*/ 84137 w 61"/>
                  <a:gd name="T9" fmla="*/ 0 h 19"/>
                  <a:gd name="T10" fmla="*/ 84137 w 61"/>
                  <a:gd name="T11" fmla="*/ 0 h 19"/>
                  <a:gd name="T12" fmla="*/ 0 60000 65536"/>
                  <a:gd name="T13" fmla="*/ 0 60000 65536"/>
                  <a:gd name="T14" fmla="*/ 0 60000 65536"/>
                  <a:gd name="T15" fmla="*/ 0 60000 65536"/>
                  <a:gd name="T16" fmla="*/ 0 60000 65536"/>
                  <a:gd name="T17" fmla="*/ 0 60000 65536"/>
                  <a:gd name="T18" fmla="*/ 0 w 61"/>
                  <a:gd name="T19" fmla="*/ 0 h 19"/>
                  <a:gd name="T20" fmla="*/ 61 w 6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61" h="19">
                    <a:moveTo>
                      <a:pt x="53" y="0"/>
                    </a:moveTo>
                    <a:lnTo>
                      <a:pt x="4" y="2"/>
                    </a:lnTo>
                    <a:lnTo>
                      <a:pt x="0" y="19"/>
                    </a:lnTo>
                    <a:lnTo>
                      <a:pt x="61" y="15"/>
                    </a:lnTo>
                    <a:lnTo>
                      <a:pt x="5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2" name="Freeform 51">
                <a:extLst>
                  <a:ext uri="{FF2B5EF4-FFF2-40B4-BE49-F238E27FC236}">
                    <a16:creationId xmlns:a16="http://schemas.microsoft.com/office/drawing/2014/main" id="{8C8F91F7-2EF2-44D6-8C89-B35448FE9C34}"/>
                  </a:ext>
                </a:extLst>
              </p:cNvPr>
              <p:cNvSpPr>
                <a:spLocks/>
              </p:cNvSpPr>
              <p:nvPr/>
            </p:nvSpPr>
            <p:spPr bwMode="auto">
              <a:xfrm>
                <a:off x="3943181" y="2940781"/>
                <a:ext cx="98340" cy="116428"/>
              </a:xfrm>
              <a:custGeom>
                <a:avLst/>
                <a:gdLst>
                  <a:gd name="T0" fmla="*/ 36513 w 71"/>
                  <a:gd name="T1" fmla="*/ 0 h 79"/>
                  <a:gd name="T2" fmla="*/ 0 w 71"/>
                  <a:gd name="T3" fmla="*/ 47625 h 79"/>
                  <a:gd name="T4" fmla="*/ 109538 w 71"/>
                  <a:gd name="T5" fmla="*/ 125412 h 79"/>
                  <a:gd name="T6" fmla="*/ 112713 w 71"/>
                  <a:gd name="T7" fmla="*/ 103187 h 79"/>
                  <a:gd name="T8" fmla="*/ 87313 w 71"/>
                  <a:gd name="T9" fmla="*/ 28575 h 79"/>
                  <a:gd name="T10" fmla="*/ 55563 w 71"/>
                  <a:gd name="T11" fmla="*/ 0 h 79"/>
                  <a:gd name="T12" fmla="*/ 36513 w 71"/>
                  <a:gd name="T13" fmla="*/ 0 h 79"/>
                  <a:gd name="T14" fmla="*/ 36513 w 71"/>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79"/>
                  <a:gd name="T26" fmla="*/ 71 w 71"/>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79">
                    <a:moveTo>
                      <a:pt x="23" y="0"/>
                    </a:moveTo>
                    <a:lnTo>
                      <a:pt x="0" y="30"/>
                    </a:lnTo>
                    <a:lnTo>
                      <a:pt x="69" y="79"/>
                    </a:lnTo>
                    <a:lnTo>
                      <a:pt x="71" y="65"/>
                    </a:lnTo>
                    <a:lnTo>
                      <a:pt x="55" y="18"/>
                    </a:lnTo>
                    <a:lnTo>
                      <a:pt x="35" y="0"/>
                    </a:lnTo>
                    <a:lnTo>
                      <a:pt x="2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3" name="Freeform 52">
                <a:extLst>
                  <a:ext uri="{FF2B5EF4-FFF2-40B4-BE49-F238E27FC236}">
                    <a16:creationId xmlns:a16="http://schemas.microsoft.com/office/drawing/2014/main" id="{537783D7-01D7-4407-8903-F4FAAA9CB2EE}"/>
                  </a:ext>
                </a:extLst>
              </p:cNvPr>
              <p:cNvSpPr>
                <a:spLocks/>
              </p:cNvSpPr>
              <p:nvPr/>
            </p:nvSpPr>
            <p:spPr bwMode="auto">
              <a:xfrm>
                <a:off x="3901629" y="2898040"/>
                <a:ext cx="73409" cy="86954"/>
              </a:xfrm>
              <a:custGeom>
                <a:avLst/>
                <a:gdLst>
                  <a:gd name="T0" fmla="*/ 0 w 53"/>
                  <a:gd name="T1" fmla="*/ 33338 h 59"/>
                  <a:gd name="T2" fmla="*/ 15875 w 53"/>
                  <a:gd name="T3" fmla="*/ 80963 h 59"/>
                  <a:gd name="T4" fmla="*/ 47625 w 53"/>
                  <a:gd name="T5" fmla="*/ 93663 h 59"/>
                  <a:gd name="T6" fmla="*/ 84138 w 53"/>
                  <a:gd name="T7" fmla="*/ 46038 h 59"/>
                  <a:gd name="T8" fmla="*/ 69850 w 53"/>
                  <a:gd name="T9" fmla="*/ 0 h 59"/>
                  <a:gd name="T10" fmla="*/ 34925 w 53"/>
                  <a:gd name="T11" fmla="*/ 0 h 59"/>
                  <a:gd name="T12" fmla="*/ 0 w 53"/>
                  <a:gd name="T13" fmla="*/ 33338 h 59"/>
                  <a:gd name="T14" fmla="*/ 0 w 53"/>
                  <a:gd name="T15" fmla="*/ 33338 h 59"/>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59"/>
                  <a:gd name="T26" fmla="*/ 53 w 53"/>
                  <a:gd name="T27" fmla="*/ 59 h 5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59">
                    <a:moveTo>
                      <a:pt x="0" y="21"/>
                    </a:moveTo>
                    <a:lnTo>
                      <a:pt x="10" y="51"/>
                    </a:lnTo>
                    <a:lnTo>
                      <a:pt x="30" y="59"/>
                    </a:lnTo>
                    <a:lnTo>
                      <a:pt x="53" y="29"/>
                    </a:lnTo>
                    <a:lnTo>
                      <a:pt x="44" y="0"/>
                    </a:lnTo>
                    <a:lnTo>
                      <a:pt x="22" y="0"/>
                    </a:lnTo>
                    <a:lnTo>
                      <a:pt x="0" y="2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4" name="Freeform 53">
                <a:extLst>
                  <a:ext uri="{FF2B5EF4-FFF2-40B4-BE49-F238E27FC236}">
                    <a16:creationId xmlns:a16="http://schemas.microsoft.com/office/drawing/2014/main" id="{85595972-EBA3-49B6-AD5B-CA878E680080}"/>
                  </a:ext>
                </a:extLst>
              </p:cNvPr>
              <p:cNvSpPr>
                <a:spLocks/>
              </p:cNvSpPr>
              <p:nvPr/>
            </p:nvSpPr>
            <p:spPr bwMode="auto">
              <a:xfrm>
                <a:off x="3853153" y="2827299"/>
                <a:ext cx="182829" cy="140010"/>
              </a:xfrm>
              <a:custGeom>
                <a:avLst/>
                <a:gdLst>
                  <a:gd name="T0" fmla="*/ 165100 w 132"/>
                  <a:gd name="T1" fmla="*/ 9525 h 95"/>
                  <a:gd name="T2" fmla="*/ 115887 w 132"/>
                  <a:gd name="T3" fmla="*/ 15875 h 95"/>
                  <a:gd name="T4" fmla="*/ 49212 w 132"/>
                  <a:gd name="T5" fmla="*/ 0 h 95"/>
                  <a:gd name="T6" fmla="*/ 55562 w 132"/>
                  <a:gd name="T7" fmla="*/ 15875 h 95"/>
                  <a:gd name="T8" fmla="*/ 0 w 132"/>
                  <a:gd name="T9" fmla="*/ 50800 h 95"/>
                  <a:gd name="T10" fmla="*/ 55562 w 132"/>
                  <a:gd name="T11" fmla="*/ 109538 h 95"/>
                  <a:gd name="T12" fmla="*/ 90487 w 132"/>
                  <a:gd name="T13" fmla="*/ 76200 h 95"/>
                  <a:gd name="T14" fmla="*/ 125412 w 132"/>
                  <a:gd name="T15" fmla="*/ 76200 h 95"/>
                  <a:gd name="T16" fmla="*/ 139700 w 132"/>
                  <a:gd name="T17" fmla="*/ 122238 h 95"/>
                  <a:gd name="T18" fmla="*/ 158750 w 132"/>
                  <a:gd name="T19" fmla="*/ 122238 h 95"/>
                  <a:gd name="T20" fmla="*/ 190500 w 132"/>
                  <a:gd name="T21" fmla="*/ 150813 h 95"/>
                  <a:gd name="T22" fmla="*/ 203200 w 132"/>
                  <a:gd name="T23" fmla="*/ 144463 h 95"/>
                  <a:gd name="T24" fmla="*/ 209550 w 132"/>
                  <a:gd name="T25" fmla="*/ 66675 h 95"/>
                  <a:gd name="T26" fmla="*/ 165100 w 132"/>
                  <a:gd name="T27" fmla="*/ 9525 h 95"/>
                  <a:gd name="T28" fmla="*/ 165100 w 132"/>
                  <a:gd name="T29" fmla="*/ 9525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95"/>
                  <a:gd name="T47" fmla="*/ 132 w 132"/>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95">
                    <a:moveTo>
                      <a:pt x="104" y="6"/>
                    </a:moveTo>
                    <a:lnTo>
                      <a:pt x="73" y="10"/>
                    </a:lnTo>
                    <a:lnTo>
                      <a:pt x="31" y="0"/>
                    </a:lnTo>
                    <a:lnTo>
                      <a:pt x="35" y="10"/>
                    </a:lnTo>
                    <a:lnTo>
                      <a:pt x="0" y="32"/>
                    </a:lnTo>
                    <a:lnTo>
                      <a:pt x="35" y="69"/>
                    </a:lnTo>
                    <a:lnTo>
                      <a:pt x="57" y="48"/>
                    </a:lnTo>
                    <a:lnTo>
                      <a:pt x="79" y="48"/>
                    </a:lnTo>
                    <a:lnTo>
                      <a:pt x="88" y="77"/>
                    </a:lnTo>
                    <a:lnTo>
                      <a:pt x="100" y="77"/>
                    </a:lnTo>
                    <a:lnTo>
                      <a:pt x="120" y="95"/>
                    </a:lnTo>
                    <a:lnTo>
                      <a:pt x="128" y="91"/>
                    </a:lnTo>
                    <a:lnTo>
                      <a:pt x="132" y="42"/>
                    </a:lnTo>
                    <a:lnTo>
                      <a:pt x="104"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5" name="Freeform 54">
                <a:extLst>
                  <a:ext uri="{FF2B5EF4-FFF2-40B4-BE49-F238E27FC236}">
                    <a16:creationId xmlns:a16="http://schemas.microsoft.com/office/drawing/2014/main" id="{4A29BC5E-8010-4DFE-849D-175DEE1585D8}"/>
                  </a:ext>
                </a:extLst>
              </p:cNvPr>
              <p:cNvSpPr>
                <a:spLocks/>
              </p:cNvSpPr>
              <p:nvPr/>
            </p:nvSpPr>
            <p:spPr bwMode="auto">
              <a:xfrm>
                <a:off x="3811601" y="2827299"/>
                <a:ext cx="90029" cy="47161"/>
              </a:xfrm>
              <a:custGeom>
                <a:avLst/>
                <a:gdLst>
                  <a:gd name="T0" fmla="*/ 0 w 65"/>
                  <a:gd name="T1" fmla="*/ 6350 h 32"/>
                  <a:gd name="T2" fmla="*/ 34925 w 65"/>
                  <a:gd name="T3" fmla="*/ 28575 h 32"/>
                  <a:gd name="T4" fmla="*/ 47625 w 65"/>
                  <a:gd name="T5" fmla="*/ 50800 h 32"/>
                  <a:gd name="T6" fmla="*/ 103187 w 65"/>
                  <a:gd name="T7" fmla="*/ 15875 h 32"/>
                  <a:gd name="T8" fmla="*/ 96837 w 65"/>
                  <a:gd name="T9" fmla="*/ 0 h 32"/>
                  <a:gd name="T10" fmla="*/ 0 w 65"/>
                  <a:gd name="T11" fmla="*/ 6350 h 32"/>
                  <a:gd name="T12" fmla="*/ 0 w 65"/>
                  <a:gd name="T13" fmla="*/ 6350 h 32"/>
                  <a:gd name="T14" fmla="*/ 0 60000 65536"/>
                  <a:gd name="T15" fmla="*/ 0 60000 65536"/>
                  <a:gd name="T16" fmla="*/ 0 60000 65536"/>
                  <a:gd name="T17" fmla="*/ 0 60000 65536"/>
                  <a:gd name="T18" fmla="*/ 0 60000 65536"/>
                  <a:gd name="T19" fmla="*/ 0 60000 65536"/>
                  <a:gd name="T20" fmla="*/ 0 60000 65536"/>
                  <a:gd name="T21" fmla="*/ 0 w 65"/>
                  <a:gd name="T22" fmla="*/ 0 h 32"/>
                  <a:gd name="T23" fmla="*/ 65 w 6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32">
                    <a:moveTo>
                      <a:pt x="0" y="4"/>
                    </a:moveTo>
                    <a:lnTo>
                      <a:pt x="22" y="18"/>
                    </a:lnTo>
                    <a:lnTo>
                      <a:pt x="30" y="32"/>
                    </a:lnTo>
                    <a:lnTo>
                      <a:pt x="65" y="10"/>
                    </a:lnTo>
                    <a:lnTo>
                      <a:pt x="61" y="0"/>
                    </a:lnTo>
                    <a:lnTo>
                      <a:pt x="0"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6" name="Freeform 55">
                <a:extLst>
                  <a:ext uri="{FF2B5EF4-FFF2-40B4-BE49-F238E27FC236}">
                    <a16:creationId xmlns:a16="http://schemas.microsoft.com/office/drawing/2014/main" id="{F0E8C999-A86B-48BD-A4DF-06771ED81112}"/>
                  </a:ext>
                </a:extLst>
              </p:cNvPr>
              <p:cNvSpPr>
                <a:spLocks/>
              </p:cNvSpPr>
              <p:nvPr/>
            </p:nvSpPr>
            <p:spPr bwMode="auto">
              <a:xfrm>
                <a:off x="4019361" y="2889198"/>
                <a:ext cx="152357" cy="168011"/>
              </a:xfrm>
              <a:custGeom>
                <a:avLst/>
                <a:gdLst>
                  <a:gd name="T0" fmla="*/ 165100 w 110"/>
                  <a:gd name="T1" fmla="*/ 142875 h 114"/>
                  <a:gd name="T2" fmla="*/ 150813 w 110"/>
                  <a:gd name="T3" fmla="*/ 109538 h 114"/>
                  <a:gd name="T4" fmla="*/ 174625 w 110"/>
                  <a:gd name="T5" fmla="*/ 58738 h 114"/>
                  <a:gd name="T6" fmla="*/ 165100 w 110"/>
                  <a:gd name="T7" fmla="*/ 17463 h 114"/>
                  <a:gd name="T8" fmla="*/ 87313 w 110"/>
                  <a:gd name="T9" fmla="*/ 0 h 114"/>
                  <a:gd name="T10" fmla="*/ 19050 w 110"/>
                  <a:gd name="T11" fmla="*/ 0 h 114"/>
                  <a:gd name="T12" fmla="*/ 12700 w 110"/>
                  <a:gd name="T13" fmla="*/ 77788 h 114"/>
                  <a:gd name="T14" fmla="*/ 0 w 110"/>
                  <a:gd name="T15" fmla="*/ 84138 h 114"/>
                  <a:gd name="T16" fmla="*/ 25400 w 110"/>
                  <a:gd name="T17" fmla="*/ 158750 h 114"/>
                  <a:gd name="T18" fmla="*/ 22225 w 110"/>
                  <a:gd name="T19" fmla="*/ 180975 h 114"/>
                  <a:gd name="T20" fmla="*/ 125413 w 110"/>
                  <a:gd name="T21" fmla="*/ 152400 h 114"/>
                  <a:gd name="T22" fmla="*/ 158750 w 110"/>
                  <a:gd name="T23" fmla="*/ 168275 h 114"/>
                  <a:gd name="T24" fmla="*/ 165100 w 110"/>
                  <a:gd name="T25" fmla="*/ 142875 h 114"/>
                  <a:gd name="T26" fmla="*/ 165100 w 110"/>
                  <a:gd name="T27" fmla="*/ 142875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0"/>
                  <a:gd name="T43" fmla="*/ 0 h 114"/>
                  <a:gd name="T44" fmla="*/ 110 w 110"/>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0" h="114">
                    <a:moveTo>
                      <a:pt x="104" y="90"/>
                    </a:moveTo>
                    <a:lnTo>
                      <a:pt x="95" y="69"/>
                    </a:lnTo>
                    <a:lnTo>
                      <a:pt x="110" y="37"/>
                    </a:lnTo>
                    <a:lnTo>
                      <a:pt x="104" y="11"/>
                    </a:lnTo>
                    <a:lnTo>
                      <a:pt x="55" y="0"/>
                    </a:lnTo>
                    <a:lnTo>
                      <a:pt x="12" y="0"/>
                    </a:lnTo>
                    <a:lnTo>
                      <a:pt x="8" y="49"/>
                    </a:lnTo>
                    <a:lnTo>
                      <a:pt x="0" y="53"/>
                    </a:lnTo>
                    <a:lnTo>
                      <a:pt x="16" y="100"/>
                    </a:lnTo>
                    <a:lnTo>
                      <a:pt x="14" y="114"/>
                    </a:lnTo>
                    <a:lnTo>
                      <a:pt x="79" y="96"/>
                    </a:lnTo>
                    <a:lnTo>
                      <a:pt x="100" y="106"/>
                    </a:lnTo>
                    <a:lnTo>
                      <a:pt x="104" y="9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7" name="Freeform 56">
                <a:extLst>
                  <a:ext uri="{FF2B5EF4-FFF2-40B4-BE49-F238E27FC236}">
                    <a16:creationId xmlns:a16="http://schemas.microsoft.com/office/drawing/2014/main" id="{874C5AF5-50F0-4792-922B-B6DDE6044D95}"/>
                  </a:ext>
                </a:extLst>
              </p:cNvPr>
              <p:cNvSpPr>
                <a:spLocks/>
              </p:cNvSpPr>
              <p:nvPr/>
            </p:nvSpPr>
            <p:spPr bwMode="auto">
              <a:xfrm>
                <a:off x="5263147" y="2638655"/>
                <a:ext cx="238231" cy="188644"/>
              </a:xfrm>
              <a:custGeom>
                <a:avLst/>
                <a:gdLst>
                  <a:gd name="T0" fmla="*/ 96837 w 172"/>
                  <a:gd name="T1" fmla="*/ 77787 h 128"/>
                  <a:gd name="T2" fmla="*/ 44450 w 172"/>
                  <a:gd name="T3" fmla="*/ 41275 h 128"/>
                  <a:gd name="T4" fmla="*/ 19050 w 172"/>
                  <a:gd name="T5" fmla="*/ 50800 h 128"/>
                  <a:gd name="T6" fmla="*/ 19050 w 172"/>
                  <a:gd name="T7" fmla="*/ 77787 h 128"/>
                  <a:gd name="T8" fmla="*/ 0 w 172"/>
                  <a:gd name="T9" fmla="*/ 87312 h 128"/>
                  <a:gd name="T10" fmla="*/ 25400 w 172"/>
                  <a:gd name="T11" fmla="*/ 193675 h 128"/>
                  <a:gd name="T12" fmla="*/ 34925 w 172"/>
                  <a:gd name="T13" fmla="*/ 203200 h 128"/>
                  <a:gd name="T14" fmla="*/ 193675 w 172"/>
                  <a:gd name="T15" fmla="*/ 131762 h 128"/>
                  <a:gd name="T16" fmla="*/ 257175 w 172"/>
                  <a:gd name="T17" fmla="*/ 112712 h 128"/>
                  <a:gd name="T18" fmla="*/ 273050 w 172"/>
                  <a:gd name="T19" fmla="*/ 77787 h 128"/>
                  <a:gd name="T20" fmla="*/ 257175 w 172"/>
                  <a:gd name="T21" fmla="*/ 0 h 128"/>
                  <a:gd name="T22" fmla="*/ 141287 w 172"/>
                  <a:gd name="T23" fmla="*/ 15875 h 128"/>
                  <a:gd name="T24" fmla="*/ 96837 w 172"/>
                  <a:gd name="T25" fmla="*/ 77787 h 128"/>
                  <a:gd name="T26" fmla="*/ 96837 w 172"/>
                  <a:gd name="T27" fmla="*/ 77787 h 1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28"/>
                  <a:gd name="T44" fmla="*/ 172 w 172"/>
                  <a:gd name="T45" fmla="*/ 128 h 1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28">
                    <a:moveTo>
                      <a:pt x="61" y="49"/>
                    </a:moveTo>
                    <a:lnTo>
                      <a:pt x="28" y="26"/>
                    </a:lnTo>
                    <a:lnTo>
                      <a:pt x="12" y="32"/>
                    </a:lnTo>
                    <a:lnTo>
                      <a:pt x="12" y="49"/>
                    </a:lnTo>
                    <a:lnTo>
                      <a:pt x="0" y="55"/>
                    </a:lnTo>
                    <a:lnTo>
                      <a:pt x="16" y="122"/>
                    </a:lnTo>
                    <a:lnTo>
                      <a:pt x="22" y="128"/>
                    </a:lnTo>
                    <a:lnTo>
                      <a:pt x="122" y="83"/>
                    </a:lnTo>
                    <a:lnTo>
                      <a:pt x="162" y="71"/>
                    </a:lnTo>
                    <a:lnTo>
                      <a:pt x="172" y="49"/>
                    </a:lnTo>
                    <a:lnTo>
                      <a:pt x="162" y="0"/>
                    </a:lnTo>
                    <a:lnTo>
                      <a:pt x="89" y="10"/>
                    </a:lnTo>
                    <a:lnTo>
                      <a:pt x="61" y="4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8" name="Freeform 57">
                <a:extLst>
                  <a:ext uri="{FF2B5EF4-FFF2-40B4-BE49-F238E27FC236}">
                    <a16:creationId xmlns:a16="http://schemas.microsoft.com/office/drawing/2014/main" id="{1174C407-9978-48C4-8322-610681A7E879}"/>
                  </a:ext>
                </a:extLst>
              </p:cNvPr>
              <p:cNvSpPr>
                <a:spLocks/>
              </p:cNvSpPr>
              <p:nvPr/>
            </p:nvSpPr>
            <p:spPr bwMode="auto">
              <a:xfrm>
                <a:off x="5487527" y="2470646"/>
                <a:ext cx="177289" cy="240227"/>
              </a:xfrm>
              <a:custGeom>
                <a:avLst/>
                <a:gdLst>
                  <a:gd name="T0" fmla="*/ 203200 w 128"/>
                  <a:gd name="T1" fmla="*/ 74613 h 163"/>
                  <a:gd name="T2" fmla="*/ 138112 w 128"/>
                  <a:gd name="T3" fmla="*/ 46038 h 163"/>
                  <a:gd name="T4" fmla="*/ 106362 w 128"/>
                  <a:gd name="T5" fmla="*/ 0 h 163"/>
                  <a:gd name="T6" fmla="*/ 77787 w 128"/>
                  <a:gd name="T7" fmla="*/ 65088 h 163"/>
                  <a:gd name="T8" fmla="*/ 96837 w 128"/>
                  <a:gd name="T9" fmla="*/ 90488 h 163"/>
                  <a:gd name="T10" fmla="*/ 52387 w 128"/>
                  <a:gd name="T11" fmla="*/ 161925 h 163"/>
                  <a:gd name="T12" fmla="*/ 0 w 128"/>
                  <a:gd name="T13" fmla="*/ 180975 h 163"/>
                  <a:gd name="T14" fmla="*/ 15875 w 128"/>
                  <a:gd name="T15" fmla="*/ 258763 h 163"/>
                  <a:gd name="T16" fmla="*/ 71437 w 128"/>
                  <a:gd name="T17" fmla="*/ 241300 h 163"/>
                  <a:gd name="T18" fmla="*/ 77787 w 128"/>
                  <a:gd name="T19" fmla="*/ 222250 h 163"/>
                  <a:gd name="T20" fmla="*/ 112712 w 128"/>
                  <a:gd name="T21" fmla="*/ 212725 h 163"/>
                  <a:gd name="T22" fmla="*/ 122237 w 128"/>
                  <a:gd name="T23" fmla="*/ 196850 h 163"/>
                  <a:gd name="T24" fmla="*/ 149225 w 128"/>
                  <a:gd name="T25" fmla="*/ 180975 h 163"/>
                  <a:gd name="T26" fmla="*/ 203200 w 128"/>
                  <a:gd name="T27" fmla="*/ 74613 h 163"/>
                  <a:gd name="T28" fmla="*/ 203200 w 128"/>
                  <a:gd name="T29" fmla="*/ 74613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63"/>
                  <a:gd name="T47" fmla="*/ 128 w 128"/>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63">
                    <a:moveTo>
                      <a:pt x="128" y="47"/>
                    </a:moveTo>
                    <a:lnTo>
                      <a:pt x="87" y="29"/>
                    </a:lnTo>
                    <a:lnTo>
                      <a:pt x="67" y="0"/>
                    </a:lnTo>
                    <a:lnTo>
                      <a:pt x="49" y="41"/>
                    </a:lnTo>
                    <a:lnTo>
                      <a:pt x="61" y="57"/>
                    </a:lnTo>
                    <a:lnTo>
                      <a:pt x="33" y="102"/>
                    </a:lnTo>
                    <a:lnTo>
                      <a:pt x="0" y="114"/>
                    </a:lnTo>
                    <a:lnTo>
                      <a:pt x="10" y="163"/>
                    </a:lnTo>
                    <a:lnTo>
                      <a:pt x="45" y="152"/>
                    </a:lnTo>
                    <a:lnTo>
                      <a:pt x="49" y="140"/>
                    </a:lnTo>
                    <a:lnTo>
                      <a:pt x="71" y="134"/>
                    </a:lnTo>
                    <a:lnTo>
                      <a:pt x="77" y="124"/>
                    </a:lnTo>
                    <a:lnTo>
                      <a:pt x="94" y="114"/>
                    </a:lnTo>
                    <a:lnTo>
                      <a:pt x="128" y="4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9" name="Freeform 58">
                <a:extLst>
                  <a:ext uri="{FF2B5EF4-FFF2-40B4-BE49-F238E27FC236}">
                    <a16:creationId xmlns:a16="http://schemas.microsoft.com/office/drawing/2014/main" id="{B2AA12DB-4EFF-4AFA-A1A4-10A0741CA9CC}"/>
                  </a:ext>
                </a:extLst>
              </p:cNvPr>
              <p:cNvSpPr>
                <a:spLocks/>
              </p:cNvSpPr>
              <p:nvPr/>
            </p:nvSpPr>
            <p:spPr bwMode="auto">
              <a:xfrm>
                <a:off x="5054002" y="2267263"/>
                <a:ext cx="518013" cy="452451"/>
              </a:xfrm>
              <a:custGeom>
                <a:avLst/>
                <a:gdLst>
                  <a:gd name="T0" fmla="*/ 71438 w 374"/>
                  <a:gd name="T1" fmla="*/ 61913 h 307"/>
                  <a:gd name="T2" fmla="*/ 36513 w 374"/>
                  <a:gd name="T3" fmla="*/ 96838 h 307"/>
                  <a:gd name="T4" fmla="*/ 0 w 374"/>
                  <a:gd name="T5" fmla="*/ 80963 h 307"/>
                  <a:gd name="T6" fmla="*/ 0 w 374"/>
                  <a:gd name="T7" fmla="*/ 131763 h 307"/>
                  <a:gd name="T8" fmla="*/ 46037 w 374"/>
                  <a:gd name="T9" fmla="*/ 212725 h 307"/>
                  <a:gd name="T10" fmla="*/ 115888 w 374"/>
                  <a:gd name="T11" fmla="*/ 284163 h 307"/>
                  <a:gd name="T12" fmla="*/ 115888 w 374"/>
                  <a:gd name="T13" fmla="*/ 325438 h 307"/>
                  <a:gd name="T14" fmla="*/ 168275 w 374"/>
                  <a:gd name="T15" fmla="*/ 390525 h 307"/>
                  <a:gd name="T16" fmla="*/ 239713 w 374"/>
                  <a:gd name="T17" fmla="*/ 487363 h 307"/>
                  <a:gd name="T18" fmla="*/ 258763 w 374"/>
                  <a:gd name="T19" fmla="*/ 477838 h 307"/>
                  <a:gd name="T20" fmla="*/ 258763 w 374"/>
                  <a:gd name="T21" fmla="*/ 450850 h 307"/>
                  <a:gd name="T22" fmla="*/ 284163 w 374"/>
                  <a:gd name="T23" fmla="*/ 441325 h 307"/>
                  <a:gd name="T24" fmla="*/ 336550 w 374"/>
                  <a:gd name="T25" fmla="*/ 477838 h 307"/>
                  <a:gd name="T26" fmla="*/ 381000 w 374"/>
                  <a:gd name="T27" fmla="*/ 415925 h 307"/>
                  <a:gd name="T28" fmla="*/ 496888 w 374"/>
                  <a:gd name="T29" fmla="*/ 400050 h 307"/>
                  <a:gd name="T30" fmla="*/ 549275 w 374"/>
                  <a:gd name="T31" fmla="*/ 381000 h 307"/>
                  <a:gd name="T32" fmla="*/ 593725 w 374"/>
                  <a:gd name="T33" fmla="*/ 309563 h 307"/>
                  <a:gd name="T34" fmla="*/ 574675 w 374"/>
                  <a:gd name="T35" fmla="*/ 284163 h 307"/>
                  <a:gd name="T36" fmla="*/ 558800 w 374"/>
                  <a:gd name="T37" fmla="*/ 293688 h 307"/>
                  <a:gd name="T38" fmla="*/ 477838 w 374"/>
                  <a:gd name="T39" fmla="*/ 284163 h 307"/>
                  <a:gd name="T40" fmla="*/ 461963 w 374"/>
                  <a:gd name="T41" fmla="*/ 247650 h 307"/>
                  <a:gd name="T42" fmla="*/ 442913 w 374"/>
                  <a:gd name="T43" fmla="*/ 228600 h 307"/>
                  <a:gd name="T44" fmla="*/ 433388 w 374"/>
                  <a:gd name="T45" fmla="*/ 212725 h 307"/>
                  <a:gd name="T46" fmla="*/ 425450 w 374"/>
                  <a:gd name="T47" fmla="*/ 177800 h 307"/>
                  <a:gd name="T48" fmla="*/ 361950 w 374"/>
                  <a:gd name="T49" fmla="*/ 131763 h 307"/>
                  <a:gd name="T50" fmla="*/ 361950 w 374"/>
                  <a:gd name="T51" fmla="*/ 112713 h 307"/>
                  <a:gd name="T52" fmla="*/ 330200 w 374"/>
                  <a:gd name="T53" fmla="*/ 96838 h 307"/>
                  <a:gd name="T54" fmla="*/ 265113 w 374"/>
                  <a:gd name="T55" fmla="*/ 96838 h 307"/>
                  <a:gd name="T56" fmla="*/ 239713 w 374"/>
                  <a:gd name="T57" fmla="*/ 87313 h 307"/>
                  <a:gd name="T58" fmla="*/ 223838 w 374"/>
                  <a:gd name="T59" fmla="*/ 52388 h 307"/>
                  <a:gd name="T60" fmla="*/ 106363 w 374"/>
                  <a:gd name="T61" fmla="*/ 0 h 307"/>
                  <a:gd name="T62" fmla="*/ 71438 w 374"/>
                  <a:gd name="T63" fmla="*/ 15875 h 307"/>
                  <a:gd name="T64" fmla="*/ 61913 w 374"/>
                  <a:gd name="T65" fmla="*/ 42863 h 307"/>
                  <a:gd name="T66" fmla="*/ 71438 w 374"/>
                  <a:gd name="T67" fmla="*/ 61913 h 307"/>
                  <a:gd name="T68" fmla="*/ 71438 w 374"/>
                  <a:gd name="T69" fmla="*/ 61913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74"/>
                  <a:gd name="T106" fmla="*/ 0 h 307"/>
                  <a:gd name="T107" fmla="*/ 374 w 374"/>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74" h="307">
                    <a:moveTo>
                      <a:pt x="45" y="39"/>
                    </a:moveTo>
                    <a:lnTo>
                      <a:pt x="23" y="61"/>
                    </a:lnTo>
                    <a:lnTo>
                      <a:pt x="0" y="51"/>
                    </a:lnTo>
                    <a:lnTo>
                      <a:pt x="0" y="83"/>
                    </a:lnTo>
                    <a:lnTo>
                      <a:pt x="29" y="134"/>
                    </a:lnTo>
                    <a:lnTo>
                      <a:pt x="73" y="179"/>
                    </a:lnTo>
                    <a:lnTo>
                      <a:pt x="73" y="205"/>
                    </a:lnTo>
                    <a:lnTo>
                      <a:pt x="106" y="246"/>
                    </a:lnTo>
                    <a:lnTo>
                      <a:pt x="151" y="307"/>
                    </a:lnTo>
                    <a:lnTo>
                      <a:pt x="163" y="301"/>
                    </a:lnTo>
                    <a:lnTo>
                      <a:pt x="163" y="284"/>
                    </a:lnTo>
                    <a:lnTo>
                      <a:pt x="179" y="278"/>
                    </a:lnTo>
                    <a:lnTo>
                      <a:pt x="212" y="301"/>
                    </a:lnTo>
                    <a:lnTo>
                      <a:pt x="240" y="262"/>
                    </a:lnTo>
                    <a:lnTo>
                      <a:pt x="313" y="252"/>
                    </a:lnTo>
                    <a:lnTo>
                      <a:pt x="346" y="240"/>
                    </a:lnTo>
                    <a:lnTo>
                      <a:pt x="374" y="195"/>
                    </a:lnTo>
                    <a:lnTo>
                      <a:pt x="362" y="179"/>
                    </a:lnTo>
                    <a:lnTo>
                      <a:pt x="352" y="185"/>
                    </a:lnTo>
                    <a:lnTo>
                      <a:pt x="301" y="179"/>
                    </a:lnTo>
                    <a:lnTo>
                      <a:pt x="291" y="156"/>
                    </a:lnTo>
                    <a:lnTo>
                      <a:pt x="279" y="144"/>
                    </a:lnTo>
                    <a:lnTo>
                      <a:pt x="273" y="134"/>
                    </a:lnTo>
                    <a:lnTo>
                      <a:pt x="268" y="112"/>
                    </a:lnTo>
                    <a:lnTo>
                      <a:pt x="228" y="83"/>
                    </a:lnTo>
                    <a:lnTo>
                      <a:pt x="228" y="71"/>
                    </a:lnTo>
                    <a:lnTo>
                      <a:pt x="208" y="61"/>
                    </a:lnTo>
                    <a:lnTo>
                      <a:pt x="167" y="61"/>
                    </a:lnTo>
                    <a:lnTo>
                      <a:pt x="151" y="55"/>
                    </a:lnTo>
                    <a:lnTo>
                      <a:pt x="141" y="33"/>
                    </a:lnTo>
                    <a:lnTo>
                      <a:pt x="67" y="0"/>
                    </a:lnTo>
                    <a:lnTo>
                      <a:pt x="45" y="10"/>
                    </a:lnTo>
                    <a:lnTo>
                      <a:pt x="39" y="27"/>
                    </a:lnTo>
                    <a:lnTo>
                      <a:pt x="45"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0" name="Freeform 59">
                <a:extLst>
                  <a:ext uri="{FF2B5EF4-FFF2-40B4-BE49-F238E27FC236}">
                    <a16:creationId xmlns:a16="http://schemas.microsoft.com/office/drawing/2014/main" id="{1624DAF8-69A2-4661-8F27-E0949D91A19F}"/>
                  </a:ext>
                </a:extLst>
              </p:cNvPr>
              <p:cNvSpPr>
                <a:spLocks/>
              </p:cNvSpPr>
              <p:nvPr/>
            </p:nvSpPr>
            <p:spPr bwMode="auto">
              <a:xfrm>
                <a:off x="5457056" y="2441169"/>
                <a:ext cx="123270" cy="98745"/>
              </a:xfrm>
              <a:custGeom>
                <a:avLst/>
                <a:gdLst>
                  <a:gd name="T0" fmla="*/ 141287 w 89"/>
                  <a:gd name="T1" fmla="*/ 31750 h 67"/>
                  <a:gd name="T2" fmla="*/ 122237 w 89"/>
                  <a:gd name="T3" fmla="*/ 0 h 67"/>
                  <a:gd name="T4" fmla="*/ 87312 w 89"/>
                  <a:gd name="T5" fmla="*/ 31750 h 67"/>
                  <a:gd name="T6" fmla="*/ 15875 w 89"/>
                  <a:gd name="T7" fmla="*/ 50800 h 67"/>
                  <a:gd name="T8" fmla="*/ 0 w 89"/>
                  <a:gd name="T9" fmla="*/ 60325 h 67"/>
                  <a:gd name="T10" fmla="*/ 15875 w 89"/>
                  <a:gd name="T11" fmla="*/ 96838 h 67"/>
                  <a:gd name="T12" fmla="*/ 96837 w 89"/>
                  <a:gd name="T13" fmla="*/ 106363 h 67"/>
                  <a:gd name="T14" fmla="*/ 112712 w 89"/>
                  <a:gd name="T15" fmla="*/ 96838 h 67"/>
                  <a:gd name="T16" fmla="*/ 141287 w 89"/>
                  <a:gd name="T17" fmla="*/ 31750 h 67"/>
                  <a:gd name="T18" fmla="*/ 141287 w 89"/>
                  <a:gd name="T19" fmla="*/ 31750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9"/>
                  <a:gd name="T31" fmla="*/ 0 h 67"/>
                  <a:gd name="T32" fmla="*/ 89 w 89"/>
                  <a:gd name="T33" fmla="*/ 67 h 6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9" h="67">
                    <a:moveTo>
                      <a:pt x="89" y="20"/>
                    </a:moveTo>
                    <a:lnTo>
                      <a:pt x="77" y="0"/>
                    </a:lnTo>
                    <a:lnTo>
                      <a:pt x="55" y="20"/>
                    </a:lnTo>
                    <a:lnTo>
                      <a:pt x="10" y="32"/>
                    </a:lnTo>
                    <a:lnTo>
                      <a:pt x="0" y="38"/>
                    </a:lnTo>
                    <a:lnTo>
                      <a:pt x="10" y="61"/>
                    </a:lnTo>
                    <a:lnTo>
                      <a:pt x="61" y="67"/>
                    </a:lnTo>
                    <a:lnTo>
                      <a:pt x="71" y="61"/>
                    </a:lnTo>
                    <a:lnTo>
                      <a:pt x="89" y="2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1" name="Freeform 60">
                <a:extLst>
                  <a:ext uri="{FF2B5EF4-FFF2-40B4-BE49-F238E27FC236}">
                    <a16:creationId xmlns:a16="http://schemas.microsoft.com/office/drawing/2014/main" id="{3A82BD50-84EB-43E7-8717-07ADBBB741C7}"/>
                  </a:ext>
                </a:extLst>
              </p:cNvPr>
              <p:cNvSpPr>
                <a:spLocks/>
              </p:cNvSpPr>
              <p:nvPr/>
            </p:nvSpPr>
            <p:spPr bwMode="auto">
              <a:xfrm>
                <a:off x="5448745" y="2423483"/>
                <a:ext cx="22161" cy="73688"/>
              </a:xfrm>
              <a:custGeom>
                <a:avLst/>
                <a:gdLst>
                  <a:gd name="T0" fmla="*/ 9525 w 16"/>
                  <a:gd name="T1" fmla="*/ 79375 h 50"/>
                  <a:gd name="T2" fmla="*/ 25400 w 16"/>
                  <a:gd name="T3" fmla="*/ 69850 h 50"/>
                  <a:gd name="T4" fmla="*/ 25400 w 16"/>
                  <a:gd name="T5" fmla="*/ 34925 h 50"/>
                  <a:gd name="T6" fmla="*/ 15875 w 16"/>
                  <a:gd name="T7" fmla="*/ 9525 h 50"/>
                  <a:gd name="T8" fmla="*/ 0 w 16"/>
                  <a:gd name="T9" fmla="*/ 0 h 50"/>
                  <a:gd name="T10" fmla="*/ 0 w 16"/>
                  <a:gd name="T11" fmla="*/ 50800 h 50"/>
                  <a:gd name="T12" fmla="*/ 9525 w 16"/>
                  <a:gd name="T13" fmla="*/ 79375 h 50"/>
                  <a:gd name="T14" fmla="*/ 9525 w 16"/>
                  <a:gd name="T15" fmla="*/ 79375 h 50"/>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50"/>
                  <a:gd name="T26" fmla="*/ 16 w 16"/>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50">
                    <a:moveTo>
                      <a:pt x="6" y="50"/>
                    </a:moveTo>
                    <a:lnTo>
                      <a:pt x="16" y="44"/>
                    </a:lnTo>
                    <a:lnTo>
                      <a:pt x="16" y="22"/>
                    </a:lnTo>
                    <a:lnTo>
                      <a:pt x="10" y="6"/>
                    </a:lnTo>
                    <a:lnTo>
                      <a:pt x="0" y="0"/>
                    </a:lnTo>
                    <a:lnTo>
                      <a:pt x="0" y="32"/>
                    </a:lnTo>
                    <a:lnTo>
                      <a:pt x="6" y="5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2" name="Freeform 61">
                <a:extLst>
                  <a:ext uri="{FF2B5EF4-FFF2-40B4-BE49-F238E27FC236}">
                    <a16:creationId xmlns:a16="http://schemas.microsoft.com/office/drawing/2014/main" id="{FD713043-49D3-4590-87B8-EB291F134D5A}"/>
                  </a:ext>
                </a:extLst>
              </p:cNvPr>
              <p:cNvSpPr>
                <a:spLocks/>
              </p:cNvSpPr>
              <p:nvPr/>
            </p:nvSpPr>
            <p:spPr bwMode="auto">
              <a:xfrm>
                <a:off x="5342095" y="2324741"/>
                <a:ext cx="27702" cy="47161"/>
              </a:xfrm>
              <a:custGeom>
                <a:avLst/>
                <a:gdLst>
                  <a:gd name="T0" fmla="*/ 0 w 20"/>
                  <a:gd name="T1" fmla="*/ 9525 h 32"/>
                  <a:gd name="T2" fmla="*/ 0 w 20"/>
                  <a:gd name="T3" fmla="*/ 34925 h 32"/>
                  <a:gd name="T4" fmla="*/ 31750 w 20"/>
                  <a:gd name="T5" fmla="*/ 50800 h 32"/>
                  <a:gd name="T6" fmla="*/ 31750 w 20"/>
                  <a:gd name="T7" fmla="*/ 0 h 32"/>
                  <a:gd name="T8" fmla="*/ 0 w 20"/>
                  <a:gd name="T9" fmla="*/ 9525 h 32"/>
                  <a:gd name="T10" fmla="*/ 0 w 20"/>
                  <a:gd name="T11" fmla="*/ 9525 h 32"/>
                  <a:gd name="T12" fmla="*/ 0 60000 65536"/>
                  <a:gd name="T13" fmla="*/ 0 60000 65536"/>
                  <a:gd name="T14" fmla="*/ 0 60000 65536"/>
                  <a:gd name="T15" fmla="*/ 0 60000 65536"/>
                  <a:gd name="T16" fmla="*/ 0 60000 65536"/>
                  <a:gd name="T17" fmla="*/ 0 60000 65536"/>
                  <a:gd name="T18" fmla="*/ 0 w 20"/>
                  <a:gd name="T19" fmla="*/ 0 h 32"/>
                  <a:gd name="T20" fmla="*/ 20 w 20"/>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0" h="32">
                    <a:moveTo>
                      <a:pt x="0" y="6"/>
                    </a:moveTo>
                    <a:lnTo>
                      <a:pt x="0" y="22"/>
                    </a:lnTo>
                    <a:lnTo>
                      <a:pt x="20" y="32"/>
                    </a:lnTo>
                    <a:lnTo>
                      <a:pt x="20"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3" name="Freeform 62">
                <a:extLst>
                  <a:ext uri="{FF2B5EF4-FFF2-40B4-BE49-F238E27FC236}">
                    <a16:creationId xmlns:a16="http://schemas.microsoft.com/office/drawing/2014/main" id="{8E3354A6-B268-4A24-ADB2-64E5CF038730}"/>
                  </a:ext>
                </a:extLst>
              </p:cNvPr>
              <p:cNvSpPr>
                <a:spLocks/>
              </p:cNvSpPr>
              <p:nvPr/>
            </p:nvSpPr>
            <p:spPr bwMode="auto">
              <a:xfrm>
                <a:off x="5138492" y="2127254"/>
                <a:ext cx="239615" cy="229910"/>
              </a:xfrm>
              <a:custGeom>
                <a:avLst/>
                <a:gdLst>
                  <a:gd name="T0" fmla="*/ 187325 w 173"/>
                  <a:gd name="T1" fmla="*/ 60325 h 156"/>
                  <a:gd name="T2" fmla="*/ 142875 w 173"/>
                  <a:gd name="T3" fmla="*/ 9525 h 156"/>
                  <a:gd name="T4" fmla="*/ 80962 w 173"/>
                  <a:gd name="T5" fmla="*/ 0 h 156"/>
                  <a:gd name="T6" fmla="*/ 55562 w 173"/>
                  <a:gd name="T7" fmla="*/ 34925 h 156"/>
                  <a:gd name="T8" fmla="*/ 55562 w 173"/>
                  <a:gd name="T9" fmla="*/ 87312 h 156"/>
                  <a:gd name="T10" fmla="*/ 0 w 173"/>
                  <a:gd name="T11" fmla="*/ 115888 h 156"/>
                  <a:gd name="T12" fmla="*/ 9525 w 173"/>
                  <a:gd name="T13" fmla="*/ 150812 h 156"/>
                  <a:gd name="T14" fmla="*/ 127000 w 173"/>
                  <a:gd name="T15" fmla="*/ 203200 h 156"/>
                  <a:gd name="T16" fmla="*/ 142875 w 173"/>
                  <a:gd name="T17" fmla="*/ 238125 h 156"/>
                  <a:gd name="T18" fmla="*/ 168275 w 173"/>
                  <a:gd name="T19" fmla="*/ 247650 h 156"/>
                  <a:gd name="T20" fmla="*/ 233362 w 173"/>
                  <a:gd name="T21" fmla="*/ 247650 h 156"/>
                  <a:gd name="T22" fmla="*/ 233362 w 173"/>
                  <a:gd name="T23" fmla="*/ 222250 h 156"/>
                  <a:gd name="T24" fmla="*/ 265112 w 173"/>
                  <a:gd name="T25" fmla="*/ 212725 h 156"/>
                  <a:gd name="T26" fmla="*/ 274637 w 173"/>
                  <a:gd name="T27" fmla="*/ 203200 h 156"/>
                  <a:gd name="T28" fmla="*/ 239712 w 173"/>
                  <a:gd name="T29" fmla="*/ 176212 h 156"/>
                  <a:gd name="T30" fmla="*/ 239712 w 173"/>
                  <a:gd name="T31" fmla="*/ 150812 h 156"/>
                  <a:gd name="T32" fmla="*/ 187325 w 173"/>
                  <a:gd name="T33" fmla="*/ 115888 h 156"/>
                  <a:gd name="T34" fmla="*/ 177800 w 173"/>
                  <a:gd name="T35" fmla="*/ 79375 h 156"/>
                  <a:gd name="T36" fmla="*/ 187325 w 173"/>
                  <a:gd name="T37" fmla="*/ 60325 h 156"/>
                  <a:gd name="T38" fmla="*/ 187325 w 173"/>
                  <a:gd name="T39" fmla="*/ 60325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3"/>
                  <a:gd name="T61" fmla="*/ 0 h 156"/>
                  <a:gd name="T62" fmla="*/ 173 w 173"/>
                  <a:gd name="T63" fmla="*/ 156 h 1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3" h="156">
                    <a:moveTo>
                      <a:pt x="118" y="38"/>
                    </a:moveTo>
                    <a:lnTo>
                      <a:pt x="90" y="6"/>
                    </a:lnTo>
                    <a:lnTo>
                      <a:pt x="51" y="0"/>
                    </a:lnTo>
                    <a:lnTo>
                      <a:pt x="35" y="22"/>
                    </a:lnTo>
                    <a:lnTo>
                      <a:pt x="35" y="55"/>
                    </a:lnTo>
                    <a:lnTo>
                      <a:pt x="0" y="73"/>
                    </a:lnTo>
                    <a:lnTo>
                      <a:pt x="6" y="95"/>
                    </a:lnTo>
                    <a:lnTo>
                      <a:pt x="80" y="128"/>
                    </a:lnTo>
                    <a:lnTo>
                      <a:pt x="90" y="150"/>
                    </a:lnTo>
                    <a:lnTo>
                      <a:pt x="106" y="156"/>
                    </a:lnTo>
                    <a:lnTo>
                      <a:pt x="147" y="156"/>
                    </a:lnTo>
                    <a:lnTo>
                      <a:pt x="147" y="140"/>
                    </a:lnTo>
                    <a:lnTo>
                      <a:pt x="167" y="134"/>
                    </a:lnTo>
                    <a:lnTo>
                      <a:pt x="173" y="128"/>
                    </a:lnTo>
                    <a:lnTo>
                      <a:pt x="151" y="111"/>
                    </a:lnTo>
                    <a:lnTo>
                      <a:pt x="151" y="95"/>
                    </a:lnTo>
                    <a:lnTo>
                      <a:pt x="118" y="73"/>
                    </a:lnTo>
                    <a:lnTo>
                      <a:pt x="112" y="50"/>
                    </a:lnTo>
                    <a:lnTo>
                      <a:pt x="118" y="3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4" name="Freeform 63">
                <a:extLst>
                  <a:ext uri="{FF2B5EF4-FFF2-40B4-BE49-F238E27FC236}">
                    <a16:creationId xmlns:a16="http://schemas.microsoft.com/office/drawing/2014/main" id="{82B0FCEC-22B6-4064-8032-3B8A0D3AA175}"/>
                  </a:ext>
                </a:extLst>
              </p:cNvPr>
              <p:cNvSpPr>
                <a:spLocks/>
              </p:cNvSpPr>
              <p:nvPr/>
            </p:nvSpPr>
            <p:spPr bwMode="auto">
              <a:xfrm>
                <a:off x="5054002" y="2234840"/>
                <a:ext cx="92799" cy="122325"/>
              </a:xfrm>
              <a:custGeom>
                <a:avLst/>
                <a:gdLst>
                  <a:gd name="T0" fmla="*/ 9525 w 67"/>
                  <a:gd name="T1" fmla="*/ 25400 h 83"/>
                  <a:gd name="T2" fmla="*/ 0 w 67"/>
                  <a:gd name="T3" fmla="*/ 115888 h 83"/>
                  <a:gd name="T4" fmla="*/ 36513 w 67"/>
                  <a:gd name="T5" fmla="*/ 131763 h 83"/>
                  <a:gd name="T6" fmla="*/ 71438 w 67"/>
                  <a:gd name="T7" fmla="*/ 96838 h 83"/>
                  <a:gd name="T8" fmla="*/ 61913 w 67"/>
                  <a:gd name="T9" fmla="*/ 77788 h 83"/>
                  <a:gd name="T10" fmla="*/ 71438 w 67"/>
                  <a:gd name="T11" fmla="*/ 50800 h 83"/>
                  <a:gd name="T12" fmla="*/ 106363 w 67"/>
                  <a:gd name="T13" fmla="*/ 34925 h 83"/>
                  <a:gd name="T14" fmla="*/ 96838 w 67"/>
                  <a:gd name="T15" fmla="*/ 0 h 83"/>
                  <a:gd name="T16" fmla="*/ 36513 w 67"/>
                  <a:gd name="T17" fmla="*/ 34925 h 83"/>
                  <a:gd name="T18" fmla="*/ 9525 w 67"/>
                  <a:gd name="T19" fmla="*/ 25400 h 83"/>
                  <a:gd name="T20" fmla="*/ 9525 w 67"/>
                  <a:gd name="T21" fmla="*/ 25400 h 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83"/>
                  <a:gd name="T35" fmla="*/ 67 w 67"/>
                  <a:gd name="T36" fmla="*/ 83 h 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83">
                    <a:moveTo>
                      <a:pt x="6" y="16"/>
                    </a:moveTo>
                    <a:lnTo>
                      <a:pt x="0" y="73"/>
                    </a:lnTo>
                    <a:lnTo>
                      <a:pt x="23" y="83"/>
                    </a:lnTo>
                    <a:lnTo>
                      <a:pt x="45" y="61"/>
                    </a:lnTo>
                    <a:lnTo>
                      <a:pt x="39" y="49"/>
                    </a:lnTo>
                    <a:lnTo>
                      <a:pt x="45" y="32"/>
                    </a:lnTo>
                    <a:lnTo>
                      <a:pt x="67" y="22"/>
                    </a:lnTo>
                    <a:lnTo>
                      <a:pt x="61" y="0"/>
                    </a:lnTo>
                    <a:lnTo>
                      <a:pt x="23" y="22"/>
                    </a:lnTo>
                    <a:lnTo>
                      <a:pt x="6"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5" name="Freeform 64">
                <a:extLst>
                  <a:ext uri="{FF2B5EF4-FFF2-40B4-BE49-F238E27FC236}">
                    <a16:creationId xmlns:a16="http://schemas.microsoft.com/office/drawing/2014/main" id="{AEE1568C-BC07-47B1-A690-9FB1742B352E}"/>
                  </a:ext>
                </a:extLst>
              </p:cNvPr>
              <p:cNvSpPr>
                <a:spLocks/>
              </p:cNvSpPr>
              <p:nvPr/>
            </p:nvSpPr>
            <p:spPr bwMode="auto">
              <a:xfrm>
                <a:off x="5040152" y="2127254"/>
                <a:ext cx="168979" cy="140009"/>
              </a:xfrm>
              <a:custGeom>
                <a:avLst/>
                <a:gdLst>
                  <a:gd name="T0" fmla="*/ 6350 w 122"/>
                  <a:gd name="T1" fmla="*/ 79375 h 95"/>
                  <a:gd name="T2" fmla="*/ 46038 w 122"/>
                  <a:gd name="T3" fmla="*/ 79375 h 95"/>
                  <a:gd name="T4" fmla="*/ 46038 w 122"/>
                  <a:gd name="T5" fmla="*/ 96837 h 95"/>
                  <a:gd name="T6" fmla="*/ 25400 w 122"/>
                  <a:gd name="T7" fmla="*/ 125412 h 95"/>
                  <a:gd name="T8" fmla="*/ 25400 w 122"/>
                  <a:gd name="T9" fmla="*/ 141287 h 95"/>
                  <a:gd name="T10" fmla="*/ 52388 w 122"/>
                  <a:gd name="T11" fmla="*/ 150812 h 95"/>
                  <a:gd name="T12" fmla="*/ 168275 w 122"/>
                  <a:gd name="T13" fmla="*/ 87312 h 95"/>
                  <a:gd name="T14" fmla="*/ 168275 w 122"/>
                  <a:gd name="T15" fmla="*/ 34925 h 95"/>
                  <a:gd name="T16" fmla="*/ 193675 w 122"/>
                  <a:gd name="T17" fmla="*/ 0 h 95"/>
                  <a:gd name="T18" fmla="*/ 46038 w 122"/>
                  <a:gd name="T19" fmla="*/ 19050 h 95"/>
                  <a:gd name="T20" fmla="*/ 6350 w 122"/>
                  <a:gd name="T21" fmla="*/ 44450 h 95"/>
                  <a:gd name="T22" fmla="*/ 0 w 122"/>
                  <a:gd name="T23" fmla="*/ 53975 h 95"/>
                  <a:gd name="T24" fmla="*/ 6350 w 122"/>
                  <a:gd name="T25" fmla="*/ 79375 h 95"/>
                  <a:gd name="T26" fmla="*/ 6350 w 122"/>
                  <a:gd name="T27" fmla="*/ 79375 h 9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95"/>
                  <a:gd name="T44" fmla="*/ 122 w 122"/>
                  <a:gd name="T45" fmla="*/ 95 h 9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95">
                    <a:moveTo>
                      <a:pt x="4" y="50"/>
                    </a:moveTo>
                    <a:lnTo>
                      <a:pt x="29" y="50"/>
                    </a:lnTo>
                    <a:lnTo>
                      <a:pt x="29" y="61"/>
                    </a:lnTo>
                    <a:lnTo>
                      <a:pt x="16" y="79"/>
                    </a:lnTo>
                    <a:lnTo>
                      <a:pt x="16" y="89"/>
                    </a:lnTo>
                    <a:lnTo>
                      <a:pt x="33" y="95"/>
                    </a:lnTo>
                    <a:lnTo>
                      <a:pt x="106" y="55"/>
                    </a:lnTo>
                    <a:lnTo>
                      <a:pt x="106" y="22"/>
                    </a:lnTo>
                    <a:lnTo>
                      <a:pt x="122" y="0"/>
                    </a:lnTo>
                    <a:lnTo>
                      <a:pt x="29" y="12"/>
                    </a:lnTo>
                    <a:lnTo>
                      <a:pt x="4" y="28"/>
                    </a:lnTo>
                    <a:lnTo>
                      <a:pt x="0" y="34"/>
                    </a:lnTo>
                    <a:lnTo>
                      <a:pt x="4" y="5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6" name="Freeform 655">
                <a:extLst>
                  <a:ext uri="{FF2B5EF4-FFF2-40B4-BE49-F238E27FC236}">
                    <a16:creationId xmlns:a16="http://schemas.microsoft.com/office/drawing/2014/main" id="{28308BE7-FB82-44A2-B414-78E9C96D82E9}"/>
                  </a:ext>
                </a:extLst>
              </p:cNvPr>
              <p:cNvSpPr>
                <a:spLocks/>
              </p:cNvSpPr>
              <p:nvPr/>
            </p:nvSpPr>
            <p:spPr bwMode="auto">
              <a:xfrm>
                <a:off x="5040152" y="2200943"/>
                <a:ext cx="40167" cy="42740"/>
              </a:xfrm>
              <a:custGeom>
                <a:avLst/>
                <a:gdLst>
                  <a:gd name="T0" fmla="*/ 0 w 29"/>
                  <a:gd name="T1" fmla="*/ 26987 h 29"/>
                  <a:gd name="T2" fmla="*/ 25400 w 29"/>
                  <a:gd name="T3" fmla="*/ 46037 h 29"/>
                  <a:gd name="T4" fmla="*/ 46038 w 29"/>
                  <a:gd name="T5" fmla="*/ 17462 h 29"/>
                  <a:gd name="T6" fmla="*/ 46038 w 29"/>
                  <a:gd name="T7" fmla="*/ 0 h 29"/>
                  <a:gd name="T8" fmla="*/ 6350 w 29"/>
                  <a:gd name="T9" fmla="*/ 0 h 29"/>
                  <a:gd name="T10" fmla="*/ 0 w 29"/>
                  <a:gd name="T11" fmla="*/ 26987 h 29"/>
                  <a:gd name="T12" fmla="*/ 0 w 29"/>
                  <a:gd name="T13" fmla="*/ 26987 h 29"/>
                  <a:gd name="T14" fmla="*/ 0 60000 65536"/>
                  <a:gd name="T15" fmla="*/ 0 60000 65536"/>
                  <a:gd name="T16" fmla="*/ 0 60000 65536"/>
                  <a:gd name="T17" fmla="*/ 0 60000 65536"/>
                  <a:gd name="T18" fmla="*/ 0 60000 65536"/>
                  <a:gd name="T19" fmla="*/ 0 60000 65536"/>
                  <a:gd name="T20" fmla="*/ 0 60000 65536"/>
                  <a:gd name="T21" fmla="*/ 0 w 29"/>
                  <a:gd name="T22" fmla="*/ 0 h 29"/>
                  <a:gd name="T23" fmla="*/ 29 w 29"/>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9">
                    <a:moveTo>
                      <a:pt x="0" y="17"/>
                    </a:moveTo>
                    <a:lnTo>
                      <a:pt x="16" y="29"/>
                    </a:lnTo>
                    <a:lnTo>
                      <a:pt x="29" y="11"/>
                    </a:lnTo>
                    <a:lnTo>
                      <a:pt x="29" y="0"/>
                    </a:lnTo>
                    <a:lnTo>
                      <a:pt x="4" y="0"/>
                    </a:lnTo>
                    <a:lnTo>
                      <a:pt x="0" y="1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7" name="Freeform 656">
                <a:extLst>
                  <a:ext uri="{FF2B5EF4-FFF2-40B4-BE49-F238E27FC236}">
                    <a16:creationId xmlns:a16="http://schemas.microsoft.com/office/drawing/2014/main" id="{23D06CAD-4C51-4E06-B5AA-D3BE4698C3B3}"/>
                  </a:ext>
                </a:extLst>
              </p:cNvPr>
              <p:cNvSpPr>
                <a:spLocks/>
              </p:cNvSpPr>
              <p:nvPr/>
            </p:nvSpPr>
            <p:spPr bwMode="auto">
              <a:xfrm>
                <a:off x="5239600" y="2052092"/>
                <a:ext cx="493082" cy="418554"/>
              </a:xfrm>
              <a:custGeom>
                <a:avLst/>
                <a:gdLst>
                  <a:gd name="T0" fmla="*/ 117475 w 356"/>
                  <a:gd name="T1" fmla="*/ 61912 h 284"/>
                  <a:gd name="T2" fmla="*/ 106363 w 356"/>
                  <a:gd name="T3" fmla="*/ 9525 h 284"/>
                  <a:gd name="T4" fmla="*/ 71437 w 356"/>
                  <a:gd name="T5" fmla="*/ 0 h 284"/>
                  <a:gd name="T6" fmla="*/ 61913 w 356"/>
                  <a:gd name="T7" fmla="*/ 34925 h 284"/>
                  <a:gd name="T8" fmla="*/ 26988 w 356"/>
                  <a:gd name="T9" fmla="*/ 19050 h 284"/>
                  <a:gd name="T10" fmla="*/ 0 w 356"/>
                  <a:gd name="T11" fmla="*/ 9525 h 284"/>
                  <a:gd name="T12" fmla="*/ 26988 w 356"/>
                  <a:gd name="T13" fmla="*/ 90487 h 284"/>
                  <a:gd name="T14" fmla="*/ 71437 w 356"/>
                  <a:gd name="T15" fmla="*/ 141287 h 284"/>
                  <a:gd name="T16" fmla="*/ 61913 w 356"/>
                  <a:gd name="T17" fmla="*/ 160337 h 284"/>
                  <a:gd name="T18" fmla="*/ 71437 w 356"/>
                  <a:gd name="T19" fmla="*/ 196850 h 284"/>
                  <a:gd name="T20" fmla="*/ 123825 w 356"/>
                  <a:gd name="T21" fmla="*/ 231775 h 284"/>
                  <a:gd name="T22" fmla="*/ 123825 w 356"/>
                  <a:gd name="T23" fmla="*/ 257175 h 284"/>
                  <a:gd name="T24" fmla="*/ 158750 w 356"/>
                  <a:gd name="T25" fmla="*/ 284162 h 284"/>
                  <a:gd name="T26" fmla="*/ 177800 w 356"/>
                  <a:gd name="T27" fmla="*/ 284162 h 284"/>
                  <a:gd name="T28" fmla="*/ 220663 w 356"/>
                  <a:gd name="T29" fmla="*/ 363537 h 284"/>
                  <a:gd name="T30" fmla="*/ 255588 w 356"/>
                  <a:gd name="T31" fmla="*/ 363537 h 284"/>
                  <a:gd name="T32" fmla="*/ 274638 w 356"/>
                  <a:gd name="T33" fmla="*/ 390525 h 284"/>
                  <a:gd name="T34" fmla="*/ 336550 w 356"/>
                  <a:gd name="T35" fmla="*/ 400050 h 284"/>
                  <a:gd name="T36" fmla="*/ 371475 w 356"/>
                  <a:gd name="T37" fmla="*/ 381000 h 284"/>
                  <a:gd name="T38" fmla="*/ 396875 w 356"/>
                  <a:gd name="T39" fmla="*/ 390525 h 284"/>
                  <a:gd name="T40" fmla="*/ 396875 w 356"/>
                  <a:gd name="T41" fmla="*/ 425450 h 284"/>
                  <a:gd name="T42" fmla="*/ 539750 w 356"/>
                  <a:gd name="T43" fmla="*/ 450850 h 284"/>
                  <a:gd name="T44" fmla="*/ 539750 w 356"/>
                  <a:gd name="T45" fmla="*/ 425450 h 284"/>
                  <a:gd name="T46" fmla="*/ 565150 w 356"/>
                  <a:gd name="T47" fmla="*/ 400050 h 284"/>
                  <a:gd name="T48" fmla="*/ 555625 w 356"/>
                  <a:gd name="T49" fmla="*/ 363537 h 284"/>
                  <a:gd name="T50" fmla="*/ 493713 w 356"/>
                  <a:gd name="T51" fmla="*/ 312737 h 284"/>
                  <a:gd name="T52" fmla="*/ 512763 w 356"/>
                  <a:gd name="T53" fmla="*/ 257175 h 284"/>
                  <a:gd name="T54" fmla="*/ 487363 w 356"/>
                  <a:gd name="T55" fmla="*/ 247650 h 284"/>
                  <a:gd name="T56" fmla="*/ 452438 w 356"/>
                  <a:gd name="T57" fmla="*/ 177800 h 284"/>
                  <a:gd name="T58" fmla="*/ 477838 w 356"/>
                  <a:gd name="T59" fmla="*/ 141287 h 284"/>
                  <a:gd name="T60" fmla="*/ 458788 w 356"/>
                  <a:gd name="T61" fmla="*/ 100012 h 284"/>
                  <a:gd name="T62" fmla="*/ 381000 w 356"/>
                  <a:gd name="T63" fmla="*/ 53975 h 284"/>
                  <a:gd name="T64" fmla="*/ 309562 w 356"/>
                  <a:gd name="T65" fmla="*/ 44450 h 284"/>
                  <a:gd name="T66" fmla="*/ 193675 w 356"/>
                  <a:gd name="T67" fmla="*/ 100012 h 284"/>
                  <a:gd name="T68" fmla="*/ 177800 w 356"/>
                  <a:gd name="T69" fmla="*/ 100012 h 284"/>
                  <a:gd name="T70" fmla="*/ 177800 w 356"/>
                  <a:gd name="T71" fmla="*/ 90487 h 284"/>
                  <a:gd name="T72" fmla="*/ 117475 w 356"/>
                  <a:gd name="T73" fmla="*/ 61912 h 284"/>
                  <a:gd name="T74" fmla="*/ 117475 w 356"/>
                  <a:gd name="T75" fmla="*/ 61912 h 2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6"/>
                  <a:gd name="T115" fmla="*/ 0 h 284"/>
                  <a:gd name="T116" fmla="*/ 356 w 356"/>
                  <a:gd name="T117" fmla="*/ 284 h 2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6" h="284">
                    <a:moveTo>
                      <a:pt x="74" y="39"/>
                    </a:moveTo>
                    <a:lnTo>
                      <a:pt x="67" y="6"/>
                    </a:lnTo>
                    <a:lnTo>
                      <a:pt x="45" y="0"/>
                    </a:lnTo>
                    <a:lnTo>
                      <a:pt x="39" y="22"/>
                    </a:lnTo>
                    <a:lnTo>
                      <a:pt x="17" y="12"/>
                    </a:lnTo>
                    <a:lnTo>
                      <a:pt x="0" y="6"/>
                    </a:lnTo>
                    <a:lnTo>
                      <a:pt x="17" y="57"/>
                    </a:lnTo>
                    <a:lnTo>
                      <a:pt x="45" y="89"/>
                    </a:lnTo>
                    <a:lnTo>
                      <a:pt x="39" y="101"/>
                    </a:lnTo>
                    <a:lnTo>
                      <a:pt x="45" y="124"/>
                    </a:lnTo>
                    <a:lnTo>
                      <a:pt x="78" y="146"/>
                    </a:lnTo>
                    <a:lnTo>
                      <a:pt x="78" y="162"/>
                    </a:lnTo>
                    <a:lnTo>
                      <a:pt x="100" y="179"/>
                    </a:lnTo>
                    <a:lnTo>
                      <a:pt x="112" y="179"/>
                    </a:lnTo>
                    <a:lnTo>
                      <a:pt x="139" y="229"/>
                    </a:lnTo>
                    <a:lnTo>
                      <a:pt x="161" y="229"/>
                    </a:lnTo>
                    <a:lnTo>
                      <a:pt x="173" y="246"/>
                    </a:lnTo>
                    <a:lnTo>
                      <a:pt x="212" y="252"/>
                    </a:lnTo>
                    <a:lnTo>
                      <a:pt x="234" y="240"/>
                    </a:lnTo>
                    <a:lnTo>
                      <a:pt x="250" y="246"/>
                    </a:lnTo>
                    <a:lnTo>
                      <a:pt x="250" y="268"/>
                    </a:lnTo>
                    <a:lnTo>
                      <a:pt x="340" y="284"/>
                    </a:lnTo>
                    <a:lnTo>
                      <a:pt x="340" y="268"/>
                    </a:lnTo>
                    <a:lnTo>
                      <a:pt x="356" y="252"/>
                    </a:lnTo>
                    <a:lnTo>
                      <a:pt x="350" y="229"/>
                    </a:lnTo>
                    <a:lnTo>
                      <a:pt x="311" y="197"/>
                    </a:lnTo>
                    <a:lnTo>
                      <a:pt x="323" y="162"/>
                    </a:lnTo>
                    <a:lnTo>
                      <a:pt x="307" y="156"/>
                    </a:lnTo>
                    <a:lnTo>
                      <a:pt x="285" y="112"/>
                    </a:lnTo>
                    <a:lnTo>
                      <a:pt x="301" y="89"/>
                    </a:lnTo>
                    <a:lnTo>
                      <a:pt x="289" y="63"/>
                    </a:lnTo>
                    <a:lnTo>
                      <a:pt x="240" y="34"/>
                    </a:lnTo>
                    <a:lnTo>
                      <a:pt x="195" y="28"/>
                    </a:lnTo>
                    <a:lnTo>
                      <a:pt x="122" y="63"/>
                    </a:lnTo>
                    <a:lnTo>
                      <a:pt x="112" y="63"/>
                    </a:lnTo>
                    <a:lnTo>
                      <a:pt x="112" y="57"/>
                    </a:lnTo>
                    <a:lnTo>
                      <a:pt x="74"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8" name="Freeform 657">
                <a:extLst>
                  <a:ext uri="{FF2B5EF4-FFF2-40B4-BE49-F238E27FC236}">
                    <a16:creationId xmlns:a16="http://schemas.microsoft.com/office/drawing/2014/main" id="{5FF64ED1-2556-4C4D-97C5-23F3953C9982}"/>
                  </a:ext>
                </a:extLst>
              </p:cNvPr>
              <p:cNvSpPr>
                <a:spLocks/>
              </p:cNvSpPr>
              <p:nvPr/>
            </p:nvSpPr>
            <p:spPr bwMode="auto">
              <a:xfrm>
                <a:off x="5634345" y="2093357"/>
                <a:ext cx="328260" cy="254964"/>
              </a:xfrm>
              <a:custGeom>
                <a:avLst/>
                <a:gdLst>
                  <a:gd name="T0" fmla="*/ 244475 w 237"/>
                  <a:gd name="T1" fmla="*/ 0 h 173"/>
                  <a:gd name="T2" fmla="*/ 228600 w 237"/>
                  <a:gd name="T3" fmla="*/ 26988 h 173"/>
                  <a:gd name="T4" fmla="*/ 173037 w 237"/>
                  <a:gd name="T5" fmla="*/ 46038 h 173"/>
                  <a:gd name="T6" fmla="*/ 157162 w 237"/>
                  <a:gd name="T7" fmla="*/ 26988 h 173"/>
                  <a:gd name="T8" fmla="*/ 112712 w 237"/>
                  <a:gd name="T9" fmla="*/ 26988 h 173"/>
                  <a:gd name="T10" fmla="*/ 87312 w 237"/>
                  <a:gd name="T11" fmla="*/ 71438 h 173"/>
                  <a:gd name="T12" fmla="*/ 50800 w 237"/>
                  <a:gd name="T13" fmla="*/ 90488 h 173"/>
                  <a:gd name="T14" fmla="*/ 25400 w 237"/>
                  <a:gd name="T15" fmla="*/ 96838 h 173"/>
                  <a:gd name="T16" fmla="*/ 0 w 237"/>
                  <a:gd name="T17" fmla="*/ 133350 h 173"/>
                  <a:gd name="T18" fmla="*/ 34925 w 237"/>
                  <a:gd name="T19" fmla="*/ 203200 h 173"/>
                  <a:gd name="T20" fmla="*/ 60325 w 237"/>
                  <a:gd name="T21" fmla="*/ 212725 h 173"/>
                  <a:gd name="T22" fmla="*/ 41275 w 237"/>
                  <a:gd name="T23" fmla="*/ 268288 h 173"/>
                  <a:gd name="T24" fmla="*/ 103187 w 237"/>
                  <a:gd name="T25" fmla="*/ 274638 h 173"/>
                  <a:gd name="T26" fmla="*/ 173037 w 237"/>
                  <a:gd name="T27" fmla="*/ 258763 h 173"/>
                  <a:gd name="T28" fmla="*/ 193675 w 237"/>
                  <a:gd name="T29" fmla="*/ 222250 h 173"/>
                  <a:gd name="T30" fmla="*/ 228600 w 237"/>
                  <a:gd name="T31" fmla="*/ 203200 h 173"/>
                  <a:gd name="T32" fmla="*/ 244475 w 237"/>
                  <a:gd name="T33" fmla="*/ 212725 h 173"/>
                  <a:gd name="T34" fmla="*/ 254000 w 237"/>
                  <a:gd name="T35" fmla="*/ 133350 h 173"/>
                  <a:gd name="T36" fmla="*/ 279400 w 237"/>
                  <a:gd name="T37" fmla="*/ 115888 h 173"/>
                  <a:gd name="T38" fmla="*/ 300037 w 237"/>
                  <a:gd name="T39" fmla="*/ 90488 h 173"/>
                  <a:gd name="T40" fmla="*/ 279400 w 237"/>
                  <a:gd name="T41" fmla="*/ 71438 h 173"/>
                  <a:gd name="T42" fmla="*/ 290512 w 237"/>
                  <a:gd name="T43" fmla="*/ 55563 h 173"/>
                  <a:gd name="T44" fmla="*/ 376237 w 237"/>
                  <a:gd name="T45" fmla="*/ 46038 h 173"/>
                  <a:gd name="T46" fmla="*/ 360362 w 237"/>
                  <a:gd name="T47" fmla="*/ 26988 h 173"/>
                  <a:gd name="T48" fmla="*/ 306387 w 237"/>
                  <a:gd name="T49" fmla="*/ 17463 h 173"/>
                  <a:gd name="T50" fmla="*/ 300037 w 237"/>
                  <a:gd name="T51" fmla="*/ 36513 h 173"/>
                  <a:gd name="T52" fmla="*/ 269875 w 237"/>
                  <a:gd name="T53" fmla="*/ 46038 h 173"/>
                  <a:gd name="T54" fmla="*/ 269875 w 237"/>
                  <a:gd name="T55" fmla="*/ 17463 h 173"/>
                  <a:gd name="T56" fmla="*/ 244475 w 237"/>
                  <a:gd name="T57" fmla="*/ 0 h 173"/>
                  <a:gd name="T58" fmla="*/ 244475 w 237"/>
                  <a:gd name="T59" fmla="*/ 0 h 1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7"/>
                  <a:gd name="T91" fmla="*/ 0 h 173"/>
                  <a:gd name="T92" fmla="*/ 237 w 237"/>
                  <a:gd name="T93" fmla="*/ 173 h 1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7" h="173">
                    <a:moveTo>
                      <a:pt x="154" y="0"/>
                    </a:moveTo>
                    <a:lnTo>
                      <a:pt x="144" y="17"/>
                    </a:lnTo>
                    <a:lnTo>
                      <a:pt x="109" y="29"/>
                    </a:lnTo>
                    <a:lnTo>
                      <a:pt x="99" y="17"/>
                    </a:lnTo>
                    <a:lnTo>
                      <a:pt x="71" y="17"/>
                    </a:lnTo>
                    <a:lnTo>
                      <a:pt x="55" y="45"/>
                    </a:lnTo>
                    <a:lnTo>
                      <a:pt x="32" y="57"/>
                    </a:lnTo>
                    <a:lnTo>
                      <a:pt x="16" y="61"/>
                    </a:lnTo>
                    <a:lnTo>
                      <a:pt x="0" y="84"/>
                    </a:lnTo>
                    <a:lnTo>
                      <a:pt x="22" y="128"/>
                    </a:lnTo>
                    <a:lnTo>
                      <a:pt x="38" y="134"/>
                    </a:lnTo>
                    <a:lnTo>
                      <a:pt x="26" y="169"/>
                    </a:lnTo>
                    <a:lnTo>
                      <a:pt x="65" y="173"/>
                    </a:lnTo>
                    <a:lnTo>
                      <a:pt x="109" y="163"/>
                    </a:lnTo>
                    <a:lnTo>
                      <a:pt x="122" y="140"/>
                    </a:lnTo>
                    <a:lnTo>
                      <a:pt x="144" y="128"/>
                    </a:lnTo>
                    <a:lnTo>
                      <a:pt x="154" y="134"/>
                    </a:lnTo>
                    <a:lnTo>
                      <a:pt x="160" y="84"/>
                    </a:lnTo>
                    <a:lnTo>
                      <a:pt x="176" y="73"/>
                    </a:lnTo>
                    <a:lnTo>
                      <a:pt x="189" y="57"/>
                    </a:lnTo>
                    <a:lnTo>
                      <a:pt x="176" y="45"/>
                    </a:lnTo>
                    <a:lnTo>
                      <a:pt x="183" y="35"/>
                    </a:lnTo>
                    <a:lnTo>
                      <a:pt x="237" y="29"/>
                    </a:lnTo>
                    <a:lnTo>
                      <a:pt x="227" y="17"/>
                    </a:lnTo>
                    <a:lnTo>
                      <a:pt x="193" y="11"/>
                    </a:lnTo>
                    <a:lnTo>
                      <a:pt x="189" y="23"/>
                    </a:lnTo>
                    <a:lnTo>
                      <a:pt x="170" y="29"/>
                    </a:lnTo>
                    <a:lnTo>
                      <a:pt x="170" y="11"/>
                    </a:lnTo>
                    <a:lnTo>
                      <a:pt x="154"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9" name="Freeform 658">
                <a:extLst>
                  <a:ext uri="{FF2B5EF4-FFF2-40B4-BE49-F238E27FC236}">
                    <a16:creationId xmlns:a16="http://schemas.microsoft.com/office/drawing/2014/main" id="{86696F9D-6529-40DB-B133-AC9531FF289C}"/>
                  </a:ext>
                </a:extLst>
              </p:cNvPr>
              <p:cNvSpPr>
                <a:spLocks/>
              </p:cNvSpPr>
              <p:nvPr/>
            </p:nvSpPr>
            <p:spPr bwMode="auto">
              <a:xfrm>
                <a:off x="5678666" y="2136097"/>
                <a:ext cx="337955" cy="368445"/>
              </a:xfrm>
              <a:custGeom>
                <a:avLst/>
                <a:gdLst>
                  <a:gd name="T0" fmla="*/ 381000 w 244"/>
                  <a:gd name="T1" fmla="*/ 60325 h 250"/>
                  <a:gd name="T2" fmla="*/ 387350 w 244"/>
                  <a:gd name="T3" fmla="*/ 44450 h 250"/>
                  <a:gd name="T4" fmla="*/ 355600 w 244"/>
                  <a:gd name="T5" fmla="*/ 25400 h 250"/>
                  <a:gd name="T6" fmla="*/ 325438 w 244"/>
                  <a:gd name="T7" fmla="*/ 0 h 250"/>
                  <a:gd name="T8" fmla="*/ 239713 w 244"/>
                  <a:gd name="T9" fmla="*/ 9525 h 250"/>
                  <a:gd name="T10" fmla="*/ 228600 w 244"/>
                  <a:gd name="T11" fmla="*/ 25400 h 250"/>
                  <a:gd name="T12" fmla="*/ 249238 w 244"/>
                  <a:gd name="T13" fmla="*/ 44450 h 250"/>
                  <a:gd name="T14" fmla="*/ 228600 w 244"/>
                  <a:gd name="T15" fmla="*/ 69850 h 250"/>
                  <a:gd name="T16" fmla="*/ 203200 w 244"/>
                  <a:gd name="T17" fmla="*/ 87313 h 250"/>
                  <a:gd name="T18" fmla="*/ 193675 w 244"/>
                  <a:gd name="T19" fmla="*/ 166688 h 250"/>
                  <a:gd name="T20" fmla="*/ 177800 w 244"/>
                  <a:gd name="T21" fmla="*/ 157163 h 250"/>
                  <a:gd name="T22" fmla="*/ 142875 w 244"/>
                  <a:gd name="T23" fmla="*/ 176213 h 250"/>
                  <a:gd name="T24" fmla="*/ 122238 w 244"/>
                  <a:gd name="T25" fmla="*/ 212725 h 250"/>
                  <a:gd name="T26" fmla="*/ 61913 w 244"/>
                  <a:gd name="T27" fmla="*/ 228600 h 250"/>
                  <a:gd name="T28" fmla="*/ 0 w 244"/>
                  <a:gd name="T29" fmla="*/ 222250 h 250"/>
                  <a:gd name="T30" fmla="*/ 52388 w 244"/>
                  <a:gd name="T31" fmla="*/ 273050 h 250"/>
                  <a:gd name="T32" fmla="*/ 61913 w 244"/>
                  <a:gd name="T33" fmla="*/ 309563 h 250"/>
                  <a:gd name="T34" fmla="*/ 36513 w 244"/>
                  <a:gd name="T35" fmla="*/ 334963 h 250"/>
                  <a:gd name="T36" fmla="*/ 36513 w 244"/>
                  <a:gd name="T37" fmla="*/ 360363 h 250"/>
                  <a:gd name="T38" fmla="*/ 142875 w 244"/>
                  <a:gd name="T39" fmla="*/ 354013 h 250"/>
                  <a:gd name="T40" fmla="*/ 158750 w 244"/>
                  <a:gd name="T41" fmla="*/ 369888 h 250"/>
                  <a:gd name="T42" fmla="*/ 212725 w 244"/>
                  <a:gd name="T43" fmla="*/ 396875 h 250"/>
                  <a:gd name="T44" fmla="*/ 274638 w 244"/>
                  <a:gd name="T45" fmla="*/ 379413 h 250"/>
                  <a:gd name="T46" fmla="*/ 293688 w 244"/>
                  <a:gd name="T47" fmla="*/ 360363 h 250"/>
                  <a:gd name="T48" fmla="*/ 239713 w 244"/>
                  <a:gd name="T49" fmla="*/ 290513 h 250"/>
                  <a:gd name="T50" fmla="*/ 284163 w 244"/>
                  <a:gd name="T51" fmla="*/ 273050 h 250"/>
                  <a:gd name="T52" fmla="*/ 346075 w 244"/>
                  <a:gd name="T53" fmla="*/ 184150 h 250"/>
                  <a:gd name="T54" fmla="*/ 346075 w 244"/>
                  <a:gd name="T55" fmla="*/ 157163 h 250"/>
                  <a:gd name="T56" fmla="*/ 361950 w 244"/>
                  <a:gd name="T57" fmla="*/ 141288 h 250"/>
                  <a:gd name="T58" fmla="*/ 319088 w 244"/>
                  <a:gd name="T59" fmla="*/ 106363 h 250"/>
                  <a:gd name="T60" fmla="*/ 309563 w 244"/>
                  <a:gd name="T61" fmla="*/ 69850 h 250"/>
                  <a:gd name="T62" fmla="*/ 381000 w 244"/>
                  <a:gd name="T63" fmla="*/ 60325 h 250"/>
                  <a:gd name="T64" fmla="*/ 381000 w 244"/>
                  <a:gd name="T65" fmla="*/ 60325 h 2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4"/>
                  <a:gd name="T100" fmla="*/ 0 h 250"/>
                  <a:gd name="T101" fmla="*/ 244 w 244"/>
                  <a:gd name="T102" fmla="*/ 250 h 2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4" h="250">
                    <a:moveTo>
                      <a:pt x="240" y="38"/>
                    </a:moveTo>
                    <a:lnTo>
                      <a:pt x="244" y="28"/>
                    </a:lnTo>
                    <a:lnTo>
                      <a:pt x="224" y="16"/>
                    </a:lnTo>
                    <a:lnTo>
                      <a:pt x="205" y="0"/>
                    </a:lnTo>
                    <a:lnTo>
                      <a:pt x="151" y="6"/>
                    </a:lnTo>
                    <a:lnTo>
                      <a:pt x="144" y="16"/>
                    </a:lnTo>
                    <a:lnTo>
                      <a:pt x="157" y="28"/>
                    </a:lnTo>
                    <a:lnTo>
                      <a:pt x="144" y="44"/>
                    </a:lnTo>
                    <a:lnTo>
                      <a:pt x="128" y="55"/>
                    </a:lnTo>
                    <a:lnTo>
                      <a:pt x="122" y="105"/>
                    </a:lnTo>
                    <a:lnTo>
                      <a:pt x="112" y="99"/>
                    </a:lnTo>
                    <a:lnTo>
                      <a:pt x="90" y="111"/>
                    </a:lnTo>
                    <a:lnTo>
                      <a:pt x="77" y="134"/>
                    </a:lnTo>
                    <a:lnTo>
                      <a:pt x="39" y="144"/>
                    </a:lnTo>
                    <a:lnTo>
                      <a:pt x="0" y="140"/>
                    </a:lnTo>
                    <a:lnTo>
                      <a:pt x="33" y="172"/>
                    </a:lnTo>
                    <a:lnTo>
                      <a:pt x="39" y="195"/>
                    </a:lnTo>
                    <a:lnTo>
                      <a:pt x="23" y="211"/>
                    </a:lnTo>
                    <a:lnTo>
                      <a:pt x="23" y="227"/>
                    </a:lnTo>
                    <a:lnTo>
                      <a:pt x="90" y="223"/>
                    </a:lnTo>
                    <a:lnTo>
                      <a:pt x="100" y="233"/>
                    </a:lnTo>
                    <a:lnTo>
                      <a:pt x="134" y="250"/>
                    </a:lnTo>
                    <a:lnTo>
                      <a:pt x="173" y="239"/>
                    </a:lnTo>
                    <a:lnTo>
                      <a:pt x="185" y="227"/>
                    </a:lnTo>
                    <a:lnTo>
                      <a:pt x="151" y="183"/>
                    </a:lnTo>
                    <a:lnTo>
                      <a:pt x="179" y="172"/>
                    </a:lnTo>
                    <a:lnTo>
                      <a:pt x="218" y="116"/>
                    </a:lnTo>
                    <a:lnTo>
                      <a:pt x="218" y="99"/>
                    </a:lnTo>
                    <a:lnTo>
                      <a:pt x="228" y="89"/>
                    </a:lnTo>
                    <a:lnTo>
                      <a:pt x="201" y="67"/>
                    </a:lnTo>
                    <a:lnTo>
                      <a:pt x="195" y="44"/>
                    </a:lnTo>
                    <a:lnTo>
                      <a:pt x="240" y="3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50" name="Freeform 659">
                <a:extLst>
                  <a:ext uri="{FF2B5EF4-FFF2-40B4-BE49-F238E27FC236}">
                    <a16:creationId xmlns:a16="http://schemas.microsoft.com/office/drawing/2014/main" id="{372E8472-9B4E-4B9A-8330-78359FF87BD2}"/>
                  </a:ext>
                </a:extLst>
              </p:cNvPr>
              <p:cNvSpPr>
                <a:spLocks/>
              </p:cNvSpPr>
              <p:nvPr/>
            </p:nvSpPr>
            <p:spPr bwMode="auto">
              <a:xfrm>
                <a:off x="4846242" y="3614298"/>
                <a:ext cx="191139" cy="188644"/>
              </a:xfrm>
              <a:custGeom>
                <a:avLst/>
                <a:gdLst>
                  <a:gd name="T0" fmla="*/ 9525 w 138"/>
                  <a:gd name="T1" fmla="*/ 96837 h 128"/>
                  <a:gd name="T2" fmla="*/ 46037 w 138"/>
                  <a:gd name="T3" fmla="*/ 134937 h 128"/>
                  <a:gd name="T4" fmla="*/ 90487 w 138"/>
                  <a:gd name="T5" fmla="*/ 195262 h 128"/>
                  <a:gd name="T6" fmla="*/ 106363 w 138"/>
                  <a:gd name="T7" fmla="*/ 203200 h 128"/>
                  <a:gd name="T8" fmla="*/ 158750 w 138"/>
                  <a:gd name="T9" fmla="*/ 203200 h 128"/>
                  <a:gd name="T10" fmla="*/ 187325 w 138"/>
                  <a:gd name="T11" fmla="*/ 182562 h 128"/>
                  <a:gd name="T12" fmla="*/ 193675 w 138"/>
                  <a:gd name="T13" fmla="*/ 157162 h 128"/>
                  <a:gd name="T14" fmla="*/ 219075 w 138"/>
                  <a:gd name="T15" fmla="*/ 109537 h 128"/>
                  <a:gd name="T16" fmla="*/ 212725 w 138"/>
                  <a:gd name="T17" fmla="*/ 31750 h 128"/>
                  <a:gd name="T18" fmla="*/ 134937 w 138"/>
                  <a:gd name="T19" fmla="*/ 0 h 128"/>
                  <a:gd name="T20" fmla="*/ 109538 w 138"/>
                  <a:gd name="T21" fmla="*/ 12700 h 128"/>
                  <a:gd name="T22" fmla="*/ 58737 w 138"/>
                  <a:gd name="T23" fmla="*/ 47625 h 128"/>
                  <a:gd name="T24" fmla="*/ 34925 w 138"/>
                  <a:gd name="T25" fmla="*/ 69850 h 128"/>
                  <a:gd name="T26" fmla="*/ 0 w 138"/>
                  <a:gd name="T27" fmla="*/ 73025 h 128"/>
                  <a:gd name="T28" fmla="*/ 9525 w 138"/>
                  <a:gd name="T29" fmla="*/ 96837 h 128"/>
                  <a:gd name="T30" fmla="*/ 9525 w 138"/>
                  <a:gd name="T31" fmla="*/ 96837 h 1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8"/>
                  <a:gd name="T49" fmla="*/ 0 h 128"/>
                  <a:gd name="T50" fmla="*/ 138 w 138"/>
                  <a:gd name="T51" fmla="*/ 128 h 1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8" h="128">
                    <a:moveTo>
                      <a:pt x="6" y="61"/>
                    </a:moveTo>
                    <a:lnTo>
                      <a:pt x="29" y="85"/>
                    </a:lnTo>
                    <a:lnTo>
                      <a:pt x="57" y="123"/>
                    </a:lnTo>
                    <a:lnTo>
                      <a:pt x="67" y="128"/>
                    </a:lnTo>
                    <a:lnTo>
                      <a:pt x="100" y="128"/>
                    </a:lnTo>
                    <a:lnTo>
                      <a:pt x="118" y="115"/>
                    </a:lnTo>
                    <a:lnTo>
                      <a:pt x="122" y="99"/>
                    </a:lnTo>
                    <a:lnTo>
                      <a:pt x="138" y="69"/>
                    </a:lnTo>
                    <a:lnTo>
                      <a:pt x="134" y="20"/>
                    </a:lnTo>
                    <a:lnTo>
                      <a:pt x="85" y="0"/>
                    </a:lnTo>
                    <a:lnTo>
                      <a:pt x="69" y="8"/>
                    </a:lnTo>
                    <a:lnTo>
                      <a:pt x="37" y="30"/>
                    </a:lnTo>
                    <a:lnTo>
                      <a:pt x="22" y="44"/>
                    </a:lnTo>
                    <a:lnTo>
                      <a:pt x="0" y="46"/>
                    </a:lnTo>
                    <a:lnTo>
                      <a:pt x="6" y="6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51" name="Freeform 660">
                <a:extLst>
                  <a:ext uri="{FF2B5EF4-FFF2-40B4-BE49-F238E27FC236}">
                    <a16:creationId xmlns:a16="http://schemas.microsoft.com/office/drawing/2014/main" id="{61D1DFC1-F3BC-4A55-A5F5-58A7E5D3991D}"/>
                  </a:ext>
                </a:extLst>
              </p:cNvPr>
              <p:cNvSpPr>
                <a:spLocks/>
              </p:cNvSpPr>
              <p:nvPr/>
            </p:nvSpPr>
            <p:spPr bwMode="auto">
              <a:xfrm>
                <a:off x="4452885" y="3111738"/>
                <a:ext cx="55403" cy="35371"/>
              </a:xfrm>
              <a:custGeom>
                <a:avLst/>
                <a:gdLst>
                  <a:gd name="T0" fmla="*/ 6350 w 40"/>
                  <a:gd name="T1" fmla="*/ 38100 h 24"/>
                  <a:gd name="T2" fmla="*/ 63500 w 40"/>
                  <a:gd name="T3" fmla="*/ 38100 h 24"/>
                  <a:gd name="T4" fmla="*/ 63500 w 40"/>
                  <a:gd name="T5" fmla="*/ 0 h 24"/>
                  <a:gd name="T6" fmla="*/ 12700 w 40"/>
                  <a:gd name="T7" fmla="*/ 0 h 24"/>
                  <a:gd name="T8" fmla="*/ 0 w 40"/>
                  <a:gd name="T9" fmla="*/ 19050 h 24"/>
                  <a:gd name="T10" fmla="*/ 6350 w 40"/>
                  <a:gd name="T11" fmla="*/ 38100 h 24"/>
                  <a:gd name="T12" fmla="*/ 6350 w 40"/>
                  <a:gd name="T13" fmla="*/ 38100 h 24"/>
                  <a:gd name="T14" fmla="*/ 0 60000 65536"/>
                  <a:gd name="T15" fmla="*/ 0 60000 65536"/>
                  <a:gd name="T16" fmla="*/ 0 60000 65536"/>
                  <a:gd name="T17" fmla="*/ 0 60000 65536"/>
                  <a:gd name="T18" fmla="*/ 0 60000 65536"/>
                  <a:gd name="T19" fmla="*/ 0 60000 65536"/>
                  <a:gd name="T20" fmla="*/ 0 60000 65536"/>
                  <a:gd name="T21" fmla="*/ 0 w 40"/>
                  <a:gd name="T22" fmla="*/ 0 h 24"/>
                  <a:gd name="T23" fmla="*/ 40 w 40"/>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4">
                    <a:moveTo>
                      <a:pt x="4" y="24"/>
                    </a:moveTo>
                    <a:lnTo>
                      <a:pt x="40" y="24"/>
                    </a:lnTo>
                    <a:lnTo>
                      <a:pt x="40" y="0"/>
                    </a:lnTo>
                    <a:lnTo>
                      <a:pt x="8" y="0"/>
                    </a:lnTo>
                    <a:lnTo>
                      <a:pt x="0" y="12"/>
                    </a:lnTo>
                    <a:lnTo>
                      <a:pt x="4" y="2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52" name="Freeform 661">
                <a:extLst>
                  <a:ext uri="{FF2B5EF4-FFF2-40B4-BE49-F238E27FC236}">
                    <a16:creationId xmlns:a16="http://schemas.microsoft.com/office/drawing/2014/main" id="{0AE83627-8DA5-403E-9310-B9892FFCAA14}"/>
                  </a:ext>
                </a:extLst>
              </p:cNvPr>
              <p:cNvSpPr>
                <a:spLocks/>
              </p:cNvSpPr>
              <p:nvPr/>
            </p:nvSpPr>
            <p:spPr bwMode="auto">
              <a:xfrm>
                <a:off x="4423799" y="3071947"/>
                <a:ext cx="18005" cy="23580"/>
              </a:xfrm>
              <a:custGeom>
                <a:avLst/>
                <a:gdLst>
                  <a:gd name="T0" fmla="*/ 20637 w 13"/>
                  <a:gd name="T1" fmla="*/ 9525 h 16"/>
                  <a:gd name="T2" fmla="*/ 11112 w 13"/>
                  <a:gd name="T3" fmla="*/ 0 h 16"/>
                  <a:gd name="T4" fmla="*/ 0 w 13"/>
                  <a:gd name="T5" fmla="*/ 25400 h 16"/>
                  <a:gd name="T6" fmla="*/ 17462 w 13"/>
                  <a:gd name="T7" fmla="*/ 25400 h 16"/>
                  <a:gd name="T8" fmla="*/ 20637 w 13"/>
                  <a:gd name="T9" fmla="*/ 9525 h 16"/>
                  <a:gd name="T10" fmla="*/ 20637 w 13"/>
                  <a:gd name="T11" fmla="*/ 9525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13" y="6"/>
                    </a:moveTo>
                    <a:lnTo>
                      <a:pt x="7" y="0"/>
                    </a:lnTo>
                    <a:lnTo>
                      <a:pt x="0" y="16"/>
                    </a:lnTo>
                    <a:lnTo>
                      <a:pt x="11" y="16"/>
                    </a:lnTo>
                    <a:lnTo>
                      <a:pt x="13"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sp>
          <p:nvSpPr>
            <p:cNvPr id="335" name="Freeform 238">
              <a:extLst>
                <a:ext uri="{FF2B5EF4-FFF2-40B4-BE49-F238E27FC236}">
                  <a16:creationId xmlns:a16="http://schemas.microsoft.com/office/drawing/2014/main" id="{1C05287D-AB59-44DA-99FD-71902CBEDB2D}"/>
                </a:ext>
              </a:extLst>
            </p:cNvPr>
            <p:cNvSpPr>
              <a:spLocks/>
            </p:cNvSpPr>
            <p:nvPr/>
          </p:nvSpPr>
          <p:spPr bwMode="auto">
            <a:xfrm>
              <a:off x="5895744" y="3042725"/>
              <a:ext cx="13083" cy="13888"/>
            </a:xfrm>
            <a:custGeom>
              <a:avLst/>
              <a:gdLst/>
              <a:ahLst/>
              <a:cxnLst>
                <a:cxn ang="0">
                  <a:pos x="6" y="0"/>
                </a:cxn>
                <a:cxn ang="0">
                  <a:pos x="0" y="6"/>
                </a:cxn>
                <a:cxn ang="0">
                  <a:pos x="10" y="10"/>
                </a:cxn>
                <a:cxn ang="0">
                  <a:pos x="6" y="0"/>
                </a:cxn>
                <a:cxn ang="0">
                  <a:pos x="6" y="0"/>
                </a:cxn>
              </a:cxnLst>
              <a:rect l="0" t="0" r="r" b="b"/>
              <a:pathLst>
                <a:path w="10" h="10">
                  <a:moveTo>
                    <a:pt x="6" y="0"/>
                  </a:moveTo>
                  <a:lnTo>
                    <a:pt x="0" y="6"/>
                  </a:lnTo>
                  <a:lnTo>
                    <a:pt x="10" y="10"/>
                  </a:lnTo>
                  <a:lnTo>
                    <a:pt x="6" y="0"/>
                  </a:lnTo>
                  <a:lnTo>
                    <a:pt x="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36" name="Freeform 239">
              <a:extLst>
                <a:ext uri="{FF2B5EF4-FFF2-40B4-BE49-F238E27FC236}">
                  <a16:creationId xmlns:a16="http://schemas.microsoft.com/office/drawing/2014/main" id="{DD3C3BB5-C328-4423-9C67-1EB0171F8CB9}"/>
                </a:ext>
              </a:extLst>
            </p:cNvPr>
            <p:cNvSpPr>
              <a:spLocks/>
            </p:cNvSpPr>
            <p:nvPr/>
          </p:nvSpPr>
          <p:spPr bwMode="auto">
            <a:xfrm>
              <a:off x="5895744" y="3020505"/>
              <a:ext cx="13083" cy="5554"/>
            </a:xfrm>
            <a:custGeom>
              <a:avLst/>
              <a:gdLst/>
              <a:ahLst/>
              <a:cxnLst>
                <a:cxn ang="0">
                  <a:pos x="0" y="0"/>
                </a:cxn>
                <a:cxn ang="0">
                  <a:pos x="6" y="4"/>
                </a:cxn>
                <a:cxn ang="0">
                  <a:pos x="10" y="0"/>
                </a:cxn>
                <a:cxn ang="0">
                  <a:pos x="0" y="0"/>
                </a:cxn>
                <a:cxn ang="0">
                  <a:pos x="0" y="0"/>
                </a:cxn>
              </a:cxnLst>
              <a:rect l="0" t="0" r="r" b="b"/>
              <a:pathLst>
                <a:path w="10" h="4">
                  <a:moveTo>
                    <a:pt x="0" y="0"/>
                  </a:moveTo>
                  <a:lnTo>
                    <a:pt x="6" y="4"/>
                  </a:lnTo>
                  <a:lnTo>
                    <a:pt x="10" y="0"/>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37" name="Freeform 240">
              <a:extLst>
                <a:ext uri="{FF2B5EF4-FFF2-40B4-BE49-F238E27FC236}">
                  <a16:creationId xmlns:a16="http://schemas.microsoft.com/office/drawing/2014/main" id="{F949833D-D48F-4F32-8F59-497A026ED194}"/>
                </a:ext>
              </a:extLst>
            </p:cNvPr>
            <p:cNvSpPr>
              <a:spLocks/>
            </p:cNvSpPr>
            <p:nvPr/>
          </p:nvSpPr>
          <p:spPr bwMode="auto">
            <a:xfrm>
              <a:off x="5916678" y="3073280"/>
              <a:ext cx="7850" cy="13888"/>
            </a:xfrm>
            <a:custGeom>
              <a:avLst/>
              <a:gdLst/>
              <a:ahLst/>
              <a:cxnLst>
                <a:cxn ang="0">
                  <a:pos x="0" y="0"/>
                </a:cxn>
                <a:cxn ang="0">
                  <a:pos x="0" y="10"/>
                </a:cxn>
                <a:cxn ang="0">
                  <a:pos x="6" y="0"/>
                </a:cxn>
                <a:cxn ang="0">
                  <a:pos x="0" y="0"/>
                </a:cxn>
                <a:cxn ang="0">
                  <a:pos x="0" y="0"/>
                </a:cxn>
              </a:cxnLst>
              <a:rect l="0" t="0" r="r" b="b"/>
              <a:pathLst>
                <a:path w="6" h="10">
                  <a:moveTo>
                    <a:pt x="0" y="0"/>
                  </a:moveTo>
                  <a:lnTo>
                    <a:pt x="0" y="10"/>
                  </a:lnTo>
                  <a:lnTo>
                    <a:pt x="6" y="0"/>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38" name="Freeform 241">
              <a:extLst>
                <a:ext uri="{FF2B5EF4-FFF2-40B4-BE49-F238E27FC236}">
                  <a16:creationId xmlns:a16="http://schemas.microsoft.com/office/drawing/2014/main" id="{4713AE31-C84F-47FD-86A3-09B6974EB39F}"/>
                </a:ext>
              </a:extLst>
            </p:cNvPr>
            <p:cNvSpPr>
              <a:spLocks/>
            </p:cNvSpPr>
            <p:nvPr/>
          </p:nvSpPr>
          <p:spPr bwMode="auto">
            <a:xfrm>
              <a:off x="5903594" y="3064946"/>
              <a:ext cx="5233" cy="8333"/>
            </a:xfrm>
            <a:custGeom>
              <a:avLst/>
              <a:gdLst/>
              <a:ahLst/>
              <a:cxnLst>
                <a:cxn ang="0">
                  <a:pos x="0" y="0"/>
                </a:cxn>
                <a:cxn ang="0">
                  <a:pos x="0" y="6"/>
                </a:cxn>
                <a:cxn ang="0">
                  <a:pos x="4" y="0"/>
                </a:cxn>
                <a:cxn ang="0">
                  <a:pos x="0" y="0"/>
                </a:cxn>
                <a:cxn ang="0">
                  <a:pos x="0" y="0"/>
                </a:cxn>
              </a:cxnLst>
              <a:rect l="0" t="0" r="r" b="b"/>
              <a:pathLst>
                <a:path w="4" h="6">
                  <a:moveTo>
                    <a:pt x="0" y="0"/>
                  </a:moveTo>
                  <a:lnTo>
                    <a:pt x="0" y="6"/>
                  </a:lnTo>
                  <a:lnTo>
                    <a:pt x="4" y="0"/>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39" name="Freeform 242">
              <a:extLst>
                <a:ext uri="{FF2B5EF4-FFF2-40B4-BE49-F238E27FC236}">
                  <a16:creationId xmlns:a16="http://schemas.microsoft.com/office/drawing/2014/main" id="{87E056A7-D40D-493C-93C8-B9C512C8C6B0}"/>
                </a:ext>
              </a:extLst>
            </p:cNvPr>
            <p:cNvSpPr>
              <a:spLocks/>
            </p:cNvSpPr>
            <p:nvPr/>
          </p:nvSpPr>
          <p:spPr bwMode="auto">
            <a:xfrm>
              <a:off x="5908828" y="3096889"/>
              <a:ext cx="15701" cy="8333"/>
            </a:xfrm>
            <a:custGeom>
              <a:avLst/>
              <a:gdLst/>
              <a:ahLst/>
              <a:cxnLst>
                <a:cxn ang="0">
                  <a:pos x="0" y="0"/>
                </a:cxn>
                <a:cxn ang="0">
                  <a:pos x="0" y="6"/>
                </a:cxn>
                <a:cxn ang="0">
                  <a:pos x="12" y="6"/>
                </a:cxn>
                <a:cxn ang="0">
                  <a:pos x="0" y="0"/>
                </a:cxn>
                <a:cxn ang="0">
                  <a:pos x="0" y="0"/>
                </a:cxn>
              </a:cxnLst>
              <a:rect l="0" t="0" r="r" b="b"/>
              <a:pathLst>
                <a:path w="12" h="6">
                  <a:moveTo>
                    <a:pt x="0" y="0"/>
                  </a:moveTo>
                  <a:lnTo>
                    <a:pt x="0" y="6"/>
                  </a:lnTo>
                  <a:lnTo>
                    <a:pt x="12" y="6"/>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0" name="Freeform 243">
              <a:extLst>
                <a:ext uri="{FF2B5EF4-FFF2-40B4-BE49-F238E27FC236}">
                  <a16:creationId xmlns:a16="http://schemas.microsoft.com/office/drawing/2014/main" id="{37AAA7CA-EC2A-43F8-9A94-928365257216}"/>
                </a:ext>
              </a:extLst>
            </p:cNvPr>
            <p:cNvSpPr>
              <a:spLocks/>
            </p:cNvSpPr>
            <p:nvPr/>
          </p:nvSpPr>
          <p:spPr bwMode="auto">
            <a:xfrm>
              <a:off x="5908828" y="3174663"/>
              <a:ext cx="15701" cy="5554"/>
            </a:xfrm>
            <a:custGeom>
              <a:avLst/>
              <a:gdLst/>
              <a:ahLst/>
              <a:cxnLst>
                <a:cxn ang="0">
                  <a:pos x="0" y="0"/>
                </a:cxn>
                <a:cxn ang="0">
                  <a:pos x="0" y="4"/>
                </a:cxn>
                <a:cxn ang="0">
                  <a:pos x="12" y="0"/>
                </a:cxn>
                <a:cxn ang="0">
                  <a:pos x="0" y="0"/>
                </a:cxn>
                <a:cxn ang="0">
                  <a:pos x="0" y="0"/>
                </a:cxn>
              </a:cxnLst>
              <a:rect l="0" t="0" r="r" b="b"/>
              <a:pathLst>
                <a:path w="12" h="4">
                  <a:moveTo>
                    <a:pt x="0" y="0"/>
                  </a:moveTo>
                  <a:lnTo>
                    <a:pt x="0" y="4"/>
                  </a:lnTo>
                  <a:lnTo>
                    <a:pt x="12" y="0"/>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1" name="Freeform 244">
              <a:extLst>
                <a:ext uri="{FF2B5EF4-FFF2-40B4-BE49-F238E27FC236}">
                  <a16:creationId xmlns:a16="http://schemas.microsoft.com/office/drawing/2014/main" id="{D6C49EFF-C3BB-4DF5-AB92-981E01B4A4DA}"/>
                </a:ext>
              </a:extLst>
            </p:cNvPr>
            <p:cNvSpPr>
              <a:spLocks/>
            </p:cNvSpPr>
            <p:nvPr/>
          </p:nvSpPr>
          <p:spPr bwMode="auto">
            <a:xfrm>
              <a:off x="5908828" y="3113555"/>
              <a:ext cx="15701" cy="13888"/>
            </a:xfrm>
            <a:custGeom>
              <a:avLst/>
              <a:gdLst/>
              <a:ahLst/>
              <a:cxnLst>
                <a:cxn ang="0">
                  <a:pos x="0" y="10"/>
                </a:cxn>
                <a:cxn ang="0">
                  <a:pos x="12" y="10"/>
                </a:cxn>
                <a:cxn ang="0">
                  <a:pos x="6" y="0"/>
                </a:cxn>
                <a:cxn ang="0">
                  <a:pos x="0" y="10"/>
                </a:cxn>
                <a:cxn ang="0">
                  <a:pos x="0" y="10"/>
                </a:cxn>
              </a:cxnLst>
              <a:rect l="0" t="0" r="r" b="b"/>
              <a:pathLst>
                <a:path w="12" h="10">
                  <a:moveTo>
                    <a:pt x="0" y="10"/>
                  </a:moveTo>
                  <a:lnTo>
                    <a:pt x="12" y="10"/>
                  </a:lnTo>
                  <a:lnTo>
                    <a:pt x="6" y="0"/>
                  </a:lnTo>
                  <a:lnTo>
                    <a:pt x="0" y="10"/>
                  </a:lnTo>
                  <a:lnTo>
                    <a:pt x="0"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2" name="Freeform 245">
              <a:extLst>
                <a:ext uri="{FF2B5EF4-FFF2-40B4-BE49-F238E27FC236}">
                  <a16:creationId xmlns:a16="http://schemas.microsoft.com/office/drawing/2014/main" id="{C8FBA204-CDE3-4097-B9DA-806804361529}"/>
                </a:ext>
              </a:extLst>
            </p:cNvPr>
            <p:cNvSpPr>
              <a:spLocks/>
            </p:cNvSpPr>
            <p:nvPr/>
          </p:nvSpPr>
          <p:spPr bwMode="auto">
            <a:xfrm>
              <a:off x="5903594" y="3189940"/>
              <a:ext cx="13083" cy="16666"/>
            </a:xfrm>
            <a:custGeom>
              <a:avLst/>
              <a:gdLst/>
              <a:ahLst/>
              <a:cxnLst>
                <a:cxn ang="0">
                  <a:pos x="0" y="6"/>
                </a:cxn>
                <a:cxn ang="0">
                  <a:pos x="10" y="12"/>
                </a:cxn>
                <a:cxn ang="0">
                  <a:pos x="10" y="0"/>
                </a:cxn>
                <a:cxn ang="0">
                  <a:pos x="0" y="6"/>
                </a:cxn>
                <a:cxn ang="0">
                  <a:pos x="0" y="6"/>
                </a:cxn>
              </a:cxnLst>
              <a:rect l="0" t="0" r="r" b="b"/>
              <a:pathLst>
                <a:path w="10" h="12">
                  <a:moveTo>
                    <a:pt x="0" y="6"/>
                  </a:moveTo>
                  <a:lnTo>
                    <a:pt x="10" y="12"/>
                  </a:lnTo>
                  <a:lnTo>
                    <a:pt x="10" y="0"/>
                  </a:lnTo>
                  <a:lnTo>
                    <a:pt x="0" y="6"/>
                  </a:lnTo>
                  <a:lnTo>
                    <a:pt x="0"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3" name="Freeform 246">
              <a:extLst>
                <a:ext uri="{FF2B5EF4-FFF2-40B4-BE49-F238E27FC236}">
                  <a16:creationId xmlns:a16="http://schemas.microsoft.com/office/drawing/2014/main" id="{8664AB34-D473-4712-A7E9-9E889543667A}"/>
                </a:ext>
              </a:extLst>
            </p:cNvPr>
            <p:cNvSpPr>
              <a:spLocks/>
            </p:cNvSpPr>
            <p:nvPr/>
          </p:nvSpPr>
          <p:spPr bwMode="auto">
            <a:xfrm>
              <a:off x="5908828" y="3212160"/>
              <a:ext cx="7850" cy="8333"/>
            </a:xfrm>
            <a:custGeom>
              <a:avLst/>
              <a:gdLst/>
              <a:ahLst/>
              <a:cxnLst>
                <a:cxn ang="0">
                  <a:pos x="0" y="0"/>
                </a:cxn>
                <a:cxn ang="0">
                  <a:pos x="0" y="6"/>
                </a:cxn>
                <a:cxn ang="0">
                  <a:pos x="6" y="6"/>
                </a:cxn>
                <a:cxn ang="0">
                  <a:pos x="0" y="0"/>
                </a:cxn>
                <a:cxn ang="0">
                  <a:pos x="0" y="0"/>
                </a:cxn>
              </a:cxnLst>
              <a:rect l="0" t="0" r="r" b="b"/>
              <a:pathLst>
                <a:path w="6" h="6">
                  <a:moveTo>
                    <a:pt x="0" y="0"/>
                  </a:moveTo>
                  <a:lnTo>
                    <a:pt x="0" y="6"/>
                  </a:lnTo>
                  <a:lnTo>
                    <a:pt x="6" y="6"/>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grpSp>
          <p:nvGrpSpPr>
            <p:cNvPr id="344" name="Group 317">
              <a:extLst>
                <a:ext uri="{FF2B5EF4-FFF2-40B4-BE49-F238E27FC236}">
                  <a16:creationId xmlns:a16="http://schemas.microsoft.com/office/drawing/2014/main" id="{C1847816-9442-416B-9268-7D0AF66C651B}"/>
                </a:ext>
              </a:extLst>
            </p:cNvPr>
            <p:cNvGrpSpPr>
              <a:grpSpLocks/>
            </p:cNvGrpSpPr>
            <p:nvPr/>
          </p:nvGrpSpPr>
          <p:grpSpPr bwMode="auto">
            <a:xfrm>
              <a:off x="7074604" y="1964998"/>
              <a:ext cx="247287" cy="404148"/>
              <a:chOff x="4814" y="1483"/>
              <a:chExt cx="189" cy="291"/>
            </a:xfrm>
            <a:grpFill/>
          </p:grpSpPr>
          <p:sp>
            <p:nvSpPr>
              <p:cNvPr id="578" name="Freeform 307">
                <a:extLst>
                  <a:ext uri="{FF2B5EF4-FFF2-40B4-BE49-F238E27FC236}">
                    <a16:creationId xmlns:a16="http://schemas.microsoft.com/office/drawing/2014/main" id="{B7F36A2A-9905-4EC2-B4D8-38D4728D14F9}"/>
                  </a:ext>
                </a:extLst>
              </p:cNvPr>
              <p:cNvSpPr>
                <a:spLocks/>
              </p:cNvSpPr>
              <p:nvPr/>
            </p:nvSpPr>
            <p:spPr bwMode="auto">
              <a:xfrm>
                <a:off x="4991" y="1483"/>
                <a:ext cx="12" cy="12"/>
              </a:xfrm>
              <a:custGeom>
                <a:avLst/>
                <a:gdLst>
                  <a:gd name="T0" fmla="*/ 0 w 12"/>
                  <a:gd name="T1" fmla="*/ 9525 h 12"/>
                  <a:gd name="T2" fmla="*/ 9525 w 12"/>
                  <a:gd name="T3" fmla="*/ 19050 h 12"/>
                  <a:gd name="T4" fmla="*/ 19050 w 12"/>
                  <a:gd name="T5" fmla="*/ 0 h 12"/>
                  <a:gd name="T6" fmla="*/ 0 w 12"/>
                  <a:gd name="T7" fmla="*/ 9525 h 12"/>
                  <a:gd name="T8" fmla="*/ 0 w 12"/>
                  <a:gd name="T9" fmla="*/ 9525 h 12"/>
                  <a:gd name="T10" fmla="*/ 0 60000 65536"/>
                  <a:gd name="T11" fmla="*/ 0 60000 65536"/>
                  <a:gd name="T12" fmla="*/ 0 60000 65536"/>
                  <a:gd name="T13" fmla="*/ 0 60000 65536"/>
                  <a:gd name="T14" fmla="*/ 0 60000 65536"/>
                  <a:gd name="T15" fmla="*/ 0 w 12"/>
                  <a:gd name="T16" fmla="*/ 0 h 12"/>
                  <a:gd name="T17" fmla="*/ 12 w 12"/>
                  <a:gd name="T18" fmla="*/ 12 h 12"/>
                </a:gdLst>
                <a:ahLst/>
                <a:cxnLst>
                  <a:cxn ang="T10">
                    <a:pos x="T0" y="T1"/>
                  </a:cxn>
                  <a:cxn ang="T11">
                    <a:pos x="T2" y="T3"/>
                  </a:cxn>
                  <a:cxn ang="T12">
                    <a:pos x="T4" y="T5"/>
                  </a:cxn>
                  <a:cxn ang="T13">
                    <a:pos x="T6" y="T7"/>
                  </a:cxn>
                  <a:cxn ang="T14">
                    <a:pos x="T8" y="T9"/>
                  </a:cxn>
                </a:cxnLst>
                <a:rect l="T15" t="T16" r="T17" b="T18"/>
                <a:pathLst>
                  <a:path w="12" h="12">
                    <a:moveTo>
                      <a:pt x="0" y="6"/>
                    </a:moveTo>
                    <a:lnTo>
                      <a:pt x="6" y="12"/>
                    </a:lnTo>
                    <a:lnTo>
                      <a:pt x="12"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79" name="Freeform 308">
                <a:extLst>
                  <a:ext uri="{FF2B5EF4-FFF2-40B4-BE49-F238E27FC236}">
                    <a16:creationId xmlns:a16="http://schemas.microsoft.com/office/drawing/2014/main" id="{BBB07D97-11FA-4CF9-AA00-C592260598B0}"/>
                  </a:ext>
                </a:extLst>
              </p:cNvPr>
              <p:cNvSpPr>
                <a:spLocks/>
              </p:cNvSpPr>
              <p:nvPr/>
            </p:nvSpPr>
            <p:spPr bwMode="auto">
              <a:xfrm>
                <a:off x="4962" y="1495"/>
                <a:ext cx="23" cy="17"/>
              </a:xfrm>
              <a:custGeom>
                <a:avLst/>
                <a:gdLst>
                  <a:gd name="T0" fmla="*/ 0 w 23"/>
                  <a:gd name="T1" fmla="*/ 15875 h 17"/>
                  <a:gd name="T2" fmla="*/ 20638 w 23"/>
                  <a:gd name="T3" fmla="*/ 26987 h 17"/>
                  <a:gd name="T4" fmla="*/ 36513 w 23"/>
                  <a:gd name="T5" fmla="*/ 0 h 17"/>
                  <a:gd name="T6" fmla="*/ 0 w 23"/>
                  <a:gd name="T7" fmla="*/ 15875 h 17"/>
                  <a:gd name="T8" fmla="*/ 0 w 23"/>
                  <a:gd name="T9" fmla="*/ 15875 h 17"/>
                  <a:gd name="T10" fmla="*/ 0 60000 65536"/>
                  <a:gd name="T11" fmla="*/ 0 60000 65536"/>
                  <a:gd name="T12" fmla="*/ 0 60000 65536"/>
                  <a:gd name="T13" fmla="*/ 0 60000 65536"/>
                  <a:gd name="T14" fmla="*/ 0 60000 65536"/>
                  <a:gd name="T15" fmla="*/ 0 w 23"/>
                  <a:gd name="T16" fmla="*/ 0 h 17"/>
                  <a:gd name="T17" fmla="*/ 23 w 23"/>
                  <a:gd name="T18" fmla="*/ 17 h 17"/>
                </a:gdLst>
                <a:ahLst/>
                <a:cxnLst>
                  <a:cxn ang="T10">
                    <a:pos x="T0" y="T1"/>
                  </a:cxn>
                  <a:cxn ang="T11">
                    <a:pos x="T2" y="T3"/>
                  </a:cxn>
                  <a:cxn ang="T12">
                    <a:pos x="T4" y="T5"/>
                  </a:cxn>
                  <a:cxn ang="T13">
                    <a:pos x="T6" y="T7"/>
                  </a:cxn>
                  <a:cxn ang="T14">
                    <a:pos x="T8" y="T9"/>
                  </a:cxn>
                </a:cxnLst>
                <a:rect l="T15" t="T16" r="T17" b="T18"/>
                <a:pathLst>
                  <a:path w="23" h="17">
                    <a:moveTo>
                      <a:pt x="0" y="10"/>
                    </a:moveTo>
                    <a:lnTo>
                      <a:pt x="13" y="17"/>
                    </a:lnTo>
                    <a:lnTo>
                      <a:pt x="23" y="0"/>
                    </a:lnTo>
                    <a:lnTo>
                      <a:pt x="0" y="1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0" name="Freeform 309">
                <a:extLst>
                  <a:ext uri="{FF2B5EF4-FFF2-40B4-BE49-F238E27FC236}">
                    <a16:creationId xmlns:a16="http://schemas.microsoft.com/office/drawing/2014/main" id="{2DFB11F5-DA62-4F4A-9F8F-12C53948CA91}"/>
                  </a:ext>
                </a:extLst>
              </p:cNvPr>
              <p:cNvSpPr>
                <a:spLocks/>
              </p:cNvSpPr>
              <p:nvPr/>
            </p:nvSpPr>
            <p:spPr bwMode="auto">
              <a:xfrm>
                <a:off x="4869" y="1495"/>
                <a:ext cx="106" cy="84"/>
              </a:xfrm>
              <a:custGeom>
                <a:avLst/>
                <a:gdLst>
                  <a:gd name="T0" fmla="*/ 168275 w 106"/>
                  <a:gd name="T1" fmla="*/ 71437 h 84"/>
                  <a:gd name="T2" fmla="*/ 141288 w 106"/>
                  <a:gd name="T3" fmla="*/ 61913 h 84"/>
                  <a:gd name="T4" fmla="*/ 147638 w 106"/>
                  <a:gd name="T5" fmla="*/ 33338 h 84"/>
                  <a:gd name="T6" fmla="*/ 122238 w 106"/>
                  <a:gd name="T7" fmla="*/ 42862 h 84"/>
                  <a:gd name="T8" fmla="*/ 122238 w 106"/>
                  <a:gd name="T9" fmla="*/ 33338 h 84"/>
                  <a:gd name="T10" fmla="*/ 115888 w 106"/>
                  <a:gd name="T11" fmla="*/ 42862 h 84"/>
                  <a:gd name="T12" fmla="*/ 50800 w 106"/>
                  <a:gd name="T13" fmla="*/ 33338 h 84"/>
                  <a:gd name="T14" fmla="*/ 15875 w 106"/>
                  <a:gd name="T15" fmla="*/ 0 h 84"/>
                  <a:gd name="T16" fmla="*/ 0 w 106"/>
                  <a:gd name="T17" fmla="*/ 6350 h 84"/>
                  <a:gd name="T18" fmla="*/ 25400 w 106"/>
                  <a:gd name="T19" fmla="*/ 26988 h 84"/>
                  <a:gd name="T20" fmla="*/ 34925 w 106"/>
                  <a:gd name="T21" fmla="*/ 61913 h 84"/>
                  <a:gd name="T22" fmla="*/ 44450 w 106"/>
                  <a:gd name="T23" fmla="*/ 61913 h 84"/>
                  <a:gd name="T24" fmla="*/ 44450 w 106"/>
                  <a:gd name="T25" fmla="*/ 77787 h 84"/>
                  <a:gd name="T26" fmla="*/ 15875 w 106"/>
                  <a:gd name="T27" fmla="*/ 77787 h 84"/>
                  <a:gd name="T28" fmla="*/ 15875 w 106"/>
                  <a:gd name="T29" fmla="*/ 96837 h 84"/>
                  <a:gd name="T30" fmla="*/ 34925 w 106"/>
                  <a:gd name="T31" fmla="*/ 112713 h 84"/>
                  <a:gd name="T32" fmla="*/ 25400 w 106"/>
                  <a:gd name="T33" fmla="*/ 133350 h 84"/>
                  <a:gd name="T34" fmla="*/ 71438 w 106"/>
                  <a:gd name="T35" fmla="*/ 112713 h 84"/>
                  <a:gd name="T36" fmla="*/ 44450 w 106"/>
                  <a:gd name="T37" fmla="*/ 96837 h 84"/>
                  <a:gd name="T38" fmla="*/ 50800 w 106"/>
                  <a:gd name="T39" fmla="*/ 90487 h 84"/>
                  <a:gd name="T40" fmla="*/ 61913 w 106"/>
                  <a:gd name="T41" fmla="*/ 87312 h 84"/>
                  <a:gd name="T42" fmla="*/ 68263 w 106"/>
                  <a:gd name="T43" fmla="*/ 87312 h 84"/>
                  <a:gd name="T44" fmla="*/ 71438 w 106"/>
                  <a:gd name="T45" fmla="*/ 90487 h 84"/>
                  <a:gd name="T46" fmla="*/ 77788 w 106"/>
                  <a:gd name="T47" fmla="*/ 90487 h 84"/>
                  <a:gd name="T48" fmla="*/ 84138 w 106"/>
                  <a:gd name="T49" fmla="*/ 93662 h 84"/>
                  <a:gd name="T50" fmla="*/ 90487 w 106"/>
                  <a:gd name="T51" fmla="*/ 96837 h 84"/>
                  <a:gd name="T52" fmla="*/ 106363 w 106"/>
                  <a:gd name="T53" fmla="*/ 106363 h 84"/>
                  <a:gd name="T54" fmla="*/ 122238 w 106"/>
                  <a:gd name="T55" fmla="*/ 106363 h 84"/>
                  <a:gd name="T56" fmla="*/ 115888 w 106"/>
                  <a:gd name="T57" fmla="*/ 77787 h 84"/>
                  <a:gd name="T58" fmla="*/ 168275 w 106"/>
                  <a:gd name="T59" fmla="*/ 71437 h 84"/>
                  <a:gd name="T60" fmla="*/ 168275 w 106"/>
                  <a:gd name="T61" fmla="*/ 71437 h 8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84"/>
                  <a:gd name="T95" fmla="*/ 106 w 106"/>
                  <a:gd name="T96" fmla="*/ 84 h 8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84">
                    <a:moveTo>
                      <a:pt x="106" y="45"/>
                    </a:moveTo>
                    <a:lnTo>
                      <a:pt x="89" y="39"/>
                    </a:lnTo>
                    <a:lnTo>
                      <a:pt x="93" y="21"/>
                    </a:lnTo>
                    <a:lnTo>
                      <a:pt x="77" y="27"/>
                    </a:lnTo>
                    <a:lnTo>
                      <a:pt x="77" y="21"/>
                    </a:lnTo>
                    <a:lnTo>
                      <a:pt x="73" y="27"/>
                    </a:lnTo>
                    <a:lnTo>
                      <a:pt x="32" y="21"/>
                    </a:lnTo>
                    <a:lnTo>
                      <a:pt x="10" y="0"/>
                    </a:lnTo>
                    <a:lnTo>
                      <a:pt x="0" y="4"/>
                    </a:lnTo>
                    <a:lnTo>
                      <a:pt x="16" y="17"/>
                    </a:lnTo>
                    <a:lnTo>
                      <a:pt x="22" y="39"/>
                    </a:lnTo>
                    <a:lnTo>
                      <a:pt x="28" y="39"/>
                    </a:lnTo>
                    <a:lnTo>
                      <a:pt x="28" y="49"/>
                    </a:lnTo>
                    <a:lnTo>
                      <a:pt x="10" y="49"/>
                    </a:lnTo>
                    <a:lnTo>
                      <a:pt x="10" y="61"/>
                    </a:lnTo>
                    <a:lnTo>
                      <a:pt x="22" y="71"/>
                    </a:lnTo>
                    <a:lnTo>
                      <a:pt x="16" y="84"/>
                    </a:lnTo>
                    <a:lnTo>
                      <a:pt x="45" y="71"/>
                    </a:lnTo>
                    <a:lnTo>
                      <a:pt x="28" y="61"/>
                    </a:lnTo>
                    <a:lnTo>
                      <a:pt x="32" y="57"/>
                    </a:lnTo>
                    <a:lnTo>
                      <a:pt x="39" y="55"/>
                    </a:lnTo>
                    <a:lnTo>
                      <a:pt x="43" y="55"/>
                    </a:lnTo>
                    <a:lnTo>
                      <a:pt x="45" y="57"/>
                    </a:lnTo>
                    <a:lnTo>
                      <a:pt x="49" y="57"/>
                    </a:lnTo>
                    <a:lnTo>
                      <a:pt x="53" y="59"/>
                    </a:lnTo>
                    <a:lnTo>
                      <a:pt x="57" y="61"/>
                    </a:lnTo>
                    <a:lnTo>
                      <a:pt x="67" y="67"/>
                    </a:lnTo>
                    <a:lnTo>
                      <a:pt x="77" y="67"/>
                    </a:lnTo>
                    <a:lnTo>
                      <a:pt x="73" y="49"/>
                    </a:lnTo>
                    <a:lnTo>
                      <a:pt x="106" y="4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1" name="Freeform 310">
                <a:extLst>
                  <a:ext uri="{FF2B5EF4-FFF2-40B4-BE49-F238E27FC236}">
                    <a16:creationId xmlns:a16="http://schemas.microsoft.com/office/drawing/2014/main" id="{9ECB63A0-59AA-484E-9AE2-372FCD471A85}"/>
                  </a:ext>
                </a:extLst>
              </p:cNvPr>
              <p:cNvSpPr>
                <a:spLocks/>
              </p:cNvSpPr>
              <p:nvPr/>
            </p:nvSpPr>
            <p:spPr bwMode="auto">
              <a:xfrm>
                <a:off x="4824" y="1573"/>
                <a:ext cx="151" cy="150"/>
              </a:xfrm>
              <a:custGeom>
                <a:avLst/>
                <a:gdLst>
                  <a:gd name="T0" fmla="*/ 219075 w 151"/>
                  <a:gd name="T1" fmla="*/ 106363 h 150"/>
                  <a:gd name="T2" fmla="*/ 193675 w 151"/>
                  <a:gd name="T3" fmla="*/ 95250 h 150"/>
                  <a:gd name="T4" fmla="*/ 212725 w 151"/>
                  <a:gd name="T5" fmla="*/ 88900 h 150"/>
                  <a:gd name="T6" fmla="*/ 212725 w 151"/>
                  <a:gd name="T7" fmla="*/ 69850 h 150"/>
                  <a:gd name="T8" fmla="*/ 203200 w 151"/>
                  <a:gd name="T9" fmla="*/ 44450 h 150"/>
                  <a:gd name="T10" fmla="*/ 168275 w 151"/>
                  <a:gd name="T11" fmla="*/ 15875 h 150"/>
                  <a:gd name="T12" fmla="*/ 158750 w 151"/>
                  <a:gd name="T13" fmla="*/ 0 h 150"/>
                  <a:gd name="T14" fmla="*/ 142875 w 151"/>
                  <a:gd name="T15" fmla="*/ 9525 h 150"/>
                  <a:gd name="T16" fmla="*/ 133350 w 151"/>
                  <a:gd name="T17" fmla="*/ 25400 h 150"/>
                  <a:gd name="T18" fmla="*/ 142875 w 151"/>
                  <a:gd name="T19" fmla="*/ 60325 h 150"/>
                  <a:gd name="T20" fmla="*/ 168275 w 151"/>
                  <a:gd name="T21" fmla="*/ 106363 h 150"/>
                  <a:gd name="T22" fmla="*/ 142875 w 151"/>
                  <a:gd name="T23" fmla="*/ 95250 h 150"/>
                  <a:gd name="T24" fmla="*/ 152400 w 151"/>
                  <a:gd name="T25" fmla="*/ 115888 h 150"/>
                  <a:gd name="T26" fmla="*/ 122238 w 151"/>
                  <a:gd name="T27" fmla="*/ 131762 h 150"/>
                  <a:gd name="T28" fmla="*/ 115888 w 151"/>
                  <a:gd name="T29" fmla="*/ 122237 h 150"/>
                  <a:gd name="T30" fmla="*/ 115888 w 151"/>
                  <a:gd name="T31" fmla="*/ 150812 h 150"/>
                  <a:gd name="T32" fmla="*/ 96838 w 151"/>
                  <a:gd name="T33" fmla="*/ 166687 h 150"/>
                  <a:gd name="T34" fmla="*/ 115888 w 151"/>
                  <a:gd name="T35" fmla="*/ 176212 h 150"/>
                  <a:gd name="T36" fmla="*/ 96838 w 151"/>
                  <a:gd name="T37" fmla="*/ 185737 h 150"/>
                  <a:gd name="T38" fmla="*/ 87313 w 151"/>
                  <a:gd name="T39" fmla="*/ 176212 h 150"/>
                  <a:gd name="T40" fmla="*/ 46038 w 151"/>
                  <a:gd name="T41" fmla="*/ 176212 h 150"/>
                  <a:gd name="T42" fmla="*/ 19050 w 151"/>
                  <a:gd name="T43" fmla="*/ 201612 h 150"/>
                  <a:gd name="T44" fmla="*/ 0 w 151"/>
                  <a:gd name="T45" fmla="*/ 201612 h 150"/>
                  <a:gd name="T46" fmla="*/ 0 w 151"/>
                  <a:gd name="T47" fmla="*/ 228600 h 150"/>
                  <a:gd name="T48" fmla="*/ 26988 w 151"/>
                  <a:gd name="T49" fmla="*/ 228600 h 150"/>
                  <a:gd name="T50" fmla="*/ 36513 w 151"/>
                  <a:gd name="T51" fmla="*/ 222250 h 150"/>
                  <a:gd name="T52" fmla="*/ 87313 w 151"/>
                  <a:gd name="T53" fmla="*/ 201612 h 150"/>
                  <a:gd name="T54" fmla="*/ 96838 w 151"/>
                  <a:gd name="T55" fmla="*/ 212725 h 150"/>
                  <a:gd name="T56" fmla="*/ 106363 w 151"/>
                  <a:gd name="T57" fmla="*/ 212725 h 150"/>
                  <a:gd name="T58" fmla="*/ 115888 w 151"/>
                  <a:gd name="T59" fmla="*/ 238125 h 150"/>
                  <a:gd name="T60" fmla="*/ 142875 w 151"/>
                  <a:gd name="T61" fmla="*/ 238125 h 150"/>
                  <a:gd name="T62" fmla="*/ 152400 w 151"/>
                  <a:gd name="T63" fmla="*/ 201612 h 150"/>
                  <a:gd name="T64" fmla="*/ 158750 w 151"/>
                  <a:gd name="T65" fmla="*/ 195262 h 150"/>
                  <a:gd name="T66" fmla="*/ 158750 w 151"/>
                  <a:gd name="T67" fmla="*/ 212725 h 150"/>
                  <a:gd name="T68" fmla="*/ 187325 w 151"/>
                  <a:gd name="T69" fmla="*/ 212725 h 150"/>
                  <a:gd name="T70" fmla="*/ 187325 w 151"/>
                  <a:gd name="T71" fmla="*/ 195262 h 150"/>
                  <a:gd name="T72" fmla="*/ 203200 w 151"/>
                  <a:gd name="T73" fmla="*/ 212725 h 150"/>
                  <a:gd name="T74" fmla="*/ 203200 w 151"/>
                  <a:gd name="T75" fmla="*/ 185737 h 150"/>
                  <a:gd name="T76" fmla="*/ 219075 w 151"/>
                  <a:gd name="T77" fmla="*/ 176212 h 150"/>
                  <a:gd name="T78" fmla="*/ 228600 w 151"/>
                  <a:gd name="T79" fmla="*/ 195262 h 150"/>
                  <a:gd name="T80" fmla="*/ 239713 w 151"/>
                  <a:gd name="T81" fmla="*/ 166687 h 150"/>
                  <a:gd name="T82" fmla="*/ 219075 w 151"/>
                  <a:gd name="T83" fmla="*/ 150812 h 150"/>
                  <a:gd name="T84" fmla="*/ 219075 w 151"/>
                  <a:gd name="T85" fmla="*/ 106363 h 150"/>
                  <a:gd name="T86" fmla="*/ 219075 w 151"/>
                  <a:gd name="T87" fmla="*/ 106363 h 15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1"/>
                  <a:gd name="T133" fmla="*/ 0 h 150"/>
                  <a:gd name="T134" fmla="*/ 151 w 151"/>
                  <a:gd name="T135" fmla="*/ 150 h 15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1" h="150">
                    <a:moveTo>
                      <a:pt x="138" y="67"/>
                    </a:moveTo>
                    <a:lnTo>
                      <a:pt x="122" y="60"/>
                    </a:lnTo>
                    <a:lnTo>
                      <a:pt x="134" y="56"/>
                    </a:lnTo>
                    <a:lnTo>
                      <a:pt x="134" y="44"/>
                    </a:lnTo>
                    <a:lnTo>
                      <a:pt x="128" y="28"/>
                    </a:lnTo>
                    <a:lnTo>
                      <a:pt x="106" y="10"/>
                    </a:lnTo>
                    <a:lnTo>
                      <a:pt x="100" y="0"/>
                    </a:lnTo>
                    <a:lnTo>
                      <a:pt x="90" y="6"/>
                    </a:lnTo>
                    <a:lnTo>
                      <a:pt x="84" y="16"/>
                    </a:lnTo>
                    <a:lnTo>
                      <a:pt x="90" y="38"/>
                    </a:lnTo>
                    <a:lnTo>
                      <a:pt x="106" y="67"/>
                    </a:lnTo>
                    <a:lnTo>
                      <a:pt x="90" y="60"/>
                    </a:lnTo>
                    <a:lnTo>
                      <a:pt x="96" y="73"/>
                    </a:lnTo>
                    <a:lnTo>
                      <a:pt x="77" y="83"/>
                    </a:lnTo>
                    <a:lnTo>
                      <a:pt x="73" y="77"/>
                    </a:lnTo>
                    <a:lnTo>
                      <a:pt x="73" y="95"/>
                    </a:lnTo>
                    <a:lnTo>
                      <a:pt x="61" y="105"/>
                    </a:lnTo>
                    <a:lnTo>
                      <a:pt x="73" y="111"/>
                    </a:lnTo>
                    <a:lnTo>
                      <a:pt x="61" y="117"/>
                    </a:lnTo>
                    <a:lnTo>
                      <a:pt x="55" y="111"/>
                    </a:lnTo>
                    <a:lnTo>
                      <a:pt x="29" y="111"/>
                    </a:lnTo>
                    <a:lnTo>
                      <a:pt x="12" y="127"/>
                    </a:lnTo>
                    <a:lnTo>
                      <a:pt x="0" y="127"/>
                    </a:lnTo>
                    <a:lnTo>
                      <a:pt x="0" y="144"/>
                    </a:lnTo>
                    <a:lnTo>
                      <a:pt x="17" y="144"/>
                    </a:lnTo>
                    <a:lnTo>
                      <a:pt x="23" y="140"/>
                    </a:lnTo>
                    <a:lnTo>
                      <a:pt x="55" y="127"/>
                    </a:lnTo>
                    <a:lnTo>
                      <a:pt x="61" y="134"/>
                    </a:lnTo>
                    <a:lnTo>
                      <a:pt x="67" y="134"/>
                    </a:lnTo>
                    <a:lnTo>
                      <a:pt x="73" y="150"/>
                    </a:lnTo>
                    <a:lnTo>
                      <a:pt x="90" y="150"/>
                    </a:lnTo>
                    <a:lnTo>
                      <a:pt x="96" y="127"/>
                    </a:lnTo>
                    <a:lnTo>
                      <a:pt x="100" y="123"/>
                    </a:lnTo>
                    <a:lnTo>
                      <a:pt x="100" y="134"/>
                    </a:lnTo>
                    <a:lnTo>
                      <a:pt x="118" y="134"/>
                    </a:lnTo>
                    <a:lnTo>
                      <a:pt x="118" y="123"/>
                    </a:lnTo>
                    <a:lnTo>
                      <a:pt x="128" y="134"/>
                    </a:lnTo>
                    <a:lnTo>
                      <a:pt x="128" y="117"/>
                    </a:lnTo>
                    <a:lnTo>
                      <a:pt x="138" y="111"/>
                    </a:lnTo>
                    <a:lnTo>
                      <a:pt x="144" y="123"/>
                    </a:lnTo>
                    <a:lnTo>
                      <a:pt x="151" y="105"/>
                    </a:lnTo>
                    <a:lnTo>
                      <a:pt x="138" y="95"/>
                    </a:lnTo>
                    <a:lnTo>
                      <a:pt x="138" y="6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2" name="Freeform 311">
                <a:extLst>
                  <a:ext uri="{FF2B5EF4-FFF2-40B4-BE49-F238E27FC236}">
                    <a16:creationId xmlns:a16="http://schemas.microsoft.com/office/drawing/2014/main" id="{385C3B7A-22F4-4E90-A608-C7F02EB849AC}"/>
                  </a:ext>
                </a:extLst>
              </p:cNvPr>
              <p:cNvSpPr>
                <a:spLocks/>
              </p:cNvSpPr>
              <p:nvPr/>
            </p:nvSpPr>
            <p:spPr bwMode="auto">
              <a:xfrm>
                <a:off x="4847" y="1713"/>
                <a:ext cx="38" cy="32"/>
              </a:xfrm>
              <a:custGeom>
                <a:avLst/>
                <a:gdLst>
                  <a:gd name="T0" fmla="*/ 50800 w 38"/>
                  <a:gd name="T1" fmla="*/ 0 h 32"/>
                  <a:gd name="T2" fmla="*/ 44450 w 38"/>
                  <a:gd name="T3" fmla="*/ 0 h 32"/>
                  <a:gd name="T4" fmla="*/ 34925 w 38"/>
                  <a:gd name="T5" fmla="*/ 6350 h 32"/>
                  <a:gd name="T6" fmla="*/ 19050 w 38"/>
                  <a:gd name="T7" fmla="*/ 6350 h 32"/>
                  <a:gd name="T8" fmla="*/ 0 w 38"/>
                  <a:gd name="T9" fmla="*/ 25400 h 32"/>
                  <a:gd name="T10" fmla="*/ 34925 w 38"/>
                  <a:gd name="T11" fmla="*/ 50800 h 32"/>
                  <a:gd name="T12" fmla="*/ 44450 w 38"/>
                  <a:gd name="T13" fmla="*/ 25400 h 32"/>
                  <a:gd name="T14" fmla="*/ 60325 w 38"/>
                  <a:gd name="T15" fmla="*/ 15875 h 32"/>
                  <a:gd name="T16" fmla="*/ 60325 w 38"/>
                  <a:gd name="T17" fmla="*/ 6350 h 32"/>
                  <a:gd name="T18" fmla="*/ 50800 w 38"/>
                  <a:gd name="T19" fmla="*/ 0 h 32"/>
                  <a:gd name="T20" fmla="*/ 50800 w 38"/>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32"/>
                  <a:gd name="T35" fmla="*/ 38 w 3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32">
                    <a:moveTo>
                      <a:pt x="32" y="0"/>
                    </a:moveTo>
                    <a:lnTo>
                      <a:pt x="28" y="0"/>
                    </a:lnTo>
                    <a:lnTo>
                      <a:pt x="22" y="4"/>
                    </a:lnTo>
                    <a:lnTo>
                      <a:pt x="12" y="4"/>
                    </a:lnTo>
                    <a:lnTo>
                      <a:pt x="0" y="16"/>
                    </a:lnTo>
                    <a:lnTo>
                      <a:pt x="22" y="32"/>
                    </a:lnTo>
                    <a:lnTo>
                      <a:pt x="28" y="16"/>
                    </a:lnTo>
                    <a:lnTo>
                      <a:pt x="38" y="10"/>
                    </a:lnTo>
                    <a:lnTo>
                      <a:pt x="38" y="4"/>
                    </a:lnTo>
                    <a:lnTo>
                      <a:pt x="3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3" name="Freeform 312">
                <a:extLst>
                  <a:ext uri="{FF2B5EF4-FFF2-40B4-BE49-F238E27FC236}">
                    <a16:creationId xmlns:a16="http://schemas.microsoft.com/office/drawing/2014/main" id="{3493F898-18D2-44AE-84B2-C6C63154DA48}"/>
                  </a:ext>
                </a:extLst>
              </p:cNvPr>
              <p:cNvSpPr>
                <a:spLocks/>
              </p:cNvSpPr>
              <p:nvPr/>
            </p:nvSpPr>
            <p:spPr bwMode="auto">
              <a:xfrm>
                <a:off x="4814" y="1723"/>
                <a:ext cx="39" cy="51"/>
              </a:xfrm>
              <a:custGeom>
                <a:avLst/>
                <a:gdLst>
                  <a:gd name="T0" fmla="*/ 52388 w 39"/>
                  <a:gd name="T1" fmla="*/ 19050 h 51"/>
                  <a:gd name="T2" fmla="*/ 42863 w 39"/>
                  <a:gd name="T3" fmla="*/ 0 h 51"/>
                  <a:gd name="T4" fmla="*/ 6350 w 39"/>
                  <a:gd name="T5" fmla="*/ 0 h 51"/>
                  <a:gd name="T6" fmla="*/ 0 w 39"/>
                  <a:gd name="T7" fmla="*/ 9525 h 51"/>
                  <a:gd name="T8" fmla="*/ 0 w 39"/>
                  <a:gd name="T9" fmla="*/ 28575 h 51"/>
                  <a:gd name="T10" fmla="*/ 25400 w 39"/>
                  <a:gd name="T11" fmla="*/ 28575 h 51"/>
                  <a:gd name="T12" fmla="*/ 15875 w 39"/>
                  <a:gd name="T13" fmla="*/ 53975 h 51"/>
                  <a:gd name="T14" fmla="*/ 34925 w 39"/>
                  <a:gd name="T15" fmla="*/ 80962 h 51"/>
                  <a:gd name="T16" fmla="*/ 61913 w 39"/>
                  <a:gd name="T17" fmla="*/ 69850 h 51"/>
                  <a:gd name="T18" fmla="*/ 52388 w 39"/>
                  <a:gd name="T19" fmla="*/ 19050 h 51"/>
                  <a:gd name="T20" fmla="*/ 52388 w 39"/>
                  <a:gd name="T21" fmla="*/ 19050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
                  <a:gd name="T34" fmla="*/ 0 h 51"/>
                  <a:gd name="T35" fmla="*/ 39 w 39"/>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 h="51">
                    <a:moveTo>
                      <a:pt x="33" y="12"/>
                    </a:moveTo>
                    <a:lnTo>
                      <a:pt x="27" y="0"/>
                    </a:lnTo>
                    <a:lnTo>
                      <a:pt x="4" y="0"/>
                    </a:lnTo>
                    <a:lnTo>
                      <a:pt x="0" y="6"/>
                    </a:lnTo>
                    <a:lnTo>
                      <a:pt x="0" y="18"/>
                    </a:lnTo>
                    <a:lnTo>
                      <a:pt x="16" y="18"/>
                    </a:lnTo>
                    <a:lnTo>
                      <a:pt x="10" y="34"/>
                    </a:lnTo>
                    <a:lnTo>
                      <a:pt x="22" y="51"/>
                    </a:lnTo>
                    <a:lnTo>
                      <a:pt x="39" y="44"/>
                    </a:lnTo>
                    <a:lnTo>
                      <a:pt x="33"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sp>
          <p:nvSpPr>
            <p:cNvPr id="345" name="Freeform 247">
              <a:extLst>
                <a:ext uri="{FF2B5EF4-FFF2-40B4-BE49-F238E27FC236}">
                  <a16:creationId xmlns:a16="http://schemas.microsoft.com/office/drawing/2014/main" id="{FCAE89DB-D644-40DA-93A6-7AE8089BC0B4}"/>
                </a:ext>
              </a:extLst>
            </p:cNvPr>
            <p:cNvSpPr>
              <a:spLocks/>
            </p:cNvSpPr>
            <p:nvPr/>
          </p:nvSpPr>
          <p:spPr bwMode="auto">
            <a:xfrm>
              <a:off x="6054060" y="2941342"/>
              <a:ext cx="66728" cy="101384"/>
            </a:xfrm>
            <a:custGeom>
              <a:avLst/>
              <a:gdLst/>
              <a:ahLst/>
              <a:cxnLst>
                <a:cxn ang="0">
                  <a:pos x="13" y="0"/>
                </a:cxn>
                <a:cxn ang="0">
                  <a:pos x="0" y="34"/>
                </a:cxn>
                <a:cxn ang="0">
                  <a:pos x="13" y="67"/>
                </a:cxn>
                <a:cxn ang="0">
                  <a:pos x="29" y="73"/>
                </a:cxn>
                <a:cxn ang="0">
                  <a:pos x="51" y="57"/>
                </a:cxn>
                <a:cxn ang="0">
                  <a:pos x="39" y="16"/>
                </a:cxn>
                <a:cxn ang="0">
                  <a:pos x="13" y="0"/>
                </a:cxn>
                <a:cxn ang="0">
                  <a:pos x="13" y="0"/>
                </a:cxn>
              </a:cxnLst>
              <a:rect l="0" t="0" r="r" b="b"/>
              <a:pathLst>
                <a:path w="51" h="73">
                  <a:moveTo>
                    <a:pt x="13" y="0"/>
                  </a:moveTo>
                  <a:lnTo>
                    <a:pt x="0" y="34"/>
                  </a:lnTo>
                  <a:lnTo>
                    <a:pt x="13" y="67"/>
                  </a:lnTo>
                  <a:lnTo>
                    <a:pt x="29" y="73"/>
                  </a:lnTo>
                  <a:lnTo>
                    <a:pt x="51" y="57"/>
                  </a:lnTo>
                  <a:lnTo>
                    <a:pt x="39" y="16"/>
                  </a:lnTo>
                  <a:lnTo>
                    <a:pt x="13" y="0"/>
                  </a:lnTo>
                  <a:lnTo>
                    <a:pt x="13"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6" name="Freeform 348">
              <a:extLst>
                <a:ext uri="{FF2B5EF4-FFF2-40B4-BE49-F238E27FC236}">
                  <a16:creationId xmlns:a16="http://schemas.microsoft.com/office/drawing/2014/main" id="{3B6A8C20-695A-474F-BD1E-077055032C95}"/>
                </a:ext>
              </a:extLst>
            </p:cNvPr>
            <p:cNvSpPr>
              <a:spLocks/>
            </p:cNvSpPr>
            <p:nvPr/>
          </p:nvSpPr>
          <p:spPr bwMode="auto">
            <a:xfrm>
              <a:off x="6216300" y="2509416"/>
              <a:ext cx="115139" cy="147215"/>
            </a:xfrm>
            <a:custGeom>
              <a:avLst/>
              <a:gdLst/>
              <a:ahLst/>
              <a:cxnLst>
                <a:cxn ang="0">
                  <a:pos x="49" y="71"/>
                </a:cxn>
                <a:cxn ang="0">
                  <a:pos x="49" y="61"/>
                </a:cxn>
                <a:cxn ang="0">
                  <a:pos x="61" y="67"/>
                </a:cxn>
                <a:cxn ang="0">
                  <a:pos x="77" y="106"/>
                </a:cxn>
                <a:cxn ang="0">
                  <a:pos x="88" y="77"/>
                </a:cxn>
                <a:cxn ang="0">
                  <a:pos x="77" y="49"/>
                </a:cxn>
                <a:cxn ang="0">
                  <a:pos x="71" y="55"/>
                </a:cxn>
                <a:cxn ang="0">
                  <a:pos x="61" y="49"/>
                </a:cxn>
                <a:cxn ang="0">
                  <a:pos x="71" y="20"/>
                </a:cxn>
                <a:cxn ang="0">
                  <a:pos x="33" y="20"/>
                </a:cxn>
                <a:cxn ang="0">
                  <a:pos x="21" y="0"/>
                </a:cxn>
                <a:cxn ang="0">
                  <a:pos x="4" y="0"/>
                </a:cxn>
                <a:cxn ang="0">
                  <a:pos x="0" y="10"/>
                </a:cxn>
                <a:cxn ang="0">
                  <a:pos x="10" y="20"/>
                </a:cxn>
                <a:cxn ang="0">
                  <a:pos x="0" y="39"/>
                </a:cxn>
                <a:cxn ang="0">
                  <a:pos x="21" y="49"/>
                </a:cxn>
                <a:cxn ang="0">
                  <a:pos x="27" y="83"/>
                </a:cxn>
                <a:cxn ang="0">
                  <a:pos x="49" y="71"/>
                </a:cxn>
                <a:cxn ang="0">
                  <a:pos x="49" y="71"/>
                </a:cxn>
              </a:cxnLst>
              <a:rect l="0" t="0" r="r" b="b"/>
              <a:pathLst>
                <a:path w="88" h="106">
                  <a:moveTo>
                    <a:pt x="49" y="71"/>
                  </a:moveTo>
                  <a:lnTo>
                    <a:pt x="49" y="61"/>
                  </a:lnTo>
                  <a:lnTo>
                    <a:pt x="61" y="67"/>
                  </a:lnTo>
                  <a:lnTo>
                    <a:pt x="77" y="106"/>
                  </a:lnTo>
                  <a:lnTo>
                    <a:pt x="88" y="77"/>
                  </a:lnTo>
                  <a:lnTo>
                    <a:pt x="77" y="49"/>
                  </a:lnTo>
                  <a:lnTo>
                    <a:pt x="71" y="55"/>
                  </a:lnTo>
                  <a:lnTo>
                    <a:pt x="61" y="49"/>
                  </a:lnTo>
                  <a:lnTo>
                    <a:pt x="71" y="20"/>
                  </a:lnTo>
                  <a:lnTo>
                    <a:pt x="33" y="20"/>
                  </a:lnTo>
                  <a:lnTo>
                    <a:pt x="21" y="0"/>
                  </a:lnTo>
                  <a:lnTo>
                    <a:pt x="4" y="0"/>
                  </a:lnTo>
                  <a:lnTo>
                    <a:pt x="0" y="10"/>
                  </a:lnTo>
                  <a:lnTo>
                    <a:pt x="10" y="20"/>
                  </a:lnTo>
                  <a:lnTo>
                    <a:pt x="0" y="39"/>
                  </a:lnTo>
                  <a:lnTo>
                    <a:pt x="21" y="49"/>
                  </a:lnTo>
                  <a:lnTo>
                    <a:pt x="27" y="83"/>
                  </a:lnTo>
                  <a:lnTo>
                    <a:pt x="49" y="71"/>
                  </a:lnTo>
                  <a:lnTo>
                    <a:pt x="49" y="71"/>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7" name="Freeform 251">
              <a:extLst>
                <a:ext uri="{FF2B5EF4-FFF2-40B4-BE49-F238E27FC236}">
                  <a16:creationId xmlns:a16="http://schemas.microsoft.com/office/drawing/2014/main" id="{48306D65-6B87-431B-A336-A82636D20DA9}"/>
                </a:ext>
              </a:extLst>
            </p:cNvPr>
            <p:cNvSpPr>
              <a:spLocks/>
            </p:cNvSpPr>
            <p:nvPr/>
          </p:nvSpPr>
          <p:spPr bwMode="auto">
            <a:xfrm>
              <a:off x="6317047" y="2444143"/>
              <a:ext cx="197568" cy="451367"/>
            </a:xfrm>
            <a:custGeom>
              <a:avLst/>
              <a:gdLst/>
              <a:ahLst/>
              <a:cxnLst>
                <a:cxn ang="0">
                  <a:pos x="61" y="23"/>
                </a:cxn>
                <a:cxn ang="0">
                  <a:pos x="45" y="35"/>
                </a:cxn>
                <a:cxn ang="0">
                  <a:pos x="39" y="80"/>
                </a:cxn>
                <a:cxn ang="0">
                  <a:pos x="23" y="86"/>
                </a:cxn>
                <a:cxn ang="0">
                  <a:pos x="0" y="153"/>
                </a:cxn>
                <a:cxn ang="0">
                  <a:pos x="27" y="163"/>
                </a:cxn>
                <a:cxn ang="0">
                  <a:pos x="49" y="201"/>
                </a:cxn>
                <a:cxn ang="0">
                  <a:pos x="45" y="230"/>
                </a:cxn>
                <a:cxn ang="0">
                  <a:pos x="61" y="230"/>
                </a:cxn>
                <a:cxn ang="0">
                  <a:pos x="74" y="236"/>
                </a:cxn>
                <a:cxn ang="0">
                  <a:pos x="78" y="224"/>
                </a:cxn>
                <a:cxn ang="0">
                  <a:pos x="94" y="220"/>
                </a:cxn>
                <a:cxn ang="0">
                  <a:pos x="116" y="281"/>
                </a:cxn>
                <a:cxn ang="0">
                  <a:pos x="128" y="287"/>
                </a:cxn>
                <a:cxn ang="0">
                  <a:pos x="128" y="297"/>
                </a:cxn>
                <a:cxn ang="0">
                  <a:pos x="122" y="303"/>
                </a:cxn>
                <a:cxn ang="0">
                  <a:pos x="116" y="325"/>
                </a:cxn>
                <a:cxn ang="0">
                  <a:pos x="139" y="325"/>
                </a:cxn>
                <a:cxn ang="0">
                  <a:pos x="145" y="287"/>
                </a:cxn>
                <a:cxn ang="0">
                  <a:pos x="128" y="252"/>
                </a:cxn>
                <a:cxn ang="0">
                  <a:pos x="134" y="236"/>
                </a:cxn>
                <a:cxn ang="0">
                  <a:pos x="112" y="201"/>
                </a:cxn>
                <a:cxn ang="0">
                  <a:pos x="112" y="169"/>
                </a:cxn>
                <a:cxn ang="0">
                  <a:pos x="145" y="153"/>
                </a:cxn>
                <a:cxn ang="0">
                  <a:pos x="151" y="130"/>
                </a:cxn>
                <a:cxn ang="0">
                  <a:pos x="134" y="130"/>
                </a:cxn>
                <a:cxn ang="0">
                  <a:pos x="106" y="86"/>
                </a:cxn>
                <a:cxn ang="0">
                  <a:pos x="84" y="80"/>
                </a:cxn>
                <a:cxn ang="0">
                  <a:pos x="100" y="51"/>
                </a:cxn>
                <a:cxn ang="0">
                  <a:pos x="100" y="19"/>
                </a:cxn>
                <a:cxn ang="0">
                  <a:pos x="74" y="0"/>
                </a:cxn>
                <a:cxn ang="0">
                  <a:pos x="61" y="23"/>
                </a:cxn>
                <a:cxn ang="0">
                  <a:pos x="61" y="23"/>
                </a:cxn>
              </a:cxnLst>
              <a:rect l="0" t="0" r="r" b="b"/>
              <a:pathLst>
                <a:path w="151" h="325">
                  <a:moveTo>
                    <a:pt x="61" y="23"/>
                  </a:moveTo>
                  <a:lnTo>
                    <a:pt x="45" y="35"/>
                  </a:lnTo>
                  <a:lnTo>
                    <a:pt x="39" y="80"/>
                  </a:lnTo>
                  <a:lnTo>
                    <a:pt x="23" y="86"/>
                  </a:lnTo>
                  <a:lnTo>
                    <a:pt x="0" y="153"/>
                  </a:lnTo>
                  <a:lnTo>
                    <a:pt x="27" y="163"/>
                  </a:lnTo>
                  <a:lnTo>
                    <a:pt x="49" y="201"/>
                  </a:lnTo>
                  <a:lnTo>
                    <a:pt x="45" y="230"/>
                  </a:lnTo>
                  <a:lnTo>
                    <a:pt x="61" y="230"/>
                  </a:lnTo>
                  <a:lnTo>
                    <a:pt x="74" y="236"/>
                  </a:lnTo>
                  <a:lnTo>
                    <a:pt x="78" y="224"/>
                  </a:lnTo>
                  <a:lnTo>
                    <a:pt x="94" y="220"/>
                  </a:lnTo>
                  <a:lnTo>
                    <a:pt x="116" y="281"/>
                  </a:lnTo>
                  <a:lnTo>
                    <a:pt x="128" y="287"/>
                  </a:lnTo>
                  <a:lnTo>
                    <a:pt x="128" y="297"/>
                  </a:lnTo>
                  <a:lnTo>
                    <a:pt x="122" y="303"/>
                  </a:lnTo>
                  <a:lnTo>
                    <a:pt x="116" y="325"/>
                  </a:lnTo>
                  <a:lnTo>
                    <a:pt x="139" y="325"/>
                  </a:lnTo>
                  <a:lnTo>
                    <a:pt x="145" y="287"/>
                  </a:lnTo>
                  <a:lnTo>
                    <a:pt x="128" y="252"/>
                  </a:lnTo>
                  <a:lnTo>
                    <a:pt x="134" y="236"/>
                  </a:lnTo>
                  <a:lnTo>
                    <a:pt x="112" y="201"/>
                  </a:lnTo>
                  <a:lnTo>
                    <a:pt x="112" y="169"/>
                  </a:lnTo>
                  <a:lnTo>
                    <a:pt x="145" y="153"/>
                  </a:lnTo>
                  <a:lnTo>
                    <a:pt x="151" y="130"/>
                  </a:lnTo>
                  <a:lnTo>
                    <a:pt x="134" y="130"/>
                  </a:lnTo>
                  <a:lnTo>
                    <a:pt x="106" y="86"/>
                  </a:lnTo>
                  <a:lnTo>
                    <a:pt x="84" y="80"/>
                  </a:lnTo>
                  <a:lnTo>
                    <a:pt x="100" y="51"/>
                  </a:lnTo>
                  <a:lnTo>
                    <a:pt x="100" y="19"/>
                  </a:lnTo>
                  <a:lnTo>
                    <a:pt x="74" y="0"/>
                  </a:lnTo>
                  <a:lnTo>
                    <a:pt x="61" y="23"/>
                  </a:lnTo>
                  <a:lnTo>
                    <a:pt x="61" y="2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8" name="Freeform 252">
              <a:extLst>
                <a:ext uri="{FF2B5EF4-FFF2-40B4-BE49-F238E27FC236}">
                  <a16:creationId xmlns:a16="http://schemas.microsoft.com/office/drawing/2014/main" id="{C1F13D4A-98DB-4BE1-83A5-00ACB20BA3B8}"/>
                </a:ext>
              </a:extLst>
            </p:cNvPr>
            <p:cNvSpPr>
              <a:spLocks/>
            </p:cNvSpPr>
            <p:nvPr/>
          </p:nvSpPr>
          <p:spPr bwMode="auto">
            <a:xfrm>
              <a:off x="6463587" y="2656633"/>
              <a:ext cx="188408" cy="386092"/>
            </a:xfrm>
            <a:custGeom>
              <a:avLst/>
              <a:gdLst/>
              <a:ahLst/>
              <a:cxnLst>
                <a:cxn ang="0">
                  <a:pos x="0" y="16"/>
                </a:cxn>
                <a:cxn ang="0">
                  <a:pos x="0" y="48"/>
                </a:cxn>
                <a:cxn ang="0">
                  <a:pos x="22" y="83"/>
                </a:cxn>
                <a:cxn ang="0">
                  <a:pos x="16" y="99"/>
                </a:cxn>
                <a:cxn ang="0">
                  <a:pos x="33" y="134"/>
                </a:cxn>
                <a:cxn ang="0">
                  <a:pos x="27" y="172"/>
                </a:cxn>
                <a:cxn ang="0">
                  <a:pos x="16" y="172"/>
                </a:cxn>
                <a:cxn ang="0">
                  <a:pos x="22" y="201"/>
                </a:cxn>
                <a:cxn ang="0">
                  <a:pos x="16" y="233"/>
                </a:cxn>
                <a:cxn ang="0">
                  <a:pos x="27" y="233"/>
                </a:cxn>
                <a:cxn ang="0">
                  <a:pos x="61" y="272"/>
                </a:cxn>
                <a:cxn ang="0">
                  <a:pos x="77" y="278"/>
                </a:cxn>
                <a:cxn ang="0">
                  <a:pos x="100" y="272"/>
                </a:cxn>
                <a:cxn ang="0">
                  <a:pos x="71" y="256"/>
                </a:cxn>
                <a:cxn ang="0">
                  <a:pos x="65" y="247"/>
                </a:cxn>
                <a:cxn ang="0">
                  <a:pos x="61" y="241"/>
                </a:cxn>
                <a:cxn ang="0">
                  <a:pos x="57" y="235"/>
                </a:cxn>
                <a:cxn ang="0">
                  <a:pos x="55" y="233"/>
                </a:cxn>
                <a:cxn ang="0">
                  <a:pos x="53" y="231"/>
                </a:cxn>
                <a:cxn ang="0">
                  <a:pos x="53" y="229"/>
                </a:cxn>
                <a:cxn ang="0">
                  <a:pos x="53" y="225"/>
                </a:cxn>
                <a:cxn ang="0">
                  <a:pos x="53" y="217"/>
                </a:cxn>
                <a:cxn ang="0">
                  <a:pos x="53" y="215"/>
                </a:cxn>
                <a:cxn ang="0">
                  <a:pos x="55" y="211"/>
                </a:cxn>
                <a:cxn ang="0">
                  <a:pos x="39" y="205"/>
                </a:cxn>
                <a:cxn ang="0">
                  <a:pos x="33" y="189"/>
                </a:cxn>
                <a:cxn ang="0">
                  <a:pos x="45" y="172"/>
                </a:cxn>
                <a:cxn ang="0">
                  <a:pos x="45" y="128"/>
                </a:cxn>
                <a:cxn ang="0">
                  <a:pos x="61" y="134"/>
                </a:cxn>
                <a:cxn ang="0">
                  <a:pos x="61" y="144"/>
                </a:cxn>
                <a:cxn ang="0">
                  <a:pos x="87" y="162"/>
                </a:cxn>
                <a:cxn ang="0">
                  <a:pos x="94" y="172"/>
                </a:cxn>
                <a:cxn ang="0">
                  <a:pos x="106" y="178"/>
                </a:cxn>
                <a:cxn ang="0">
                  <a:pos x="116" y="172"/>
                </a:cxn>
                <a:cxn ang="0">
                  <a:pos x="100" y="156"/>
                </a:cxn>
                <a:cxn ang="0">
                  <a:pos x="87" y="134"/>
                </a:cxn>
                <a:cxn ang="0">
                  <a:pos x="100" y="115"/>
                </a:cxn>
                <a:cxn ang="0">
                  <a:pos x="132" y="115"/>
                </a:cxn>
                <a:cxn ang="0">
                  <a:pos x="144" y="95"/>
                </a:cxn>
                <a:cxn ang="0">
                  <a:pos x="110" y="44"/>
                </a:cxn>
                <a:cxn ang="0">
                  <a:pos x="94" y="38"/>
                </a:cxn>
                <a:cxn ang="0">
                  <a:pos x="87" y="55"/>
                </a:cxn>
                <a:cxn ang="0">
                  <a:pos x="71" y="38"/>
                </a:cxn>
                <a:cxn ang="0">
                  <a:pos x="67" y="55"/>
                </a:cxn>
                <a:cxn ang="0">
                  <a:pos x="55" y="55"/>
                </a:cxn>
                <a:cxn ang="0">
                  <a:pos x="49" y="16"/>
                </a:cxn>
                <a:cxn ang="0">
                  <a:pos x="33" y="0"/>
                </a:cxn>
                <a:cxn ang="0">
                  <a:pos x="0" y="16"/>
                </a:cxn>
                <a:cxn ang="0">
                  <a:pos x="0" y="16"/>
                </a:cxn>
              </a:cxnLst>
              <a:rect l="0" t="0" r="r" b="b"/>
              <a:pathLst>
                <a:path w="144" h="278">
                  <a:moveTo>
                    <a:pt x="0" y="16"/>
                  </a:moveTo>
                  <a:lnTo>
                    <a:pt x="0" y="48"/>
                  </a:lnTo>
                  <a:lnTo>
                    <a:pt x="22" y="83"/>
                  </a:lnTo>
                  <a:lnTo>
                    <a:pt x="16" y="99"/>
                  </a:lnTo>
                  <a:lnTo>
                    <a:pt x="33" y="134"/>
                  </a:lnTo>
                  <a:lnTo>
                    <a:pt x="27" y="172"/>
                  </a:lnTo>
                  <a:lnTo>
                    <a:pt x="16" y="172"/>
                  </a:lnTo>
                  <a:lnTo>
                    <a:pt x="22" y="201"/>
                  </a:lnTo>
                  <a:lnTo>
                    <a:pt x="16" y="233"/>
                  </a:lnTo>
                  <a:lnTo>
                    <a:pt x="27" y="233"/>
                  </a:lnTo>
                  <a:lnTo>
                    <a:pt x="61" y="272"/>
                  </a:lnTo>
                  <a:lnTo>
                    <a:pt x="77" y="278"/>
                  </a:lnTo>
                  <a:lnTo>
                    <a:pt x="100" y="272"/>
                  </a:lnTo>
                  <a:lnTo>
                    <a:pt x="71" y="256"/>
                  </a:lnTo>
                  <a:lnTo>
                    <a:pt x="65" y="247"/>
                  </a:lnTo>
                  <a:lnTo>
                    <a:pt x="61" y="241"/>
                  </a:lnTo>
                  <a:lnTo>
                    <a:pt x="57" y="235"/>
                  </a:lnTo>
                  <a:lnTo>
                    <a:pt x="55" y="233"/>
                  </a:lnTo>
                  <a:lnTo>
                    <a:pt x="53" y="231"/>
                  </a:lnTo>
                  <a:lnTo>
                    <a:pt x="53" y="229"/>
                  </a:lnTo>
                  <a:lnTo>
                    <a:pt x="53" y="225"/>
                  </a:lnTo>
                  <a:lnTo>
                    <a:pt x="53" y="217"/>
                  </a:lnTo>
                  <a:lnTo>
                    <a:pt x="53" y="215"/>
                  </a:lnTo>
                  <a:lnTo>
                    <a:pt x="55" y="211"/>
                  </a:lnTo>
                  <a:lnTo>
                    <a:pt x="39" y="205"/>
                  </a:lnTo>
                  <a:lnTo>
                    <a:pt x="33" y="189"/>
                  </a:lnTo>
                  <a:lnTo>
                    <a:pt x="45" y="172"/>
                  </a:lnTo>
                  <a:lnTo>
                    <a:pt x="45" y="128"/>
                  </a:lnTo>
                  <a:lnTo>
                    <a:pt x="61" y="134"/>
                  </a:lnTo>
                  <a:lnTo>
                    <a:pt x="61" y="144"/>
                  </a:lnTo>
                  <a:lnTo>
                    <a:pt x="87" y="162"/>
                  </a:lnTo>
                  <a:lnTo>
                    <a:pt x="94" y="172"/>
                  </a:lnTo>
                  <a:lnTo>
                    <a:pt x="106" y="178"/>
                  </a:lnTo>
                  <a:lnTo>
                    <a:pt x="116" y="172"/>
                  </a:lnTo>
                  <a:lnTo>
                    <a:pt x="100" y="156"/>
                  </a:lnTo>
                  <a:lnTo>
                    <a:pt x="87" y="134"/>
                  </a:lnTo>
                  <a:lnTo>
                    <a:pt x="100" y="115"/>
                  </a:lnTo>
                  <a:lnTo>
                    <a:pt x="132" y="115"/>
                  </a:lnTo>
                  <a:lnTo>
                    <a:pt x="144" y="95"/>
                  </a:lnTo>
                  <a:lnTo>
                    <a:pt x="110" y="44"/>
                  </a:lnTo>
                  <a:lnTo>
                    <a:pt x="94" y="38"/>
                  </a:lnTo>
                  <a:lnTo>
                    <a:pt x="87" y="55"/>
                  </a:lnTo>
                  <a:lnTo>
                    <a:pt x="71" y="38"/>
                  </a:lnTo>
                  <a:lnTo>
                    <a:pt x="67" y="55"/>
                  </a:lnTo>
                  <a:lnTo>
                    <a:pt x="55" y="55"/>
                  </a:lnTo>
                  <a:lnTo>
                    <a:pt x="49" y="16"/>
                  </a:lnTo>
                  <a:lnTo>
                    <a:pt x="33" y="0"/>
                  </a:lnTo>
                  <a:lnTo>
                    <a:pt x="0" y="16"/>
                  </a:lnTo>
                  <a:lnTo>
                    <a:pt x="0"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9" name="Freeform 253">
              <a:extLst>
                <a:ext uri="{FF2B5EF4-FFF2-40B4-BE49-F238E27FC236}">
                  <a16:creationId xmlns:a16="http://schemas.microsoft.com/office/drawing/2014/main" id="{78C8C5F4-5319-41E5-B54A-A09774784D9F}"/>
                </a:ext>
              </a:extLst>
            </p:cNvPr>
            <p:cNvSpPr>
              <a:spLocks/>
            </p:cNvSpPr>
            <p:nvPr/>
          </p:nvSpPr>
          <p:spPr bwMode="auto">
            <a:xfrm>
              <a:off x="6506763" y="2602469"/>
              <a:ext cx="180558" cy="231933"/>
            </a:xfrm>
            <a:custGeom>
              <a:avLst/>
              <a:gdLst/>
              <a:ahLst/>
              <a:cxnLst>
                <a:cxn ang="0">
                  <a:pos x="28" y="0"/>
                </a:cxn>
                <a:cxn ang="0">
                  <a:pos x="6" y="16"/>
                </a:cxn>
                <a:cxn ang="0">
                  <a:pos x="0" y="39"/>
                </a:cxn>
                <a:cxn ang="0">
                  <a:pos x="16" y="55"/>
                </a:cxn>
                <a:cxn ang="0">
                  <a:pos x="22" y="94"/>
                </a:cxn>
                <a:cxn ang="0">
                  <a:pos x="34" y="94"/>
                </a:cxn>
                <a:cxn ang="0">
                  <a:pos x="38" y="77"/>
                </a:cxn>
                <a:cxn ang="0">
                  <a:pos x="54" y="94"/>
                </a:cxn>
                <a:cxn ang="0">
                  <a:pos x="61" y="77"/>
                </a:cxn>
                <a:cxn ang="0">
                  <a:pos x="77" y="83"/>
                </a:cxn>
                <a:cxn ang="0">
                  <a:pos x="111" y="134"/>
                </a:cxn>
                <a:cxn ang="0">
                  <a:pos x="99" y="154"/>
                </a:cxn>
                <a:cxn ang="0">
                  <a:pos x="117" y="167"/>
                </a:cxn>
                <a:cxn ang="0">
                  <a:pos x="121" y="154"/>
                </a:cxn>
                <a:cxn ang="0">
                  <a:pos x="138" y="150"/>
                </a:cxn>
                <a:cxn ang="0">
                  <a:pos x="134" y="122"/>
                </a:cxn>
                <a:cxn ang="0">
                  <a:pos x="77" y="67"/>
                </a:cxn>
                <a:cxn ang="0">
                  <a:pos x="28" y="0"/>
                </a:cxn>
                <a:cxn ang="0">
                  <a:pos x="28" y="0"/>
                </a:cxn>
              </a:cxnLst>
              <a:rect l="0" t="0" r="r" b="b"/>
              <a:pathLst>
                <a:path w="138" h="167">
                  <a:moveTo>
                    <a:pt x="28" y="0"/>
                  </a:moveTo>
                  <a:lnTo>
                    <a:pt x="6" y="16"/>
                  </a:lnTo>
                  <a:lnTo>
                    <a:pt x="0" y="39"/>
                  </a:lnTo>
                  <a:lnTo>
                    <a:pt x="16" y="55"/>
                  </a:lnTo>
                  <a:lnTo>
                    <a:pt x="22" y="94"/>
                  </a:lnTo>
                  <a:lnTo>
                    <a:pt x="34" y="94"/>
                  </a:lnTo>
                  <a:lnTo>
                    <a:pt x="38" y="77"/>
                  </a:lnTo>
                  <a:lnTo>
                    <a:pt x="54" y="94"/>
                  </a:lnTo>
                  <a:lnTo>
                    <a:pt x="61" y="77"/>
                  </a:lnTo>
                  <a:lnTo>
                    <a:pt x="77" y="83"/>
                  </a:lnTo>
                  <a:lnTo>
                    <a:pt x="111" y="134"/>
                  </a:lnTo>
                  <a:lnTo>
                    <a:pt x="99" y="154"/>
                  </a:lnTo>
                  <a:lnTo>
                    <a:pt x="117" y="167"/>
                  </a:lnTo>
                  <a:lnTo>
                    <a:pt x="121" y="154"/>
                  </a:lnTo>
                  <a:lnTo>
                    <a:pt x="138" y="150"/>
                  </a:lnTo>
                  <a:lnTo>
                    <a:pt x="134" y="122"/>
                  </a:lnTo>
                  <a:lnTo>
                    <a:pt x="77" y="67"/>
                  </a:lnTo>
                  <a:lnTo>
                    <a:pt x="28" y="0"/>
                  </a:lnTo>
                  <a:lnTo>
                    <a:pt x="28"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0" name="Freeform 254">
              <a:extLst>
                <a:ext uri="{FF2B5EF4-FFF2-40B4-BE49-F238E27FC236}">
                  <a16:creationId xmlns:a16="http://schemas.microsoft.com/office/drawing/2014/main" id="{4A14EA1B-B234-40D2-A63A-85832D252366}"/>
                </a:ext>
              </a:extLst>
            </p:cNvPr>
            <p:cNvSpPr>
              <a:spLocks/>
            </p:cNvSpPr>
            <p:nvPr/>
          </p:nvSpPr>
          <p:spPr bwMode="auto">
            <a:xfrm>
              <a:off x="6543399" y="2577469"/>
              <a:ext cx="196259" cy="386092"/>
            </a:xfrm>
            <a:custGeom>
              <a:avLst/>
              <a:gdLst/>
              <a:ahLst/>
              <a:cxnLst>
                <a:cxn ang="0">
                  <a:pos x="106" y="34"/>
                </a:cxn>
                <a:cxn ang="0">
                  <a:pos x="45" y="0"/>
                </a:cxn>
                <a:cxn ang="0">
                  <a:pos x="0" y="18"/>
                </a:cxn>
                <a:cxn ang="0">
                  <a:pos x="49" y="85"/>
                </a:cxn>
                <a:cxn ang="0">
                  <a:pos x="106" y="140"/>
                </a:cxn>
                <a:cxn ang="0">
                  <a:pos x="116" y="195"/>
                </a:cxn>
                <a:cxn ang="0">
                  <a:pos x="93" y="239"/>
                </a:cxn>
                <a:cxn ang="0">
                  <a:pos x="71" y="252"/>
                </a:cxn>
                <a:cxn ang="0">
                  <a:pos x="71" y="278"/>
                </a:cxn>
                <a:cxn ang="0">
                  <a:pos x="89" y="268"/>
                </a:cxn>
                <a:cxn ang="0">
                  <a:pos x="100" y="252"/>
                </a:cxn>
                <a:cxn ang="0">
                  <a:pos x="116" y="252"/>
                </a:cxn>
                <a:cxn ang="0">
                  <a:pos x="132" y="235"/>
                </a:cxn>
                <a:cxn ang="0">
                  <a:pos x="150" y="223"/>
                </a:cxn>
                <a:cxn ang="0">
                  <a:pos x="150" y="207"/>
                </a:cxn>
                <a:cxn ang="0">
                  <a:pos x="138" y="156"/>
                </a:cxn>
                <a:cxn ang="0">
                  <a:pos x="100" y="118"/>
                </a:cxn>
                <a:cxn ang="0">
                  <a:pos x="67" y="67"/>
                </a:cxn>
                <a:cxn ang="0">
                  <a:pos x="77" y="45"/>
                </a:cxn>
                <a:cxn ang="0">
                  <a:pos x="106" y="34"/>
                </a:cxn>
                <a:cxn ang="0">
                  <a:pos x="106" y="34"/>
                </a:cxn>
              </a:cxnLst>
              <a:rect l="0" t="0" r="r" b="b"/>
              <a:pathLst>
                <a:path w="150" h="278">
                  <a:moveTo>
                    <a:pt x="106" y="34"/>
                  </a:moveTo>
                  <a:lnTo>
                    <a:pt x="45" y="0"/>
                  </a:lnTo>
                  <a:lnTo>
                    <a:pt x="0" y="18"/>
                  </a:lnTo>
                  <a:lnTo>
                    <a:pt x="49" y="85"/>
                  </a:lnTo>
                  <a:lnTo>
                    <a:pt x="106" y="140"/>
                  </a:lnTo>
                  <a:lnTo>
                    <a:pt x="116" y="195"/>
                  </a:lnTo>
                  <a:lnTo>
                    <a:pt x="93" y="239"/>
                  </a:lnTo>
                  <a:lnTo>
                    <a:pt x="71" y="252"/>
                  </a:lnTo>
                  <a:lnTo>
                    <a:pt x="71" y="278"/>
                  </a:lnTo>
                  <a:lnTo>
                    <a:pt x="89" y="268"/>
                  </a:lnTo>
                  <a:lnTo>
                    <a:pt x="100" y="252"/>
                  </a:lnTo>
                  <a:lnTo>
                    <a:pt x="116" y="252"/>
                  </a:lnTo>
                  <a:lnTo>
                    <a:pt x="132" y="235"/>
                  </a:lnTo>
                  <a:lnTo>
                    <a:pt x="150" y="223"/>
                  </a:lnTo>
                  <a:lnTo>
                    <a:pt x="150" y="207"/>
                  </a:lnTo>
                  <a:lnTo>
                    <a:pt x="138" y="156"/>
                  </a:lnTo>
                  <a:lnTo>
                    <a:pt x="100" y="118"/>
                  </a:lnTo>
                  <a:lnTo>
                    <a:pt x="67" y="67"/>
                  </a:lnTo>
                  <a:lnTo>
                    <a:pt x="77" y="45"/>
                  </a:lnTo>
                  <a:lnTo>
                    <a:pt x="106" y="34"/>
                  </a:lnTo>
                  <a:lnTo>
                    <a:pt x="106" y="3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1" name="Freeform 255">
              <a:extLst>
                <a:ext uri="{FF2B5EF4-FFF2-40B4-BE49-F238E27FC236}">
                  <a16:creationId xmlns:a16="http://schemas.microsoft.com/office/drawing/2014/main" id="{5971FA89-1F65-44BC-BAC4-461B5ED9176B}"/>
                </a:ext>
              </a:extLst>
            </p:cNvPr>
            <p:cNvSpPr>
              <a:spLocks/>
            </p:cNvSpPr>
            <p:nvPr/>
          </p:nvSpPr>
          <p:spPr bwMode="auto">
            <a:xfrm>
              <a:off x="6577416" y="2810792"/>
              <a:ext cx="117756" cy="116662"/>
            </a:xfrm>
            <a:custGeom>
              <a:avLst/>
              <a:gdLst/>
              <a:ahLst/>
              <a:cxnLst>
                <a:cxn ang="0">
                  <a:pos x="84" y="0"/>
                </a:cxn>
                <a:cxn ang="0">
                  <a:pos x="67" y="4"/>
                </a:cxn>
                <a:cxn ang="0">
                  <a:pos x="63" y="17"/>
                </a:cxn>
                <a:cxn ang="0">
                  <a:pos x="45" y="4"/>
                </a:cxn>
                <a:cxn ang="0">
                  <a:pos x="13" y="4"/>
                </a:cxn>
                <a:cxn ang="0">
                  <a:pos x="0" y="23"/>
                </a:cxn>
                <a:cxn ang="0">
                  <a:pos x="13" y="45"/>
                </a:cxn>
                <a:cxn ang="0">
                  <a:pos x="29" y="61"/>
                </a:cxn>
                <a:cxn ang="0">
                  <a:pos x="19" y="67"/>
                </a:cxn>
                <a:cxn ang="0">
                  <a:pos x="45" y="84"/>
                </a:cxn>
                <a:cxn ang="0">
                  <a:pos x="67" y="71"/>
                </a:cxn>
                <a:cxn ang="0">
                  <a:pos x="90" y="27"/>
                </a:cxn>
                <a:cxn ang="0">
                  <a:pos x="84" y="0"/>
                </a:cxn>
                <a:cxn ang="0">
                  <a:pos x="84" y="0"/>
                </a:cxn>
              </a:cxnLst>
              <a:rect l="0" t="0" r="r" b="b"/>
              <a:pathLst>
                <a:path w="90" h="84">
                  <a:moveTo>
                    <a:pt x="84" y="0"/>
                  </a:moveTo>
                  <a:lnTo>
                    <a:pt x="67" y="4"/>
                  </a:lnTo>
                  <a:lnTo>
                    <a:pt x="63" y="17"/>
                  </a:lnTo>
                  <a:lnTo>
                    <a:pt x="45" y="4"/>
                  </a:lnTo>
                  <a:lnTo>
                    <a:pt x="13" y="4"/>
                  </a:lnTo>
                  <a:lnTo>
                    <a:pt x="0" y="23"/>
                  </a:lnTo>
                  <a:lnTo>
                    <a:pt x="13" y="45"/>
                  </a:lnTo>
                  <a:lnTo>
                    <a:pt x="29" y="61"/>
                  </a:lnTo>
                  <a:lnTo>
                    <a:pt x="19" y="67"/>
                  </a:lnTo>
                  <a:lnTo>
                    <a:pt x="45" y="84"/>
                  </a:lnTo>
                  <a:lnTo>
                    <a:pt x="67" y="71"/>
                  </a:lnTo>
                  <a:lnTo>
                    <a:pt x="90" y="27"/>
                  </a:lnTo>
                  <a:lnTo>
                    <a:pt x="84" y="0"/>
                  </a:lnTo>
                  <a:lnTo>
                    <a:pt x="84"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2" name="Freeform 256">
              <a:extLst>
                <a:ext uri="{FF2B5EF4-FFF2-40B4-BE49-F238E27FC236}">
                  <a16:creationId xmlns:a16="http://schemas.microsoft.com/office/drawing/2014/main" id="{1F753486-411E-43AA-8A2C-113658B4AC70}"/>
                </a:ext>
              </a:extLst>
            </p:cNvPr>
            <p:cNvSpPr>
              <a:spLocks/>
            </p:cNvSpPr>
            <p:nvPr/>
          </p:nvSpPr>
          <p:spPr bwMode="auto">
            <a:xfrm>
              <a:off x="6739656" y="3474648"/>
              <a:ext cx="938117" cy="752743"/>
            </a:xfrm>
            <a:custGeom>
              <a:avLst/>
              <a:gdLst/>
              <a:ahLst/>
              <a:cxnLst>
                <a:cxn ang="0">
                  <a:pos x="601" y="63"/>
                </a:cxn>
                <a:cxn ang="0">
                  <a:pos x="589" y="0"/>
                </a:cxn>
                <a:cxn ang="0">
                  <a:pos x="557" y="95"/>
                </a:cxn>
                <a:cxn ang="0">
                  <a:pos x="518" y="130"/>
                </a:cxn>
                <a:cxn ang="0">
                  <a:pos x="484" y="101"/>
                </a:cxn>
                <a:cxn ang="0">
                  <a:pos x="451" y="79"/>
                </a:cxn>
                <a:cxn ang="0">
                  <a:pos x="479" y="34"/>
                </a:cxn>
                <a:cxn ang="0">
                  <a:pos x="473" y="28"/>
                </a:cxn>
                <a:cxn ang="0">
                  <a:pos x="439" y="22"/>
                </a:cxn>
                <a:cxn ang="0">
                  <a:pos x="396" y="6"/>
                </a:cxn>
                <a:cxn ang="0">
                  <a:pos x="384" y="34"/>
                </a:cxn>
                <a:cxn ang="0">
                  <a:pos x="350" y="63"/>
                </a:cxn>
                <a:cxn ang="0">
                  <a:pos x="323" y="85"/>
                </a:cxn>
                <a:cxn ang="0">
                  <a:pos x="289" y="57"/>
                </a:cxn>
                <a:cxn ang="0">
                  <a:pos x="278" y="73"/>
                </a:cxn>
                <a:cxn ang="0">
                  <a:pos x="262" y="89"/>
                </a:cxn>
                <a:cxn ang="0">
                  <a:pos x="240" y="107"/>
                </a:cxn>
                <a:cxn ang="0">
                  <a:pos x="228" y="117"/>
                </a:cxn>
                <a:cxn ang="0">
                  <a:pos x="211" y="140"/>
                </a:cxn>
                <a:cxn ang="0">
                  <a:pos x="134" y="178"/>
                </a:cxn>
                <a:cxn ang="0">
                  <a:pos x="102" y="191"/>
                </a:cxn>
                <a:cxn ang="0">
                  <a:pos x="51" y="229"/>
                </a:cxn>
                <a:cxn ang="0">
                  <a:pos x="39" y="245"/>
                </a:cxn>
                <a:cxn ang="0">
                  <a:pos x="45" y="286"/>
                </a:cxn>
                <a:cxn ang="0">
                  <a:pos x="19" y="290"/>
                </a:cxn>
                <a:cxn ang="0">
                  <a:pos x="23" y="375"/>
                </a:cxn>
                <a:cxn ang="0">
                  <a:pos x="19" y="436"/>
                </a:cxn>
                <a:cxn ang="0">
                  <a:pos x="12" y="459"/>
                </a:cxn>
                <a:cxn ang="0">
                  <a:pos x="90" y="446"/>
                </a:cxn>
                <a:cxn ang="0">
                  <a:pos x="163" y="424"/>
                </a:cxn>
                <a:cxn ang="0">
                  <a:pos x="256" y="402"/>
                </a:cxn>
                <a:cxn ang="0">
                  <a:pos x="295" y="398"/>
                </a:cxn>
                <a:cxn ang="0">
                  <a:pos x="333" y="424"/>
                </a:cxn>
                <a:cxn ang="0">
                  <a:pos x="345" y="459"/>
                </a:cxn>
                <a:cxn ang="0">
                  <a:pos x="368" y="465"/>
                </a:cxn>
                <a:cxn ang="0">
                  <a:pos x="378" y="475"/>
                </a:cxn>
                <a:cxn ang="0">
                  <a:pos x="400" y="497"/>
                </a:cxn>
                <a:cxn ang="0">
                  <a:pos x="400" y="532"/>
                </a:cxn>
                <a:cxn ang="0">
                  <a:pos x="439" y="542"/>
                </a:cxn>
                <a:cxn ang="0">
                  <a:pos x="479" y="542"/>
                </a:cxn>
                <a:cxn ang="0">
                  <a:pos x="544" y="520"/>
                </a:cxn>
                <a:cxn ang="0">
                  <a:pos x="563" y="497"/>
                </a:cxn>
                <a:cxn ang="0">
                  <a:pos x="624" y="442"/>
                </a:cxn>
                <a:cxn ang="0">
                  <a:pos x="652" y="418"/>
                </a:cxn>
                <a:cxn ang="0">
                  <a:pos x="707" y="308"/>
                </a:cxn>
                <a:cxn ang="0">
                  <a:pos x="685" y="241"/>
                </a:cxn>
                <a:cxn ang="0">
                  <a:pos x="672" y="223"/>
                </a:cxn>
                <a:cxn ang="0">
                  <a:pos x="640" y="162"/>
                </a:cxn>
                <a:cxn ang="0">
                  <a:pos x="624" y="79"/>
                </a:cxn>
              </a:cxnLst>
              <a:rect l="0" t="0" r="r" b="b"/>
              <a:pathLst>
                <a:path w="717" h="542">
                  <a:moveTo>
                    <a:pt x="624" y="79"/>
                  </a:moveTo>
                  <a:lnTo>
                    <a:pt x="601" y="63"/>
                  </a:lnTo>
                  <a:lnTo>
                    <a:pt x="605" y="34"/>
                  </a:lnTo>
                  <a:lnTo>
                    <a:pt x="589" y="0"/>
                  </a:lnTo>
                  <a:lnTo>
                    <a:pt x="573" y="18"/>
                  </a:lnTo>
                  <a:lnTo>
                    <a:pt x="557" y="95"/>
                  </a:lnTo>
                  <a:lnTo>
                    <a:pt x="534" y="130"/>
                  </a:lnTo>
                  <a:lnTo>
                    <a:pt x="518" y="130"/>
                  </a:lnTo>
                  <a:lnTo>
                    <a:pt x="496" y="111"/>
                  </a:lnTo>
                  <a:lnTo>
                    <a:pt x="484" y="101"/>
                  </a:lnTo>
                  <a:lnTo>
                    <a:pt x="467" y="95"/>
                  </a:lnTo>
                  <a:lnTo>
                    <a:pt x="451" y="79"/>
                  </a:lnTo>
                  <a:lnTo>
                    <a:pt x="473" y="50"/>
                  </a:lnTo>
                  <a:lnTo>
                    <a:pt x="479" y="34"/>
                  </a:lnTo>
                  <a:lnTo>
                    <a:pt x="479" y="22"/>
                  </a:lnTo>
                  <a:lnTo>
                    <a:pt x="473" y="28"/>
                  </a:lnTo>
                  <a:lnTo>
                    <a:pt x="461" y="22"/>
                  </a:lnTo>
                  <a:lnTo>
                    <a:pt x="439" y="22"/>
                  </a:lnTo>
                  <a:lnTo>
                    <a:pt x="412" y="0"/>
                  </a:lnTo>
                  <a:lnTo>
                    <a:pt x="396" y="6"/>
                  </a:lnTo>
                  <a:lnTo>
                    <a:pt x="406" y="28"/>
                  </a:lnTo>
                  <a:lnTo>
                    <a:pt x="384" y="34"/>
                  </a:lnTo>
                  <a:lnTo>
                    <a:pt x="362" y="44"/>
                  </a:lnTo>
                  <a:lnTo>
                    <a:pt x="350" y="63"/>
                  </a:lnTo>
                  <a:lnTo>
                    <a:pt x="350" y="85"/>
                  </a:lnTo>
                  <a:lnTo>
                    <a:pt x="323" y="85"/>
                  </a:lnTo>
                  <a:lnTo>
                    <a:pt x="317" y="63"/>
                  </a:lnTo>
                  <a:lnTo>
                    <a:pt x="289" y="57"/>
                  </a:lnTo>
                  <a:lnTo>
                    <a:pt x="289" y="67"/>
                  </a:lnTo>
                  <a:lnTo>
                    <a:pt x="278" y="73"/>
                  </a:lnTo>
                  <a:lnTo>
                    <a:pt x="268" y="89"/>
                  </a:lnTo>
                  <a:lnTo>
                    <a:pt x="262" y="89"/>
                  </a:lnTo>
                  <a:lnTo>
                    <a:pt x="262" y="107"/>
                  </a:lnTo>
                  <a:lnTo>
                    <a:pt x="240" y="107"/>
                  </a:lnTo>
                  <a:lnTo>
                    <a:pt x="234" y="130"/>
                  </a:lnTo>
                  <a:lnTo>
                    <a:pt x="228" y="117"/>
                  </a:lnTo>
                  <a:lnTo>
                    <a:pt x="211" y="124"/>
                  </a:lnTo>
                  <a:lnTo>
                    <a:pt x="211" y="140"/>
                  </a:lnTo>
                  <a:lnTo>
                    <a:pt x="179" y="178"/>
                  </a:lnTo>
                  <a:lnTo>
                    <a:pt x="134" y="178"/>
                  </a:lnTo>
                  <a:lnTo>
                    <a:pt x="112" y="191"/>
                  </a:lnTo>
                  <a:lnTo>
                    <a:pt x="102" y="191"/>
                  </a:lnTo>
                  <a:lnTo>
                    <a:pt x="90" y="201"/>
                  </a:lnTo>
                  <a:lnTo>
                    <a:pt x="51" y="229"/>
                  </a:lnTo>
                  <a:lnTo>
                    <a:pt x="39" y="219"/>
                  </a:lnTo>
                  <a:lnTo>
                    <a:pt x="39" y="245"/>
                  </a:lnTo>
                  <a:lnTo>
                    <a:pt x="35" y="268"/>
                  </a:lnTo>
                  <a:lnTo>
                    <a:pt x="45" y="286"/>
                  </a:lnTo>
                  <a:lnTo>
                    <a:pt x="35" y="296"/>
                  </a:lnTo>
                  <a:lnTo>
                    <a:pt x="19" y="290"/>
                  </a:lnTo>
                  <a:lnTo>
                    <a:pt x="35" y="353"/>
                  </a:lnTo>
                  <a:lnTo>
                    <a:pt x="23" y="375"/>
                  </a:lnTo>
                  <a:lnTo>
                    <a:pt x="35" y="398"/>
                  </a:lnTo>
                  <a:lnTo>
                    <a:pt x="19" y="436"/>
                  </a:lnTo>
                  <a:lnTo>
                    <a:pt x="0" y="442"/>
                  </a:lnTo>
                  <a:lnTo>
                    <a:pt x="12" y="459"/>
                  </a:lnTo>
                  <a:lnTo>
                    <a:pt x="45" y="465"/>
                  </a:lnTo>
                  <a:lnTo>
                    <a:pt x="90" y="446"/>
                  </a:lnTo>
                  <a:lnTo>
                    <a:pt x="144" y="446"/>
                  </a:lnTo>
                  <a:lnTo>
                    <a:pt x="163" y="424"/>
                  </a:lnTo>
                  <a:lnTo>
                    <a:pt x="228" y="414"/>
                  </a:lnTo>
                  <a:lnTo>
                    <a:pt x="256" y="402"/>
                  </a:lnTo>
                  <a:lnTo>
                    <a:pt x="278" y="402"/>
                  </a:lnTo>
                  <a:lnTo>
                    <a:pt x="295" y="398"/>
                  </a:lnTo>
                  <a:lnTo>
                    <a:pt x="329" y="414"/>
                  </a:lnTo>
                  <a:lnTo>
                    <a:pt x="333" y="424"/>
                  </a:lnTo>
                  <a:lnTo>
                    <a:pt x="345" y="430"/>
                  </a:lnTo>
                  <a:lnTo>
                    <a:pt x="345" y="459"/>
                  </a:lnTo>
                  <a:lnTo>
                    <a:pt x="396" y="430"/>
                  </a:lnTo>
                  <a:lnTo>
                    <a:pt x="368" y="465"/>
                  </a:lnTo>
                  <a:lnTo>
                    <a:pt x="396" y="459"/>
                  </a:lnTo>
                  <a:lnTo>
                    <a:pt x="378" y="475"/>
                  </a:lnTo>
                  <a:lnTo>
                    <a:pt x="400" y="475"/>
                  </a:lnTo>
                  <a:lnTo>
                    <a:pt x="400" y="497"/>
                  </a:lnTo>
                  <a:lnTo>
                    <a:pt x="390" y="513"/>
                  </a:lnTo>
                  <a:lnTo>
                    <a:pt x="400" y="532"/>
                  </a:lnTo>
                  <a:lnTo>
                    <a:pt x="429" y="532"/>
                  </a:lnTo>
                  <a:lnTo>
                    <a:pt x="439" y="542"/>
                  </a:lnTo>
                  <a:lnTo>
                    <a:pt x="467" y="520"/>
                  </a:lnTo>
                  <a:lnTo>
                    <a:pt x="479" y="542"/>
                  </a:lnTo>
                  <a:lnTo>
                    <a:pt x="518" y="526"/>
                  </a:lnTo>
                  <a:lnTo>
                    <a:pt x="544" y="520"/>
                  </a:lnTo>
                  <a:lnTo>
                    <a:pt x="557" y="509"/>
                  </a:lnTo>
                  <a:lnTo>
                    <a:pt x="563" y="497"/>
                  </a:lnTo>
                  <a:lnTo>
                    <a:pt x="585" y="465"/>
                  </a:lnTo>
                  <a:lnTo>
                    <a:pt x="624" y="442"/>
                  </a:lnTo>
                  <a:lnTo>
                    <a:pt x="624" y="424"/>
                  </a:lnTo>
                  <a:lnTo>
                    <a:pt x="652" y="418"/>
                  </a:lnTo>
                  <a:lnTo>
                    <a:pt x="707" y="331"/>
                  </a:lnTo>
                  <a:lnTo>
                    <a:pt x="707" y="308"/>
                  </a:lnTo>
                  <a:lnTo>
                    <a:pt x="717" y="280"/>
                  </a:lnTo>
                  <a:lnTo>
                    <a:pt x="685" y="241"/>
                  </a:lnTo>
                  <a:lnTo>
                    <a:pt x="691" y="223"/>
                  </a:lnTo>
                  <a:lnTo>
                    <a:pt x="672" y="223"/>
                  </a:lnTo>
                  <a:lnTo>
                    <a:pt x="656" y="178"/>
                  </a:lnTo>
                  <a:lnTo>
                    <a:pt x="640" y="162"/>
                  </a:lnTo>
                  <a:lnTo>
                    <a:pt x="624" y="79"/>
                  </a:lnTo>
                  <a:lnTo>
                    <a:pt x="624" y="79"/>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3" name="Freeform 257">
              <a:extLst>
                <a:ext uri="{FF2B5EF4-FFF2-40B4-BE49-F238E27FC236}">
                  <a16:creationId xmlns:a16="http://schemas.microsoft.com/office/drawing/2014/main" id="{6086716A-9F3E-42C0-9E2B-85D1FA630FBF}"/>
                </a:ext>
              </a:extLst>
            </p:cNvPr>
            <p:cNvSpPr>
              <a:spLocks/>
            </p:cNvSpPr>
            <p:nvPr/>
          </p:nvSpPr>
          <p:spPr bwMode="auto">
            <a:xfrm>
              <a:off x="7285257" y="4274611"/>
              <a:ext cx="95512" cy="76385"/>
            </a:xfrm>
            <a:custGeom>
              <a:avLst/>
              <a:gdLst/>
              <a:ahLst/>
              <a:cxnLst>
                <a:cxn ang="0">
                  <a:pos x="73" y="11"/>
                </a:cxn>
                <a:cxn ang="0">
                  <a:pos x="67" y="0"/>
                </a:cxn>
                <a:cxn ang="0">
                  <a:pos x="34" y="4"/>
                </a:cxn>
                <a:cxn ang="0">
                  <a:pos x="22" y="0"/>
                </a:cxn>
                <a:cxn ang="0">
                  <a:pos x="12" y="4"/>
                </a:cxn>
                <a:cxn ang="0">
                  <a:pos x="0" y="39"/>
                </a:cxn>
                <a:cxn ang="0">
                  <a:pos x="6" y="55"/>
                </a:cxn>
                <a:cxn ang="0">
                  <a:pos x="34" y="43"/>
                </a:cxn>
                <a:cxn ang="0">
                  <a:pos x="73" y="11"/>
                </a:cxn>
                <a:cxn ang="0">
                  <a:pos x="73" y="11"/>
                </a:cxn>
              </a:cxnLst>
              <a:rect l="0" t="0" r="r" b="b"/>
              <a:pathLst>
                <a:path w="73" h="55">
                  <a:moveTo>
                    <a:pt x="73" y="11"/>
                  </a:moveTo>
                  <a:lnTo>
                    <a:pt x="67" y="0"/>
                  </a:lnTo>
                  <a:lnTo>
                    <a:pt x="34" y="4"/>
                  </a:lnTo>
                  <a:lnTo>
                    <a:pt x="22" y="0"/>
                  </a:lnTo>
                  <a:lnTo>
                    <a:pt x="12" y="4"/>
                  </a:lnTo>
                  <a:lnTo>
                    <a:pt x="0" y="39"/>
                  </a:lnTo>
                  <a:lnTo>
                    <a:pt x="6" y="55"/>
                  </a:lnTo>
                  <a:lnTo>
                    <a:pt x="34" y="43"/>
                  </a:lnTo>
                  <a:lnTo>
                    <a:pt x="73" y="11"/>
                  </a:lnTo>
                  <a:lnTo>
                    <a:pt x="73" y="11"/>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4" name="Freeform 258">
              <a:extLst>
                <a:ext uri="{FF2B5EF4-FFF2-40B4-BE49-F238E27FC236}">
                  <a16:creationId xmlns:a16="http://schemas.microsoft.com/office/drawing/2014/main" id="{DAB7E146-F742-49FA-B337-7EBF275A6E41}"/>
                </a:ext>
              </a:extLst>
            </p:cNvPr>
            <p:cNvSpPr>
              <a:spLocks/>
            </p:cNvSpPr>
            <p:nvPr/>
          </p:nvSpPr>
          <p:spPr bwMode="auto">
            <a:xfrm>
              <a:off x="6419101" y="3042725"/>
              <a:ext cx="255136" cy="301374"/>
            </a:xfrm>
            <a:custGeom>
              <a:avLst/>
              <a:gdLst/>
              <a:ahLst/>
              <a:cxnLst>
                <a:cxn ang="0">
                  <a:pos x="44" y="6"/>
                </a:cxn>
                <a:cxn ang="0">
                  <a:pos x="16" y="6"/>
                </a:cxn>
                <a:cxn ang="0">
                  <a:pos x="0" y="0"/>
                </a:cxn>
                <a:cxn ang="0">
                  <a:pos x="16" y="28"/>
                </a:cxn>
                <a:cxn ang="0">
                  <a:pos x="38" y="39"/>
                </a:cxn>
                <a:cxn ang="0">
                  <a:pos x="50" y="55"/>
                </a:cxn>
                <a:cxn ang="0">
                  <a:pos x="67" y="73"/>
                </a:cxn>
                <a:cxn ang="0">
                  <a:pos x="73" y="106"/>
                </a:cxn>
                <a:cxn ang="0">
                  <a:pos x="89" y="118"/>
                </a:cxn>
                <a:cxn ang="0">
                  <a:pos x="95" y="140"/>
                </a:cxn>
                <a:cxn ang="0">
                  <a:pos x="121" y="166"/>
                </a:cxn>
                <a:cxn ang="0">
                  <a:pos x="121" y="179"/>
                </a:cxn>
                <a:cxn ang="0">
                  <a:pos x="166" y="217"/>
                </a:cxn>
                <a:cxn ang="0">
                  <a:pos x="188" y="217"/>
                </a:cxn>
                <a:cxn ang="0">
                  <a:pos x="195" y="162"/>
                </a:cxn>
                <a:cxn ang="0">
                  <a:pos x="178" y="150"/>
                </a:cxn>
                <a:cxn ang="0">
                  <a:pos x="166" y="128"/>
                </a:cxn>
                <a:cxn ang="0">
                  <a:pos x="150" y="122"/>
                </a:cxn>
                <a:cxn ang="0">
                  <a:pos x="150" y="106"/>
                </a:cxn>
                <a:cxn ang="0">
                  <a:pos x="156" y="99"/>
                </a:cxn>
                <a:cxn ang="0">
                  <a:pos x="121" y="73"/>
                </a:cxn>
                <a:cxn ang="0">
                  <a:pos x="95" y="67"/>
                </a:cxn>
                <a:cxn ang="0">
                  <a:pos x="44" y="6"/>
                </a:cxn>
                <a:cxn ang="0">
                  <a:pos x="44" y="6"/>
                </a:cxn>
              </a:cxnLst>
              <a:rect l="0" t="0" r="r" b="b"/>
              <a:pathLst>
                <a:path w="195" h="217">
                  <a:moveTo>
                    <a:pt x="44" y="6"/>
                  </a:moveTo>
                  <a:lnTo>
                    <a:pt x="16" y="6"/>
                  </a:lnTo>
                  <a:lnTo>
                    <a:pt x="0" y="0"/>
                  </a:lnTo>
                  <a:lnTo>
                    <a:pt x="16" y="28"/>
                  </a:lnTo>
                  <a:lnTo>
                    <a:pt x="38" y="39"/>
                  </a:lnTo>
                  <a:lnTo>
                    <a:pt x="50" y="55"/>
                  </a:lnTo>
                  <a:lnTo>
                    <a:pt x="67" y="73"/>
                  </a:lnTo>
                  <a:lnTo>
                    <a:pt x="73" y="106"/>
                  </a:lnTo>
                  <a:lnTo>
                    <a:pt x="89" y="118"/>
                  </a:lnTo>
                  <a:lnTo>
                    <a:pt x="95" y="140"/>
                  </a:lnTo>
                  <a:lnTo>
                    <a:pt x="121" y="166"/>
                  </a:lnTo>
                  <a:lnTo>
                    <a:pt x="121" y="179"/>
                  </a:lnTo>
                  <a:lnTo>
                    <a:pt x="166" y="217"/>
                  </a:lnTo>
                  <a:lnTo>
                    <a:pt x="188" y="217"/>
                  </a:lnTo>
                  <a:lnTo>
                    <a:pt x="195" y="162"/>
                  </a:lnTo>
                  <a:lnTo>
                    <a:pt x="178" y="150"/>
                  </a:lnTo>
                  <a:lnTo>
                    <a:pt x="166" y="128"/>
                  </a:lnTo>
                  <a:lnTo>
                    <a:pt x="150" y="122"/>
                  </a:lnTo>
                  <a:lnTo>
                    <a:pt x="150" y="106"/>
                  </a:lnTo>
                  <a:lnTo>
                    <a:pt x="156" y="99"/>
                  </a:lnTo>
                  <a:lnTo>
                    <a:pt x="121" y="73"/>
                  </a:lnTo>
                  <a:lnTo>
                    <a:pt x="95" y="67"/>
                  </a:lnTo>
                  <a:lnTo>
                    <a:pt x="44" y="6"/>
                  </a:lnTo>
                  <a:lnTo>
                    <a:pt x="44"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5" name="Freeform 259">
              <a:extLst>
                <a:ext uri="{FF2B5EF4-FFF2-40B4-BE49-F238E27FC236}">
                  <a16:creationId xmlns:a16="http://schemas.microsoft.com/office/drawing/2014/main" id="{CD98FAA0-8C9D-4533-811C-6288ED6D7DB3}"/>
                </a:ext>
              </a:extLst>
            </p:cNvPr>
            <p:cNvSpPr>
              <a:spLocks/>
            </p:cNvSpPr>
            <p:nvPr/>
          </p:nvSpPr>
          <p:spPr bwMode="auto">
            <a:xfrm>
              <a:off x="6535548" y="3034392"/>
              <a:ext cx="95512" cy="115272"/>
            </a:xfrm>
            <a:custGeom>
              <a:avLst/>
              <a:gdLst/>
              <a:ahLst/>
              <a:cxnLst>
                <a:cxn ang="0">
                  <a:pos x="22" y="6"/>
                </a:cxn>
                <a:cxn ang="0">
                  <a:pos x="6" y="0"/>
                </a:cxn>
                <a:cxn ang="0">
                  <a:pos x="6" y="22"/>
                </a:cxn>
                <a:cxn ang="0">
                  <a:pos x="0" y="34"/>
                </a:cxn>
                <a:cxn ang="0">
                  <a:pos x="32" y="67"/>
                </a:cxn>
                <a:cxn ang="0">
                  <a:pos x="55" y="83"/>
                </a:cxn>
                <a:cxn ang="0">
                  <a:pos x="73" y="79"/>
                </a:cxn>
                <a:cxn ang="0">
                  <a:pos x="61" y="67"/>
                </a:cxn>
                <a:cxn ang="0">
                  <a:pos x="61" y="22"/>
                </a:cxn>
                <a:cxn ang="0">
                  <a:pos x="45" y="0"/>
                </a:cxn>
                <a:cxn ang="0">
                  <a:pos x="22" y="6"/>
                </a:cxn>
                <a:cxn ang="0">
                  <a:pos x="22" y="6"/>
                </a:cxn>
              </a:cxnLst>
              <a:rect l="0" t="0" r="r" b="b"/>
              <a:pathLst>
                <a:path w="73" h="83">
                  <a:moveTo>
                    <a:pt x="22" y="6"/>
                  </a:moveTo>
                  <a:lnTo>
                    <a:pt x="6" y="0"/>
                  </a:lnTo>
                  <a:lnTo>
                    <a:pt x="6" y="22"/>
                  </a:lnTo>
                  <a:lnTo>
                    <a:pt x="0" y="34"/>
                  </a:lnTo>
                  <a:lnTo>
                    <a:pt x="32" y="67"/>
                  </a:lnTo>
                  <a:lnTo>
                    <a:pt x="55" y="83"/>
                  </a:lnTo>
                  <a:lnTo>
                    <a:pt x="73" y="79"/>
                  </a:lnTo>
                  <a:lnTo>
                    <a:pt x="61" y="67"/>
                  </a:lnTo>
                  <a:lnTo>
                    <a:pt x="61" y="22"/>
                  </a:lnTo>
                  <a:lnTo>
                    <a:pt x="45" y="0"/>
                  </a:lnTo>
                  <a:lnTo>
                    <a:pt x="22" y="6"/>
                  </a:lnTo>
                  <a:lnTo>
                    <a:pt x="22"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6" name="Freeform 260">
              <a:extLst>
                <a:ext uri="{FF2B5EF4-FFF2-40B4-BE49-F238E27FC236}">
                  <a16:creationId xmlns:a16="http://schemas.microsoft.com/office/drawing/2014/main" id="{612BAF57-0DEC-4391-A93A-6BDEF85FB933}"/>
                </a:ext>
              </a:extLst>
            </p:cNvPr>
            <p:cNvSpPr>
              <a:spLocks/>
            </p:cNvSpPr>
            <p:nvPr/>
          </p:nvSpPr>
          <p:spPr bwMode="auto">
            <a:xfrm>
              <a:off x="7255162" y="3198273"/>
              <a:ext cx="234201" cy="238877"/>
            </a:xfrm>
            <a:custGeom>
              <a:avLst/>
              <a:gdLst/>
              <a:ahLst/>
              <a:cxnLst>
                <a:cxn ang="0">
                  <a:pos x="179" y="44"/>
                </a:cxn>
                <a:cxn ang="0">
                  <a:pos x="150" y="32"/>
                </a:cxn>
                <a:cxn ang="0">
                  <a:pos x="134" y="22"/>
                </a:cxn>
                <a:cxn ang="0">
                  <a:pos x="112" y="22"/>
                </a:cxn>
                <a:cxn ang="0">
                  <a:pos x="106" y="32"/>
                </a:cxn>
                <a:cxn ang="0">
                  <a:pos x="90" y="50"/>
                </a:cxn>
                <a:cxn ang="0">
                  <a:pos x="73" y="54"/>
                </a:cxn>
                <a:cxn ang="0">
                  <a:pos x="57" y="44"/>
                </a:cxn>
                <a:cxn ang="0">
                  <a:pos x="57" y="10"/>
                </a:cxn>
                <a:cxn ang="0">
                  <a:pos x="29" y="0"/>
                </a:cxn>
                <a:cxn ang="0">
                  <a:pos x="0" y="16"/>
                </a:cxn>
                <a:cxn ang="0">
                  <a:pos x="6" y="22"/>
                </a:cxn>
                <a:cxn ang="0">
                  <a:pos x="23" y="28"/>
                </a:cxn>
                <a:cxn ang="0">
                  <a:pos x="23" y="32"/>
                </a:cxn>
                <a:cxn ang="0">
                  <a:pos x="43" y="32"/>
                </a:cxn>
                <a:cxn ang="0">
                  <a:pos x="39" y="44"/>
                </a:cxn>
                <a:cxn ang="0">
                  <a:pos x="23" y="44"/>
                </a:cxn>
                <a:cxn ang="0">
                  <a:pos x="29" y="54"/>
                </a:cxn>
                <a:cxn ang="0">
                  <a:pos x="29" y="99"/>
                </a:cxn>
                <a:cxn ang="0">
                  <a:pos x="45" y="73"/>
                </a:cxn>
                <a:cxn ang="0">
                  <a:pos x="45" y="61"/>
                </a:cxn>
                <a:cxn ang="0">
                  <a:pos x="57" y="54"/>
                </a:cxn>
                <a:cxn ang="0">
                  <a:pos x="57" y="67"/>
                </a:cxn>
                <a:cxn ang="0">
                  <a:pos x="67" y="67"/>
                </a:cxn>
                <a:cxn ang="0">
                  <a:pos x="67" y="83"/>
                </a:cxn>
                <a:cxn ang="0">
                  <a:pos x="96" y="83"/>
                </a:cxn>
                <a:cxn ang="0">
                  <a:pos x="122" y="95"/>
                </a:cxn>
                <a:cxn ang="0">
                  <a:pos x="128" y="134"/>
                </a:cxn>
                <a:cxn ang="0">
                  <a:pos x="140" y="150"/>
                </a:cxn>
                <a:cxn ang="0">
                  <a:pos x="150" y="150"/>
                </a:cxn>
                <a:cxn ang="0">
                  <a:pos x="179" y="172"/>
                </a:cxn>
                <a:cxn ang="0">
                  <a:pos x="179" y="128"/>
                </a:cxn>
                <a:cxn ang="0">
                  <a:pos x="173" y="117"/>
                </a:cxn>
                <a:cxn ang="0">
                  <a:pos x="179" y="105"/>
                </a:cxn>
                <a:cxn ang="0">
                  <a:pos x="179" y="44"/>
                </a:cxn>
                <a:cxn ang="0">
                  <a:pos x="179" y="44"/>
                </a:cxn>
              </a:cxnLst>
              <a:rect l="0" t="0" r="r" b="b"/>
              <a:pathLst>
                <a:path w="179" h="172">
                  <a:moveTo>
                    <a:pt x="179" y="44"/>
                  </a:moveTo>
                  <a:lnTo>
                    <a:pt x="150" y="32"/>
                  </a:lnTo>
                  <a:lnTo>
                    <a:pt x="134" y="22"/>
                  </a:lnTo>
                  <a:lnTo>
                    <a:pt x="112" y="22"/>
                  </a:lnTo>
                  <a:lnTo>
                    <a:pt x="106" y="32"/>
                  </a:lnTo>
                  <a:lnTo>
                    <a:pt x="90" y="50"/>
                  </a:lnTo>
                  <a:lnTo>
                    <a:pt x="73" y="54"/>
                  </a:lnTo>
                  <a:lnTo>
                    <a:pt x="57" y="44"/>
                  </a:lnTo>
                  <a:lnTo>
                    <a:pt x="57" y="10"/>
                  </a:lnTo>
                  <a:lnTo>
                    <a:pt x="29" y="0"/>
                  </a:lnTo>
                  <a:lnTo>
                    <a:pt x="0" y="16"/>
                  </a:lnTo>
                  <a:lnTo>
                    <a:pt x="6" y="22"/>
                  </a:lnTo>
                  <a:lnTo>
                    <a:pt x="23" y="28"/>
                  </a:lnTo>
                  <a:lnTo>
                    <a:pt x="23" y="32"/>
                  </a:lnTo>
                  <a:lnTo>
                    <a:pt x="43" y="32"/>
                  </a:lnTo>
                  <a:lnTo>
                    <a:pt x="39" y="44"/>
                  </a:lnTo>
                  <a:lnTo>
                    <a:pt x="23" y="44"/>
                  </a:lnTo>
                  <a:lnTo>
                    <a:pt x="29" y="54"/>
                  </a:lnTo>
                  <a:lnTo>
                    <a:pt x="29" y="99"/>
                  </a:lnTo>
                  <a:lnTo>
                    <a:pt x="45" y="73"/>
                  </a:lnTo>
                  <a:lnTo>
                    <a:pt x="45" y="61"/>
                  </a:lnTo>
                  <a:lnTo>
                    <a:pt x="57" y="54"/>
                  </a:lnTo>
                  <a:lnTo>
                    <a:pt x="57" y="67"/>
                  </a:lnTo>
                  <a:lnTo>
                    <a:pt x="67" y="67"/>
                  </a:lnTo>
                  <a:lnTo>
                    <a:pt x="67" y="83"/>
                  </a:lnTo>
                  <a:lnTo>
                    <a:pt x="96" y="83"/>
                  </a:lnTo>
                  <a:lnTo>
                    <a:pt x="122" y="95"/>
                  </a:lnTo>
                  <a:lnTo>
                    <a:pt x="128" y="134"/>
                  </a:lnTo>
                  <a:lnTo>
                    <a:pt x="140" y="150"/>
                  </a:lnTo>
                  <a:lnTo>
                    <a:pt x="150" y="150"/>
                  </a:lnTo>
                  <a:lnTo>
                    <a:pt x="179" y="172"/>
                  </a:lnTo>
                  <a:lnTo>
                    <a:pt x="179" y="128"/>
                  </a:lnTo>
                  <a:lnTo>
                    <a:pt x="173" y="117"/>
                  </a:lnTo>
                  <a:lnTo>
                    <a:pt x="179" y="105"/>
                  </a:lnTo>
                  <a:lnTo>
                    <a:pt x="179" y="44"/>
                  </a:lnTo>
                  <a:lnTo>
                    <a:pt x="179" y="4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7" name="Freeform 261">
              <a:extLst>
                <a:ext uri="{FF2B5EF4-FFF2-40B4-BE49-F238E27FC236}">
                  <a16:creationId xmlns:a16="http://schemas.microsoft.com/office/drawing/2014/main" id="{4B9CC462-36F8-4EDE-9259-27D0CCC4303E}"/>
                </a:ext>
              </a:extLst>
            </p:cNvPr>
            <p:cNvSpPr>
              <a:spLocks/>
            </p:cNvSpPr>
            <p:nvPr/>
          </p:nvSpPr>
          <p:spPr bwMode="auto">
            <a:xfrm>
              <a:off x="7401703" y="3384376"/>
              <a:ext cx="36635" cy="38887"/>
            </a:xfrm>
            <a:custGeom>
              <a:avLst/>
              <a:gdLst/>
              <a:ahLst/>
              <a:cxnLst>
                <a:cxn ang="0">
                  <a:pos x="16" y="0"/>
                </a:cxn>
                <a:cxn ang="0">
                  <a:pos x="0" y="6"/>
                </a:cxn>
                <a:cxn ang="0">
                  <a:pos x="0" y="28"/>
                </a:cxn>
                <a:cxn ang="0">
                  <a:pos x="16" y="28"/>
                </a:cxn>
                <a:cxn ang="0">
                  <a:pos x="28" y="16"/>
                </a:cxn>
                <a:cxn ang="0">
                  <a:pos x="16" y="0"/>
                </a:cxn>
                <a:cxn ang="0">
                  <a:pos x="16" y="0"/>
                </a:cxn>
              </a:cxnLst>
              <a:rect l="0" t="0" r="r" b="b"/>
              <a:pathLst>
                <a:path w="28" h="28">
                  <a:moveTo>
                    <a:pt x="16" y="0"/>
                  </a:moveTo>
                  <a:lnTo>
                    <a:pt x="0" y="6"/>
                  </a:lnTo>
                  <a:lnTo>
                    <a:pt x="0" y="28"/>
                  </a:lnTo>
                  <a:lnTo>
                    <a:pt x="16" y="28"/>
                  </a:lnTo>
                  <a:lnTo>
                    <a:pt x="28" y="16"/>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8" name="Freeform 262">
              <a:extLst>
                <a:ext uri="{FF2B5EF4-FFF2-40B4-BE49-F238E27FC236}">
                  <a16:creationId xmlns:a16="http://schemas.microsoft.com/office/drawing/2014/main" id="{38573018-45C3-4C90-A9CF-2612AFB1A99B}"/>
                </a:ext>
              </a:extLst>
            </p:cNvPr>
            <p:cNvSpPr>
              <a:spLocks/>
            </p:cNvSpPr>
            <p:nvPr/>
          </p:nvSpPr>
          <p:spPr bwMode="auto">
            <a:xfrm>
              <a:off x="7226378" y="3228828"/>
              <a:ext cx="20934" cy="22221"/>
            </a:xfrm>
            <a:custGeom>
              <a:avLst/>
              <a:gdLst/>
              <a:ahLst/>
              <a:cxnLst>
                <a:cxn ang="0">
                  <a:pos x="16" y="16"/>
                </a:cxn>
                <a:cxn ang="0">
                  <a:pos x="16" y="0"/>
                </a:cxn>
                <a:cxn ang="0">
                  <a:pos x="0" y="6"/>
                </a:cxn>
                <a:cxn ang="0">
                  <a:pos x="16" y="16"/>
                </a:cxn>
                <a:cxn ang="0">
                  <a:pos x="16" y="16"/>
                </a:cxn>
              </a:cxnLst>
              <a:rect l="0" t="0" r="r" b="b"/>
              <a:pathLst>
                <a:path w="16" h="16">
                  <a:moveTo>
                    <a:pt x="16" y="16"/>
                  </a:moveTo>
                  <a:lnTo>
                    <a:pt x="16" y="0"/>
                  </a:lnTo>
                  <a:lnTo>
                    <a:pt x="0" y="6"/>
                  </a:lnTo>
                  <a:lnTo>
                    <a:pt x="16" y="16"/>
                  </a:lnTo>
                  <a:lnTo>
                    <a:pt x="16"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9" name="Freeform 263">
              <a:extLst>
                <a:ext uri="{FF2B5EF4-FFF2-40B4-BE49-F238E27FC236}">
                  <a16:creationId xmlns:a16="http://schemas.microsoft.com/office/drawing/2014/main" id="{D1077E6E-1452-4B04-9B81-3BD18B2C2D39}"/>
                </a:ext>
              </a:extLst>
            </p:cNvPr>
            <p:cNvSpPr>
              <a:spLocks/>
            </p:cNvSpPr>
            <p:nvPr/>
          </p:nvSpPr>
          <p:spPr bwMode="auto">
            <a:xfrm>
              <a:off x="7183201" y="3259383"/>
              <a:ext cx="71961" cy="31943"/>
            </a:xfrm>
            <a:custGeom>
              <a:avLst/>
              <a:gdLst/>
              <a:ahLst/>
              <a:cxnLst>
                <a:cxn ang="0">
                  <a:pos x="45" y="23"/>
                </a:cxn>
                <a:cxn ang="0">
                  <a:pos x="55" y="17"/>
                </a:cxn>
                <a:cxn ang="0">
                  <a:pos x="39" y="0"/>
                </a:cxn>
                <a:cxn ang="0">
                  <a:pos x="23" y="6"/>
                </a:cxn>
                <a:cxn ang="0">
                  <a:pos x="0" y="0"/>
                </a:cxn>
                <a:cxn ang="0">
                  <a:pos x="0" y="17"/>
                </a:cxn>
                <a:cxn ang="0">
                  <a:pos x="23" y="10"/>
                </a:cxn>
                <a:cxn ang="0">
                  <a:pos x="45" y="23"/>
                </a:cxn>
                <a:cxn ang="0">
                  <a:pos x="45" y="23"/>
                </a:cxn>
              </a:cxnLst>
              <a:rect l="0" t="0" r="r" b="b"/>
              <a:pathLst>
                <a:path w="55" h="23">
                  <a:moveTo>
                    <a:pt x="45" y="23"/>
                  </a:moveTo>
                  <a:lnTo>
                    <a:pt x="55" y="17"/>
                  </a:lnTo>
                  <a:lnTo>
                    <a:pt x="39" y="0"/>
                  </a:lnTo>
                  <a:lnTo>
                    <a:pt x="23" y="6"/>
                  </a:lnTo>
                  <a:lnTo>
                    <a:pt x="0" y="0"/>
                  </a:lnTo>
                  <a:lnTo>
                    <a:pt x="0" y="17"/>
                  </a:lnTo>
                  <a:lnTo>
                    <a:pt x="23" y="10"/>
                  </a:lnTo>
                  <a:lnTo>
                    <a:pt x="45" y="23"/>
                  </a:lnTo>
                  <a:lnTo>
                    <a:pt x="45" y="2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0" name="Freeform 264">
              <a:extLst>
                <a:ext uri="{FF2B5EF4-FFF2-40B4-BE49-F238E27FC236}">
                  <a16:creationId xmlns:a16="http://schemas.microsoft.com/office/drawing/2014/main" id="{34628D7E-0233-4F22-8EF6-3C78064A3D95}"/>
                </a:ext>
              </a:extLst>
            </p:cNvPr>
            <p:cNvSpPr>
              <a:spLocks/>
            </p:cNvSpPr>
            <p:nvPr/>
          </p:nvSpPr>
          <p:spPr bwMode="auto">
            <a:xfrm>
              <a:off x="7355909" y="3228828"/>
              <a:ext cx="30093" cy="13888"/>
            </a:xfrm>
            <a:custGeom>
              <a:avLst/>
              <a:gdLst/>
              <a:ahLst/>
              <a:cxnLst>
                <a:cxn ang="0">
                  <a:pos x="0" y="10"/>
                </a:cxn>
                <a:cxn ang="0">
                  <a:pos x="23" y="6"/>
                </a:cxn>
                <a:cxn ang="0">
                  <a:pos x="6" y="0"/>
                </a:cxn>
                <a:cxn ang="0">
                  <a:pos x="0" y="10"/>
                </a:cxn>
                <a:cxn ang="0">
                  <a:pos x="0" y="10"/>
                </a:cxn>
              </a:cxnLst>
              <a:rect l="0" t="0" r="r" b="b"/>
              <a:pathLst>
                <a:path w="23" h="10">
                  <a:moveTo>
                    <a:pt x="0" y="10"/>
                  </a:moveTo>
                  <a:lnTo>
                    <a:pt x="23" y="6"/>
                  </a:lnTo>
                  <a:lnTo>
                    <a:pt x="6" y="0"/>
                  </a:lnTo>
                  <a:lnTo>
                    <a:pt x="0" y="10"/>
                  </a:lnTo>
                  <a:lnTo>
                    <a:pt x="0"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1" name="Freeform 265">
              <a:extLst>
                <a:ext uri="{FF2B5EF4-FFF2-40B4-BE49-F238E27FC236}">
                  <a16:creationId xmlns:a16="http://schemas.microsoft.com/office/drawing/2014/main" id="{B6C79CE3-50A1-48E5-BDAD-58E54BBEE651}"/>
                </a:ext>
              </a:extLst>
            </p:cNvPr>
            <p:cNvSpPr>
              <a:spLocks/>
            </p:cNvSpPr>
            <p:nvPr/>
          </p:nvSpPr>
          <p:spPr bwMode="auto">
            <a:xfrm>
              <a:off x="7350676" y="3198273"/>
              <a:ext cx="30093" cy="13888"/>
            </a:xfrm>
            <a:custGeom>
              <a:avLst/>
              <a:gdLst/>
              <a:ahLst/>
              <a:cxnLst>
                <a:cxn ang="0">
                  <a:pos x="4" y="0"/>
                </a:cxn>
                <a:cxn ang="0">
                  <a:pos x="0" y="10"/>
                </a:cxn>
                <a:cxn ang="0">
                  <a:pos x="23" y="10"/>
                </a:cxn>
                <a:cxn ang="0">
                  <a:pos x="4" y="0"/>
                </a:cxn>
                <a:cxn ang="0">
                  <a:pos x="4" y="0"/>
                </a:cxn>
              </a:cxnLst>
              <a:rect l="0" t="0" r="r" b="b"/>
              <a:pathLst>
                <a:path w="23" h="10">
                  <a:moveTo>
                    <a:pt x="4" y="0"/>
                  </a:moveTo>
                  <a:lnTo>
                    <a:pt x="0" y="10"/>
                  </a:lnTo>
                  <a:lnTo>
                    <a:pt x="23" y="10"/>
                  </a:lnTo>
                  <a:lnTo>
                    <a:pt x="4" y="0"/>
                  </a:lnTo>
                  <a:lnTo>
                    <a:pt x="4"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2" name="Freeform 266">
              <a:extLst>
                <a:ext uri="{FF2B5EF4-FFF2-40B4-BE49-F238E27FC236}">
                  <a16:creationId xmlns:a16="http://schemas.microsoft.com/office/drawing/2014/main" id="{DC2D55F7-97EB-41FA-9257-23CD6B7F9F8B}"/>
                </a:ext>
              </a:extLst>
            </p:cNvPr>
            <p:cNvSpPr>
              <a:spLocks/>
            </p:cNvSpPr>
            <p:nvPr/>
          </p:nvSpPr>
          <p:spPr bwMode="auto">
            <a:xfrm>
              <a:off x="7167500" y="3113555"/>
              <a:ext cx="45793" cy="106939"/>
            </a:xfrm>
            <a:custGeom>
              <a:avLst/>
              <a:gdLst/>
              <a:ahLst/>
              <a:cxnLst>
                <a:cxn ang="0">
                  <a:pos x="35" y="55"/>
                </a:cxn>
                <a:cxn ang="0">
                  <a:pos x="29" y="22"/>
                </a:cxn>
                <a:cxn ang="0">
                  <a:pos x="23" y="0"/>
                </a:cxn>
                <a:cxn ang="0">
                  <a:pos x="16" y="16"/>
                </a:cxn>
                <a:cxn ang="0">
                  <a:pos x="16" y="32"/>
                </a:cxn>
                <a:cxn ang="0">
                  <a:pos x="0" y="22"/>
                </a:cxn>
                <a:cxn ang="0">
                  <a:pos x="0" y="67"/>
                </a:cxn>
                <a:cxn ang="0">
                  <a:pos x="16" y="77"/>
                </a:cxn>
                <a:cxn ang="0">
                  <a:pos x="23" y="48"/>
                </a:cxn>
                <a:cxn ang="0">
                  <a:pos x="35" y="55"/>
                </a:cxn>
                <a:cxn ang="0">
                  <a:pos x="35" y="55"/>
                </a:cxn>
              </a:cxnLst>
              <a:rect l="0" t="0" r="r" b="b"/>
              <a:pathLst>
                <a:path w="35" h="77">
                  <a:moveTo>
                    <a:pt x="35" y="55"/>
                  </a:moveTo>
                  <a:lnTo>
                    <a:pt x="29" y="22"/>
                  </a:lnTo>
                  <a:lnTo>
                    <a:pt x="23" y="0"/>
                  </a:lnTo>
                  <a:lnTo>
                    <a:pt x="16" y="16"/>
                  </a:lnTo>
                  <a:lnTo>
                    <a:pt x="16" y="32"/>
                  </a:lnTo>
                  <a:lnTo>
                    <a:pt x="0" y="22"/>
                  </a:lnTo>
                  <a:lnTo>
                    <a:pt x="0" y="67"/>
                  </a:lnTo>
                  <a:lnTo>
                    <a:pt x="16" y="77"/>
                  </a:lnTo>
                  <a:lnTo>
                    <a:pt x="23" y="48"/>
                  </a:lnTo>
                  <a:lnTo>
                    <a:pt x="35" y="55"/>
                  </a:lnTo>
                  <a:lnTo>
                    <a:pt x="35" y="5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3" name="Freeform 267">
              <a:extLst>
                <a:ext uri="{FF2B5EF4-FFF2-40B4-BE49-F238E27FC236}">
                  <a16:creationId xmlns:a16="http://schemas.microsoft.com/office/drawing/2014/main" id="{67003154-12F4-471A-B169-D834CF6C2EF8}"/>
                </a:ext>
              </a:extLst>
            </p:cNvPr>
            <p:cNvSpPr>
              <a:spLocks/>
            </p:cNvSpPr>
            <p:nvPr/>
          </p:nvSpPr>
          <p:spPr bwMode="auto">
            <a:xfrm>
              <a:off x="6966008" y="3144109"/>
              <a:ext cx="159625" cy="199990"/>
            </a:xfrm>
            <a:custGeom>
              <a:avLst/>
              <a:gdLst/>
              <a:ahLst/>
              <a:cxnLst>
                <a:cxn ang="0">
                  <a:pos x="43" y="22"/>
                </a:cxn>
                <a:cxn ang="0">
                  <a:pos x="77" y="26"/>
                </a:cxn>
                <a:cxn ang="0">
                  <a:pos x="83" y="33"/>
                </a:cxn>
                <a:cxn ang="0">
                  <a:pos x="99" y="33"/>
                </a:cxn>
                <a:cxn ang="0">
                  <a:pos x="122" y="10"/>
                </a:cxn>
                <a:cxn ang="0">
                  <a:pos x="116" y="0"/>
                </a:cxn>
                <a:cxn ang="0">
                  <a:pos x="99" y="16"/>
                </a:cxn>
                <a:cxn ang="0">
                  <a:pos x="83" y="16"/>
                </a:cxn>
                <a:cxn ang="0">
                  <a:pos x="55" y="10"/>
                </a:cxn>
                <a:cxn ang="0">
                  <a:pos x="38" y="10"/>
                </a:cxn>
                <a:cxn ang="0">
                  <a:pos x="22" y="26"/>
                </a:cxn>
                <a:cxn ang="0">
                  <a:pos x="16" y="49"/>
                </a:cxn>
                <a:cxn ang="0">
                  <a:pos x="10" y="61"/>
                </a:cxn>
                <a:cxn ang="0">
                  <a:pos x="10" y="77"/>
                </a:cxn>
                <a:cxn ang="0">
                  <a:pos x="0" y="93"/>
                </a:cxn>
                <a:cxn ang="0">
                  <a:pos x="16" y="106"/>
                </a:cxn>
                <a:cxn ang="0">
                  <a:pos x="16" y="144"/>
                </a:cxn>
                <a:cxn ang="0">
                  <a:pos x="38" y="122"/>
                </a:cxn>
                <a:cxn ang="0">
                  <a:pos x="26" y="83"/>
                </a:cxn>
                <a:cxn ang="0">
                  <a:pos x="43" y="83"/>
                </a:cxn>
                <a:cxn ang="0">
                  <a:pos x="61" y="134"/>
                </a:cxn>
                <a:cxn ang="0">
                  <a:pos x="83" y="138"/>
                </a:cxn>
                <a:cxn ang="0">
                  <a:pos x="77" y="116"/>
                </a:cxn>
                <a:cxn ang="0">
                  <a:pos x="65" y="112"/>
                </a:cxn>
                <a:cxn ang="0">
                  <a:pos x="71" y="93"/>
                </a:cxn>
                <a:cxn ang="0">
                  <a:pos x="55" y="71"/>
                </a:cxn>
                <a:cxn ang="0">
                  <a:pos x="65" y="61"/>
                </a:cxn>
                <a:cxn ang="0">
                  <a:pos x="87" y="67"/>
                </a:cxn>
                <a:cxn ang="0">
                  <a:pos x="77" y="45"/>
                </a:cxn>
                <a:cxn ang="0">
                  <a:pos x="49" y="49"/>
                </a:cxn>
                <a:cxn ang="0">
                  <a:pos x="43" y="61"/>
                </a:cxn>
                <a:cxn ang="0">
                  <a:pos x="26" y="45"/>
                </a:cxn>
                <a:cxn ang="0">
                  <a:pos x="43" y="22"/>
                </a:cxn>
                <a:cxn ang="0">
                  <a:pos x="43" y="22"/>
                </a:cxn>
              </a:cxnLst>
              <a:rect l="0" t="0" r="r" b="b"/>
              <a:pathLst>
                <a:path w="122" h="144">
                  <a:moveTo>
                    <a:pt x="43" y="22"/>
                  </a:moveTo>
                  <a:lnTo>
                    <a:pt x="77" y="26"/>
                  </a:lnTo>
                  <a:lnTo>
                    <a:pt x="83" y="33"/>
                  </a:lnTo>
                  <a:lnTo>
                    <a:pt x="99" y="33"/>
                  </a:lnTo>
                  <a:lnTo>
                    <a:pt x="122" y="10"/>
                  </a:lnTo>
                  <a:lnTo>
                    <a:pt x="116" y="0"/>
                  </a:lnTo>
                  <a:lnTo>
                    <a:pt x="99" y="16"/>
                  </a:lnTo>
                  <a:lnTo>
                    <a:pt x="83" y="16"/>
                  </a:lnTo>
                  <a:lnTo>
                    <a:pt x="55" y="10"/>
                  </a:lnTo>
                  <a:lnTo>
                    <a:pt x="38" y="10"/>
                  </a:lnTo>
                  <a:lnTo>
                    <a:pt x="22" y="26"/>
                  </a:lnTo>
                  <a:lnTo>
                    <a:pt x="16" y="49"/>
                  </a:lnTo>
                  <a:lnTo>
                    <a:pt x="10" y="61"/>
                  </a:lnTo>
                  <a:lnTo>
                    <a:pt x="10" y="77"/>
                  </a:lnTo>
                  <a:lnTo>
                    <a:pt x="0" y="93"/>
                  </a:lnTo>
                  <a:lnTo>
                    <a:pt x="16" y="106"/>
                  </a:lnTo>
                  <a:lnTo>
                    <a:pt x="16" y="144"/>
                  </a:lnTo>
                  <a:lnTo>
                    <a:pt x="38" y="122"/>
                  </a:lnTo>
                  <a:lnTo>
                    <a:pt x="26" y="83"/>
                  </a:lnTo>
                  <a:lnTo>
                    <a:pt x="43" y="83"/>
                  </a:lnTo>
                  <a:lnTo>
                    <a:pt x="61" y="134"/>
                  </a:lnTo>
                  <a:lnTo>
                    <a:pt x="83" y="138"/>
                  </a:lnTo>
                  <a:lnTo>
                    <a:pt x="77" y="116"/>
                  </a:lnTo>
                  <a:lnTo>
                    <a:pt x="65" y="112"/>
                  </a:lnTo>
                  <a:lnTo>
                    <a:pt x="71" y="93"/>
                  </a:lnTo>
                  <a:lnTo>
                    <a:pt x="55" y="71"/>
                  </a:lnTo>
                  <a:lnTo>
                    <a:pt x="65" y="61"/>
                  </a:lnTo>
                  <a:lnTo>
                    <a:pt x="87" y="67"/>
                  </a:lnTo>
                  <a:lnTo>
                    <a:pt x="77" y="45"/>
                  </a:lnTo>
                  <a:lnTo>
                    <a:pt x="49" y="49"/>
                  </a:lnTo>
                  <a:lnTo>
                    <a:pt x="43" y="61"/>
                  </a:lnTo>
                  <a:lnTo>
                    <a:pt x="26" y="45"/>
                  </a:lnTo>
                  <a:lnTo>
                    <a:pt x="43" y="22"/>
                  </a:lnTo>
                  <a:lnTo>
                    <a:pt x="43"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4" name="Freeform 268">
              <a:extLst>
                <a:ext uri="{FF2B5EF4-FFF2-40B4-BE49-F238E27FC236}">
                  <a16:creationId xmlns:a16="http://schemas.microsoft.com/office/drawing/2014/main" id="{42646F42-8D6B-4BCE-A781-35B57F65FA45}"/>
                </a:ext>
              </a:extLst>
            </p:cNvPr>
            <p:cNvSpPr>
              <a:spLocks/>
            </p:cNvSpPr>
            <p:nvPr/>
          </p:nvSpPr>
          <p:spPr bwMode="auto">
            <a:xfrm>
              <a:off x="7103389" y="3228828"/>
              <a:ext cx="51028" cy="22221"/>
            </a:xfrm>
            <a:custGeom>
              <a:avLst/>
              <a:gdLst/>
              <a:ahLst/>
              <a:cxnLst>
                <a:cxn ang="0">
                  <a:pos x="0" y="16"/>
                </a:cxn>
                <a:cxn ang="0">
                  <a:pos x="17" y="10"/>
                </a:cxn>
                <a:cxn ang="0">
                  <a:pos x="39" y="16"/>
                </a:cxn>
                <a:cxn ang="0">
                  <a:pos x="33" y="0"/>
                </a:cxn>
                <a:cxn ang="0">
                  <a:pos x="0" y="0"/>
                </a:cxn>
                <a:cxn ang="0">
                  <a:pos x="0" y="16"/>
                </a:cxn>
                <a:cxn ang="0">
                  <a:pos x="0" y="16"/>
                </a:cxn>
              </a:cxnLst>
              <a:rect l="0" t="0" r="r" b="b"/>
              <a:pathLst>
                <a:path w="39" h="16">
                  <a:moveTo>
                    <a:pt x="0" y="16"/>
                  </a:moveTo>
                  <a:lnTo>
                    <a:pt x="17" y="10"/>
                  </a:lnTo>
                  <a:lnTo>
                    <a:pt x="39" y="16"/>
                  </a:lnTo>
                  <a:lnTo>
                    <a:pt x="33" y="0"/>
                  </a:lnTo>
                  <a:lnTo>
                    <a:pt x="0" y="0"/>
                  </a:lnTo>
                  <a:lnTo>
                    <a:pt x="0" y="16"/>
                  </a:lnTo>
                  <a:lnTo>
                    <a:pt x="0"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5" name="Freeform 269">
              <a:extLst>
                <a:ext uri="{FF2B5EF4-FFF2-40B4-BE49-F238E27FC236}">
                  <a16:creationId xmlns:a16="http://schemas.microsoft.com/office/drawing/2014/main" id="{9B8EF406-FADF-4C92-ADC6-17CE9651B360}"/>
                </a:ext>
              </a:extLst>
            </p:cNvPr>
            <p:cNvSpPr>
              <a:spLocks/>
            </p:cNvSpPr>
            <p:nvPr/>
          </p:nvSpPr>
          <p:spPr bwMode="auto">
            <a:xfrm>
              <a:off x="7146566" y="3267715"/>
              <a:ext cx="20934" cy="23610"/>
            </a:xfrm>
            <a:custGeom>
              <a:avLst/>
              <a:gdLst/>
              <a:ahLst/>
              <a:cxnLst>
                <a:cxn ang="0">
                  <a:pos x="0" y="0"/>
                </a:cxn>
                <a:cxn ang="0">
                  <a:pos x="0" y="17"/>
                </a:cxn>
                <a:cxn ang="0">
                  <a:pos x="16" y="4"/>
                </a:cxn>
                <a:cxn ang="0">
                  <a:pos x="0" y="0"/>
                </a:cxn>
                <a:cxn ang="0">
                  <a:pos x="0" y="0"/>
                </a:cxn>
              </a:cxnLst>
              <a:rect l="0" t="0" r="r" b="b"/>
              <a:pathLst>
                <a:path w="16" h="17">
                  <a:moveTo>
                    <a:pt x="0" y="0"/>
                  </a:moveTo>
                  <a:lnTo>
                    <a:pt x="0" y="17"/>
                  </a:lnTo>
                  <a:lnTo>
                    <a:pt x="16" y="4"/>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6" name="Freeform 270">
              <a:extLst>
                <a:ext uri="{FF2B5EF4-FFF2-40B4-BE49-F238E27FC236}">
                  <a16:creationId xmlns:a16="http://schemas.microsoft.com/office/drawing/2014/main" id="{EDCECE3F-B454-4AEB-B5FA-47987D38E712}"/>
                </a:ext>
              </a:extLst>
            </p:cNvPr>
            <p:cNvSpPr>
              <a:spLocks/>
            </p:cNvSpPr>
            <p:nvPr/>
          </p:nvSpPr>
          <p:spPr bwMode="auto">
            <a:xfrm>
              <a:off x="7125632" y="3384376"/>
              <a:ext cx="34019" cy="22221"/>
            </a:xfrm>
            <a:custGeom>
              <a:avLst/>
              <a:gdLst/>
              <a:ahLst/>
              <a:cxnLst>
                <a:cxn ang="0">
                  <a:pos x="6" y="16"/>
                </a:cxn>
                <a:cxn ang="0">
                  <a:pos x="26" y="10"/>
                </a:cxn>
                <a:cxn ang="0">
                  <a:pos x="0" y="0"/>
                </a:cxn>
                <a:cxn ang="0">
                  <a:pos x="6" y="16"/>
                </a:cxn>
                <a:cxn ang="0">
                  <a:pos x="6" y="16"/>
                </a:cxn>
              </a:cxnLst>
              <a:rect l="0" t="0" r="r" b="b"/>
              <a:pathLst>
                <a:path w="26" h="16">
                  <a:moveTo>
                    <a:pt x="6" y="16"/>
                  </a:moveTo>
                  <a:lnTo>
                    <a:pt x="26" y="10"/>
                  </a:lnTo>
                  <a:lnTo>
                    <a:pt x="0" y="0"/>
                  </a:lnTo>
                  <a:lnTo>
                    <a:pt x="6" y="16"/>
                  </a:lnTo>
                  <a:lnTo>
                    <a:pt x="6"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7" name="Freeform 271">
              <a:extLst>
                <a:ext uri="{FF2B5EF4-FFF2-40B4-BE49-F238E27FC236}">
                  <a16:creationId xmlns:a16="http://schemas.microsoft.com/office/drawing/2014/main" id="{8CCA60E5-5117-4BEB-908B-60850CA91165}"/>
                </a:ext>
              </a:extLst>
            </p:cNvPr>
            <p:cNvSpPr>
              <a:spLocks/>
            </p:cNvSpPr>
            <p:nvPr/>
          </p:nvSpPr>
          <p:spPr bwMode="auto">
            <a:xfrm>
              <a:off x="7066754" y="3423264"/>
              <a:ext cx="87662" cy="45831"/>
            </a:xfrm>
            <a:custGeom>
              <a:avLst/>
              <a:gdLst/>
              <a:ahLst/>
              <a:cxnLst>
                <a:cxn ang="0">
                  <a:pos x="67" y="0"/>
                </a:cxn>
                <a:cxn ang="0">
                  <a:pos x="51" y="0"/>
                </a:cxn>
                <a:cxn ang="0">
                  <a:pos x="22" y="10"/>
                </a:cxn>
                <a:cxn ang="0">
                  <a:pos x="0" y="26"/>
                </a:cxn>
                <a:cxn ang="0">
                  <a:pos x="10" y="33"/>
                </a:cxn>
                <a:cxn ang="0">
                  <a:pos x="45" y="16"/>
                </a:cxn>
                <a:cxn ang="0">
                  <a:pos x="67" y="0"/>
                </a:cxn>
                <a:cxn ang="0">
                  <a:pos x="67" y="0"/>
                </a:cxn>
              </a:cxnLst>
              <a:rect l="0" t="0" r="r" b="b"/>
              <a:pathLst>
                <a:path w="67" h="33">
                  <a:moveTo>
                    <a:pt x="67" y="0"/>
                  </a:moveTo>
                  <a:lnTo>
                    <a:pt x="51" y="0"/>
                  </a:lnTo>
                  <a:lnTo>
                    <a:pt x="22" y="10"/>
                  </a:lnTo>
                  <a:lnTo>
                    <a:pt x="0" y="26"/>
                  </a:lnTo>
                  <a:lnTo>
                    <a:pt x="10" y="33"/>
                  </a:lnTo>
                  <a:lnTo>
                    <a:pt x="45" y="16"/>
                  </a:lnTo>
                  <a:lnTo>
                    <a:pt x="67" y="0"/>
                  </a:lnTo>
                  <a:lnTo>
                    <a:pt x="67"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8" name="Freeform 272">
              <a:extLst>
                <a:ext uri="{FF2B5EF4-FFF2-40B4-BE49-F238E27FC236}">
                  <a16:creationId xmlns:a16="http://schemas.microsoft.com/office/drawing/2014/main" id="{566CAE76-D5D1-4D73-A1ED-C0BD15074F5F}"/>
                </a:ext>
              </a:extLst>
            </p:cNvPr>
            <p:cNvSpPr>
              <a:spLocks/>
            </p:cNvSpPr>
            <p:nvPr/>
          </p:nvSpPr>
          <p:spPr bwMode="auto">
            <a:xfrm>
              <a:off x="6986943" y="3406596"/>
              <a:ext cx="35327" cy="30555"/>
            </a:xfrm>
            <a:custGeom>
              <a:avLst/>
              <a:gdLst/>
              <a:ahLst/>
              <a:cxnLst>
                <a:cxn ang="0">
                  <a:pos x="27" y="22"/>
                </a:cxn>
                <a:cxn ang="0">
                  <a:pos x="27" y="12"/>
                </a:cxn>
                <a:cxn ang="0">
                  <a:pos x="16" y="0"/>
                </a:cxn>
                <a:cxn ang="0">
                  <a:pos x="0" y="12"/>
                </a:cxn>
                <a:cxn ang="0">
                  <a:pos x="16" y="22"/>
                </a:cxn>
                <a:cxn ang="0">
                  <a:pos x="27" y="22"/>
                </a:cxn>
                <a:cxn ang="0">
                  <a:pos x="27" y="22"/>
                </a:cxn>
              </a:cxnLst>
              <a:rect l="0" t="0" r="r" b="b"/>
              <a:pathLst>
                <a:path w="27" h="22">
                  <a:moveTo>
                    <a:pt x="27" y="22"/>
                  </a:moveTo>
                  <a:lnTo>
                    <a:pt x="27" y="12"/>
                  </a:lnTo>
                  <a:lnTo>
                    <a:pt x="16" y="0"/>
                  </a:lnTo>
                  <a:lnTo>
                    <a:pt x="0" y="12"/>
                  </a:lnTo>
                  <a:lnTo>
                    <a:pt x="16" y="22"/>
                  </a:lnTo>
                  <a:lnTo>
                    <a:pt x="27" y="22"/>
                  </a:lnTo>
                  <a:lnTo>
                    <a:pt x="27"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9" name="Freeform 273">
              <a:extLst>
                <a:ext uri="{FF2B5EF4-FFF2-40B4-BE49-F238E27FC236}">
                  <a16:creationId xmlns:a16="http://schemas.microsoft.com/office/drawing/2014/main" id="{A479CB35-E5AE-4999-BEDB-0E4AF2EA36E7}"/>
                </a:ext>
              </a:extLst>
            </p:cNvPr>
            <p:cNvSpPr>
              <a:spLocks/>
            </p:cNvSpPr>
            <p:nvPr/>
          </p:nvSpPr>
          <p:spPr bwMode="auto">
            <a:xfrm>
              <a:off x="7030120" y="3406596"/>
              <a:ext cx="28784" cy="22221"/>
            </a:xfrm>
            <a:custGeom>
              <a:avLst/>
              <a:gdLst/>
              <a:ahLst/>
              <a:cxnLst>
                <a:cxn ang="0">
                  <a:pos x="22" y="6"/>
                </a:cxn>
                <a:cxn ang="0">
                  <a:pos x="0" y="0"/>
                </a:cxn>
                <a:cxn ang="0">
                  <a:pos x="6" y="16"/>
                </a:cxn>
                <a:cxn ang="0">
                  <a:pos x="22" y="6"/>
                </a:cxn>
                <a:cxn ang="0">
                  <a:pos x="22" y="6"/>
                </a:cxn>
              </a:cxnLst>
              <a:rect l="0" t="0" r="r" b="b"/>
              <a:pathLst>
                <a:path w="22" h="16">
                  <a:moveTo>
                    <a:pt x="22" y="6"/>
                  </a:moveTo>
                  <a:lnTo>
                    <a:pt x="0" y="0"/>
                  </a:lnTo>
                  <a:lnTo>
                    <a:pt x="6" y="16"/>
                  </a:lnTo>
                  <a:lnTo>
                    <a:pt x="22" y="6"/>
                  </a:lnTo>
                  <a:lnTo>
                    <a:pt x="22"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0" name="Freeform 274">
              <a:extLst>
                <a:ext uri="{FF2B5EF4-FFF2-40B4-BE49-F238E27FC236}">
                  <a16:creationId xmlns:a16="http://schemas.microsoft.com/office/drawing/2014/main" id="{9F2FEBDC-157D-49D5-BA22-50B609F453F4}"/>
                </a:ext>
              </a:extLst>
            </p:cNvPr>
            <p:cNvSpPr>
              <a:spLocks/>
            </p:cNvSpPr>
            <p:nvPr/>
          </p:nvSpPr>
          <p:spPr bwMode="auto">
            <a:xfrm>
              <a:off x="7045820" y="3469094"/>
              <a:ext cx="20934" cy="22221"/>
            </a:xfrm>
            <a:custGeom>
              <a:avLst/>
              <a:gdLst/>
              <a:ahLst/>
              <a:cxnLst>
                <a:cxn ang="0">
                  <a:pos x="16" y="6"/>
                </a:cxn>
                <a:cxn ang="0">
                  <a:pos x="0" y="0"/>
                </a:cxn>
                <a:cxn ang="0">
                  <a:pos x="4" y="16"/>
                </a:cxn>
                <a:cxn ang="0">
                  <a:pos x="16" y="6"/>
                </a:cxn>
                <a:cxn ang="0">
                  <a:pos x="16" y="6"/>
                </a:cxn>
              </a:cxnLst>
              <a:rect l="0" t="0" r="r" b="b"/>
              <a:pathLst>
                <a:path w="16" h="16">
                  <a:moveTo>
                    <a:pt x="16" y="6"/>
                  </a:moveTo>
                  <a:lnTo>
                    <a:pt x="0" y="0"/>
                  </a:lnTo>
                  <a:lnTo>
                    <a:pt x="4" y="16"/>
                  </a:lnTo>
                  <a:lnTo>
                    <a:pt x="16" y="6"/>
                  </a:lnTo>
                  <a:lnTo>
                    <a:pt x="16"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1" name="Freeform 275">
              <a:extLst>
                <a:ext uri="{FF2B5EF4-FFF2-40B4-BE49-F238E27FC236}">
                  <a16:creationId xmlns:a16="http://schemas.microsoft.com/office/drawing/2014/main" id="{89F0F9FF-26F2-429E-84A2-4B114B64E6D8}"/>
                </a:ext>
              </a:extLst>
            </p:cNvPr>
            <p:cNvSpPr>
              <a:spLocks/>
            </p:cNvSpPr>
            <p:nvPr/>
          </p:nvSpPr>
          <p:spPr bwMode="auto">
            <a:xfrm>
              <a:off x="7095539" y="3406596"/>
              <a:ext cx="14392" cy="16666"/>
            </a:xfrm>
            <a:custGeom>
              <a:avLst/>
              <a:gdLst/>
              <a:ahLst/>
              <a:cxnLst>
                <a:cxn ang="0">
                  <a:pos x="6" y="12"/>
                </a:cxn>
                <a:cxn ang="0">
                  <a:pos x="11" y="0"/>
                </a:cxn>
                <a:cxn ang="0">
                  <a:pos x="0" y="0"/>
                </a:cxn>
                <a:cxn ang="0">
                  <a:pos x="6" y="12"/>
                </a:cxn>
                <a:cxn ang="0">
                  <a:pos x="6" y="12"/>
                </a:cxn>
              </a:cxnLst>
              <a:rect l="0" t="0" r="r" b="b"/>
              <a:pathLst>
                <a:path w="11" h="12">
                  <a:moveTo>
                    <a:pt x="6" y="12"/>
                  </a:moveTo>
                  <a:lnTo>
                    <a:pt x="11" y="0"/>
                  </a:lnTo>
                  <a:lnTo>
                    <a:pt x="0" y="0"/>
                  </a:lnTo>
                  <a:lnTo>
                    <a:pt x="6" y="12"/>
                  </a:lnTo>
                  <a:lnTo>
                    <a:pt x="6"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2" name="Freeform 276">
              <a:extLst>
                <a:ext uri="{FF2B5EF4-FFF2-40B4-BE49-F238E27FC236}">
                  <a16:creationId xmlns:a16="http://schemas.microsoft.com/office/drawing/2014/main" id="{A1C9C0F8-48F7-48E5-8E29-43729C23C9FF}"/>
                </a:ext>
              </a:extLst>
            </p:cNvPr>
            <p:cNvSpPr>
              <a:spLocks/>
            </p:cNvSpPr>
            <p:nvPr/>
          </p:nvSpPr>
          <p:spPr bwMode="auto">
            <a:xfrm>
              <a:off x="7247312" y="3376043"/>
              <a:ext cx="20934" cy="30555"/>
            </a:xfrm>
            <a:custGeom>
              <a:avLst/>
              <a:gdLst/>
              <a:ahLst/>
              <a:cxnLst>
                <a:cxn ang="0">
                  <a:pos x="0" y="22"/>
                </a:cxn>
                <a:cxn ang="0">
                  <a:pos x="16" y="16"/>
                </a:cxn>
                <a:cxn ang="0">
                  <a:pos x="12" y="0"/>
                </a:cxn>
                <a:cxn ang="0">
                  <a:pos x="6" y="6"/>
                </a:cxn>
                <a:cxn ang="0">
                  <a:pos x="0" y="22"/>
                </a:cxn>
                <a:cxn ang="0">
                  <a:pos x="0" y="22"/>
                </a:cxn>
              </a:cxnLst>
              <a:rect l="0" t="0" r="r" b="b"/>
              <a:pathLst>
                <a:path w="16" h="22">
                  <a:moveTo>
                    <a:pt x="0" y="22"/>
                  </a:moveTo>
                  <a:lnTo>
                    <a:pt x="16" y="16"/>
                  </a:lnTo>
                  <a:lnTo>
                    <a:pt x="12" y="0"/>
                  </a:lnTo>
                  <a:lnTo>
                    <a:pt x="6" y="6"/>
                  </a:lnTo>
                  <a:lnTo>
                    <a:pt x="0" y="22"/>
                  </a:lnTo>
                  <a:lnTo>
                    <a:pt x="0"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3" name="Freeform 277">
              <a:extLst>
                <a:ext uri="{FF2B5EF4-FFF2-40B4-BE49-F238E27FC236}">
                  <a16:creationId xmlns:a16="http://schemas.microsoft.com/office/drawing/2014/main" id="{BC4208DF-A577-4CB2-B112-EA30902599C6}"/>
                </a:ext>
              </a:extLst>
            </p:cNvPr>
            <p:cNvSpPr>
              <a:spLocks/>
            </p:cNvSpPr>
            <p:nvPr/>
          </p:nvSpPr>
          <p:spPr bwMode="auto">
            <a:xfrm>
              <a:off x="7314041" y="3335767"/>
              <a:ext cx="36635" cy="48609"/>
            </a:xfrm>
            <a:custGeom>
              <a:avLst/>
              <a:gdLst/>
              <a:ahLst/>
              <a:cxnLst>
                <a:cxn ang="0">
                  <a:pos x="12" y="35"/>
                </a:cxn>
                <a:cxn ang="0">
                  <a:pos x="16" y="18"/>
                </a:cxn>
                <a:cxn ang="0">
                  <a:pos x="28" y="6"/>
                </a:cxn>
                <a:cxn ang="0">
                  <a:pos x="16" y="0"/>
                </a:cxn>
                <a:cxn ang="0">
                  <a:pos x="0" y="18"/>
                </a:cxn>
                <a:cxn ang="0">
                  <a:pos x="12" y="35"/>
                </a:cxn>
                <a:cxn ang="0">
                  <a:pos x="12" y="35"/>
                </a:cxn>
              </a:cxnLst>
              <a:rect l="0" t="0" r="r" b="b"/>
              <a:pathLst>
                <a:path w="28" h="35">
                  <a:moveTo>
                    <a:pt x="12" y="35"/>
                  </a:moveTo>
                  <a:lnTo>
                    <a:pt x="16" y="18"/>
                  </a:lnTo>
                  <a:lnTo>
                    <a:pt x="28" y="6"/>
                  </a:lnTo>
                  <a:lnTo>
                    <a:pt x="16" y="0"/>
                  </a:lnTo>
                  <a:lnTo>
                    <a:pt x="0" y="18"/>
                  </a:lnTo>
                  <a:lnTo>
                    <a:pt x="12" y="35"/>
                  </a:lnTo>
                  <a:lnTo>
                    <a:pt x="12" y="3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4" name="Freeform 278">
              <a:extLst>
                <a:ext uri="{FF2B5EF4-FFF2-40B4-BE49-F238E27FC236}">
                  <a16:creationId xmlns:a16="http://schemas.microsoft.com/office/drawing/2014/main" id="{BBDB196A-DD40-4A17-9511-26D4B0B23AD1}"/>
                </a:ext>
              </a:extLst>
            </p:cNvPr>
            <p:cNvSpPr>
              <a:spLocks/>
            </p:cNvSpPr>
            <p:nvPr/>
          </p:nvSpPr>
          <p:spPr bwMode="auto">
            <a:xfrm>
              <a:off x="6731806" y="3081611"/>
              <a:ext cx="239435" cy="218045"/>
            </a:xfrm>
            <a:custGeom>
              <a:avLst/>
              <a:gdLst/>
              <a:ahLst/>
              <a:cxnLst>
                <a:cxn ang="0">
                  <a:pos x="161" y="27"/>
                </a:cxn>
                <a:cxn ang="0">
                  <a:pos x="161" y="17"/>
                </a:cxn>
                <a:cxn ang="0">
                  <a:pos x="155" y="17"/>
                </a:cxn>
                <a:cxn ang="0">
                  <a:pos x="167" y="4"/>
                </a:cxn>
                <a:cxn ang="0">
                  <a:pos x="150" y="0"/>
                </a:cxn>
                <a:cxn ang="0">
                  <a:pos x="134" y="11"/>
                </a:cxn>
                <a:cxn ang="0">
                  <a:pos x="118" y="45"/>
                </a:cxn>
                <a:cxn ang="0">
                  <a:pos x="100" y="61"/>
                </a:cxn>
                <a:cxn ang="0">
                  <a:pos x="77" y="49"/>
                </a:cxn>
                <a:cxn ang="0">
                  <a:pos x="61" y="61"/>
                </a:cxn>
                <a:cxn ang="0">
                  <a:pos x="39" y="67"/>
                </a:cxn>
                <a:cxn ang="0">
                  <a:pos x="29" y="45"/>
                </a:cxn>
                <a:cxn ang="0">
                  <a:pos x="16" y="45"/>
                </a:cxn>
                <a:cxn ang="0">
                  <a:pos x="0" y="67"/>
                </a:cxn>
                <a:cxn ang="0">
                  <a:pos x="23" y="94"/>
                </a:cxn>
                <a:cxn ang="0">
                  <a:pos x="33" y="134"/>
                </a:cxn>
                <a:cxn ang="0">
                  <a:pos x="55" y="134"/>
                </a:cxn>
                <a:cxn ang="0">
                  <a:pos x="71" y="151"/>
                </a:cxn>
                <a:cxn ang="0">
                  <a:pos x="77" y="138"/>
                </a:cxn>
                <a:cxn ang="0">
                  <a:pos x="106" y="138"/>
                </a:cxn>
                <a:cxn ang="0">
                  <a:pos x="106" y="157"/>
                </a:cxn>
                <a:cxn ang="0">
                  <a:pos x="118" y="157"/>
                </a:cxn>
                <a:cxn ang="0">
                  <a:pos x="134" y="145"/>
                </a:cxn>
                <a:cxn ang="0">
                  <a:pos x="138" y="100"/>
                </a:cxn>
                <a:cxn ang="0">
                  <a:pos x="167" y="90"/>
                </a:cxn>
                <a:cxn ang="0">
                  <a:pos x="155" y="78"/>
                </a:cxn>
                <a:cxn ang="0">
                  <a:pos x="173" y="61"/>
                </a:cxn>
                <a:cxn ang="0">
                  <a:pos x="183" y="61"/>
                </a:cxn>
                <a:cxn ang="0">
                  <a:pos x="161" y="27"/>
                </a:cxn>
                <a:cxn ang="0">
                  <a:pos x="161" y="27"/>
                </a:cxn>
              </a:cxnLst>
              <a:rect l="0" t="0" r="r" b="b"/>
              <a:pathLst>
                <a:path w="183" h="157">
                  <a:moveTo>
                    <a:pt x="161" y="27"/>
                  </a:moveTo>
                  <a:lnTo>
                    <a:pt x="161" y="17"/>
                  </a:lnTo>
                  <a:lnTo>
                    <a:pt x="155" y="17"/>
                  </a:lnTo>
                  <a:lnTo>
                    <a:pt x="167" y="4"/>
                  </a:lnTo>
                  <a:lnTo>
                    <a:pt x="150" y="0"/>
                  </a:lnTo>
                  <a:lnTo>
                    <a:pt x="134" y="11"/>
                  </a:lnTo>
                  <a:lnTo>
                    <a:pt x="118" y="45"/>
                  </a:lnTo>
                  <a:lnTo>
                    <a:pt x="100" y="61"/>
                  </a:lnTo>
                  <a:lnTo>
                    <a:pt x="77" y="49"/>
                  </a:lnTo>
                  <a:lnTo>
                    <a:pt x="61" y="61"/>
                  </a:lnTo>
                  <a:lnTo>
                    <a:pt x="39" y="67"/>
                  </a:lnTo>
                  <a:lnTo>
                    <a:pt x="29" y="45"/>
                  </a:lnTo>
                  <a:lnTo>
                    <a:pt x="16" y="45"/>
                  </a:lnTo>
                  <a:lnTo>
                    <a:pt x="0" y="67"/>
                  </a:lnTo>
                  <a:lnTo>
                    <a:pt x="23" y="94"/>
                  </a:lnTo>
                  <a:lnTo>
                    <a:pt x="33" y="134"/>
                  </a:lnTo>
                  <a:lnTo>
                    <a:pt x="55" y="134"/>
                  </a:lnTo>
                  <a:lnTo>
                    <a:pt x="71" y="151"/>
                  </a:lnTo>
                  <a:lnTo>
                    <a:pt x="77" y="138"/>
                  </a:lnTo>
                  <a:lnTo>
                    <a:pt x="106" y="138"/>
                  </a:lnTo>
                  <a:lnTo>
                    <a:pt x="106" y="157"/>
                  </a:lnTo>
                  <a:lnTo>
                    <a:pt x="118" y="157"/>
                  </a:lnTo>
                  <a:lnTo>
                    <a:pt x="134" y="145"/>
                  </a:lnTo>
                  <a:lnTo>
                    <a:pt x="138" y="100"/>
                  </a:lnTo>
                  <a:lnTo>
                    <a:pt x="167" y="90"/>
                  </a:lnTo>
                  <a:lnTo>
                    <a:pt x="155" y="78"/>
                  </a:lnTo>
                  <a:lnTo>
                    <a:pt x="173" y="61"/>
                  </a:lnTo>
                  <a:lnTo>
                    <a:pt x="183" y="61"/>
                  </a:lnTo>
                  <a:lnTo>
                    <a:pt x="161" y="27"/>
                  </a:lnTo>
                  <a:lnTo>
                    <a:pt x="161" y="27"/>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5" name="Freeform 279">
              <a:extLst>
                <a:ext uri="{FF2B5EF4-FFF2-40B4-BE49-F238E27FC236}">
                  <a16:creationId xmlns:a16="http://schemas.microsoft.com/office/drawing/2014/main" id="{B734F7D7-6F45-4F51-9928-4E365F7B334C}"/>
                </a:ext>
              </a:extLst>
            </p:cNvPr>
            <p:cNvSpPr>
              <a:spLocks/>
            </p:cNvSpPr>
            <p:nvPr/>
          </p:nvSpPr>
          <p:spPr bwMode="auto">
            <a:xfrm>
              <a:off x="6659845" y="3228828"/>
              <a:ext cx="27477" cy="38887"/>
            </a:xfrm>
            <a:custGeom>
              <a:avLst/>
              <a:gdLst/>
              <a:ahLst/>
              <a:cxnLst>
                <a:cxn ang="0">
                  <a:pos x="11" y="0"/>
                </a:cxn>
                <a:cxn ang="0">
                  <a:pos x="0" y="0"/>
                </a:cxn>
                <a:cxn ang="0">
                  <a:pos x="4" y="16"/>
                </a:cxn>
                <a:cxn ang="0">
                  <a:pos x="21" y="28"/>
                </a:cxn>
                <a:cxn ang="0">
                  <a:pos x="21" y="16"/>
                </a:cxn>
                <a:cxn ang="0">
                  <a:pos x="11" y="6"/>
                </a:cxn>
                <a:cxn ang="0">
                  <a:pos x="11" y="0"/>
                </a:cxn>
                <a:cxn ang="0">
                  <a:pos x="11" y="0"/>
                </a:cxn>
              </a:cxnLst>
              <a:rect l="0" t="0" r="r" b="b"/>
              <a:pathLst>
                <a:path w="21" h="28">
                  <a:moveTo>
                    <a:pt x="11" y="0"/>
                  </a:moveTo>
                  <a:lnTo>
                    <a:pt x="0" y="0"/>
                  </a:lnTo>
                  <a:lnTo>
                    <a:pt x="4" y="16"/>
                  </a:lnTo>
                  <a:lnTo>
                    <a:pt x="21" y="28"/>
                  </a:lnTo>
                  <a:lnTo>
                    <a:pt x="21" y="16"/>
                  </a:lnTo>
                  <a:lnTo>
                    <a:pt x="11" y="6"/>
                  </a:lnTo>
                  <a:lnTo>
                    <a:pt x="11" y="0"/>
                  </a:lnTo>
                  <a:lnTo>
                    <a:pt x="11"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6" name="Freeform 280">
              <a:extLst>
                <a:ext uri="{FF2B5EF4-FFF2-40B4-BE49-F238E27FC236}">
                  <a16:creationId xmlns:a16="http://schemas.microsoft.com/office/drawing/2014/main" id="{C5FA1E7C-BEBB-435B-9DD5-1239FE8B04E9}"/>
                </a:ext>
              </a:extLst>
            </p:cNvPr>
            <p:cNvSpPr>
              <a:spLocks/>
            </p:cNvSpPr>
            <p:nvPr/>
          </p:nvSpPr>
          <p:spPr bwMode="auto">
            <a:xfrm>
              <a:off x="6703022" y="3251048"/>
              <a:ext cx="28784" cy="22221"/>
            </a:xfrm>
            <a:custGeom>
              <a:avLst/>
              <a:gdLst/>
              <a:ahLst/>
              <a:cxnLst>
                <a:cxn ang="0">
                  <a:pos x="16" y="6"/>
                </a:cxn>
                <a:cxn ang="0">
                  <a:pos x="6" y="0"/>
                </a:cxn>
                <a:cxn ang="0">
                  <a:pos x="0" y="16"/>
                </a:cxn>
                <a:cxn ang="0">
                  <a:pos x="22" y="16"/>
                </a:cxn>
                <a:cxn ang="0">
                  <a:pos x="16" y="6"/>
                </a:cxn>
                <a:cxn ang="0">
                  <a:pos x="16" y="6"/>
                </a:cxn>
              </a:cxnLst>
              <a:rect l="0" t="0" r="r" b="b"/>
              <a:pathLst>
                <a:path w="22" h="16">
                  <a:moveTo>
                    <a:pt x="16" y="6"/>
                  </a:moveTo>
                  <a:lnTo>
                    <a:pt x="6" y="0"/>
                  </a:lnTo>
                  <a:lnTo>
                    <a:pt x="0" y="16"/>
                  </a:lnTo>
                  <a:lnTo>
                    <a:pt x="22" y="16"/>
                  </a:lnTo>
                  <a:lnTo>
                    <a:pt x="16" y="6"/>
                  </a:lnTo>
                  <a:lnTo>
                    <a:pt x="16"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7" name="Freeform 281">
              <a:extLst>
                <a:ext uri="{FF2B5EF4-FFF2-40B4-BE49-F238E27FC236}">
                  <a16:creationId xmlns:a16="http://schemas.microsoft.com/office/drawing/2014/main" id="{4E8BBCEF-5BD7-4E25-B7F6-F37BB45DAB5B}"/>
                </a:ext>
              </a:extLst>
            </p:cNvPr>
            <p:cNvSpPr>
              <a:spLocks/>
            </p:cNvSpPr>
            <p:nvPr/>
          </p:nvSpPr>
          <p:spPr bwMode="auto">
            <a:xfrm>
              <a:off x="6659845" y="3344099"/>
              <a:ext cx="231585" cy="84719"/>
            </a:xfrm>
            <a:custGeom>
              <a:avLst/>
              <a:gdLst/>
              <a:ahLst/>
              <a:cxnLst>
                <a:cxn ang="0">
                  <a:pos x="94" y="12"/>
                </a:cxn>
                <a:cxn ang="0">
                  <a:pos x="78" y="23"/>
                </a:cxn>
                <a:cxn ang="0">
                  <a:pos x="55" y="23"/>
                </a:cxn>
                <a:cxn ang="0">
                  <a:pos x="49" y="12"/>
                </a:cxn>
                <a:cxn ang="0">
                  <a:pos x="27" y="0"/>
                </a:cxn>
                <a:cxn ang="0">
                  <a:pos x="11" y="6"/>
                </a:cxn>
                <a:cxn ang="0">
                  <a:pos x="0" y="16"/>
                </a:cxn>
                <a:cxn ang="0">
                  <a:pos x="21" y="35"/>
                </a:cxn>
                <a:cxn ang="0">
                  <a:pos x="39" y="35"/>
                </a:cxn>
                <a:cxn ang="0">
                  <a:pos x="43" y="39"/>
                </a:cxn>
                <a:cxn ang="0">
                  <a:pos x="78" y="39"/>
                </a:cxn>
                <a:cxn ang="0">
                  <a:pos x="84" y="45"/>
                </a:cxn>
                <a:cxn ang="0">
                  <a:pos x="122" y="61"/>
                </a:cxn>
                <a:cxn ang="0">
                  <a:pos x="132" y="51"/>
                </a:cxn>
                <a:cxn ang="0">
                  <a:pos x="145" y="61"/>
                </a:cxn>
                <a:cxn ang="0">
                  <a:pos x="167" y="57"/>
                </a:cxn>
                <a:cxn ang="0">
                  <a:pos x="173" y="61"/>
                </a:cxn>
                <a:cxn ang="0">
                  <a:pos x="177" y="51"/>
                </a:cxn>
                <a:cxn ang="0">
                  <a:pos x="173" y="39"/>
                </a:cxn>
                <a:cxn ang="0">
                  <a:pos x="161" y="45"/>
                </a:cxn>
                <a:cxn ang="0">
                  <a:pos x="149" y="35"/>
                </a:cxn>
                <a:cxn ang="0">
                  <a:pos x="138" y="35"/>
                </a:cxn>
                <a:cxn ang="0">
                  <a:pos x="110" y="12"/>
                </a:cxn>
                <a:cxn ang="0">
                  <a:pos x="94" y="12"/>
                </a:cxn>
                <a:cxn ang="0">
                  <a:pos x="94" y="12"/>
                </a:cxn>
              </a:cxnLst>
              <a:rect l="0" t="0" r="r" b="b"/>
              <a:pathLst>
                <a:path w="177" h="61">
                  <a:moveTo>
                    <a:pt x="94" y="12"/>
                  </a:moveTo>
                  <a:lnTo>
                    <a:pt x="78" y="23"/>
                  </a:lnTo>
                  <a:lnTo>
                    <a:pt x="55" y="23"/>
                  </a:lnTo>
                  <a:lnTo>
                    <a:pt x="49" y="12"/>
                  </a:lnTo>
                  <a:lnTo>
                    <a:pt x="27" y="0"/>
                  </a:lnTo>
                  <a:lnTo>
                    <a:pt x="11" y="6"/>
                  </a:lnTo>
                  <a:lnTo>
                    <a:pt x="0" y="16"/>
                  </a:lnTo>
                  <a:lnTo>
                    <a:pt x="21" y="35"/>
                  </a:lnTo>
                  <a:lnTo>
                    <a:pt x="39" y="35"/>
                  </a:lnTo>
                  <a:lnTo>
                    <a:pt x="43" y="39"/>
                  </a:lnTo>
                  <a:lnTo>
                    <a:pt x="78" y="39"/>
                  </a:lnTo>
                  <a:lnTo>
                    <a:pt x="84" y="45"/>
                  </a:lnTo>
                  <a:lnTo>
                    <a:pt x="122" y="61"/>
                  </a:lnTo>
                  <a:lnTo>
                    <a:pt x="132" y="51"/>
                  </a:lnTo>
                  <a:lnTo>
                    <a:pt x="145" y="61"/>
                  </a:lnTo>
                  <a:lnTo>
                    <a:pt x="167" y="57"/>
                  </a:lnTo>
                  <a:lnTo>
                    <a:pt x="173" y="61"/>
                  </a:lnTo>
                  <a:lnTo>
                    <a:pt x="177" y="51"/>
                  </a:lnTo>
                  <a:lnTo>
                    <a:pt x="173" y="39"/>
                  </a:lnTo>
                  <a:lnTo>
                    <a:pt x="161" y="45"/>
                  </a:lnTo>
                  <a:lnTo>
                    <a:pt x="149" y="35"/>
                  </a:lnTo>
                  <a:lnTo>
                    <a:pt x="138" y="35"/>
                  </a:lnTo>
                  <a:lnTo>
                    <a:pt x="110" y="12"/>
                  </a:lnTo>
                  <a:lnTo>
                    <a:pt x="94" y="12"/>
                  </a:lnTo>
                  <a:lnTo>
                    <a:pt x="94"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8" name="Freeform 282">
              <a:extLst>
                <a:ext uri="{FF2B5EF4-FFF2-40B4-BE49-F238E27FC236}">
                  <a16:creationId xmlns:a16="http://schemas.microsoft.com/office/drawing/2014/main" id="{B60F6ED3-6EC6-4371-A0DC-2996FE4683AA}"/>
                </a:ext>
              </a:extLst>
            </p:cNvPr>
            <p:cNvSpPr>
              <a:spLocks/>
            </p:cNvSpPr>
            <p:nvPr/>
          </p:nvSpPr>
          <p:spPr bwMode="auto">
            <a:xfrm>
              <a:off x="6928065" y="3406596"/>
              <a:ext cx="43177" cy="22221"/>
            </a:xfrm>
            <a:custGeom>
              <a:avLst/>
              <a:gdLst/>
              <a:ahLst/>
              <a:cxnLst>
                <a:cxn ang="0">
                  <a:pos x="11" y="0"/>
                </a:cxn>
                <a:cxn ang="0">
                  <a:pos x="0" y="16"/>
                </a:cxn>
                <a:cxn ang="0">
                  <a:pos x="33" y="16"/>
                </a:cxn>
                <a:cxn ang="0">
                  <a:pos x="11" y="0"/>
                </a:cxn>
                <a:cxn ang="0">
                  <a:pos x="11" y="0"/>
                </a:cxn>
              </a:cxnLst>
              <a:rect l="0" t="0" r="r" b="b"/>
              <a:pathLst>
                <a:path w="33" h="16">
                  <a:moveTo>
                    <a:pt x="11" y="0"/>
                  </a:moveTo>
                  <a:lnTo>
                    <a:pt x="0" y="16"/>
                  </a:lnTo>
                  <a:lnTo>
                    <a:pt x="33" y="16"/>
                  </a:lnTo>
                  <a:lnTo>
                    <a:pt x="11" y="0"/>
                  </a:lnTo>
                  <a:lnTo>
                    <a:pt x="11"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9" name="Freeform 283">
              <a:extLst>
                <a:ext uri="{FF2B5EF4-FFF2-40B4-BE49-F238E27FC236}">
                  <a16:creationId xmlns:a16="http://schemas.microsoft.com/office/drawing/2014/main" id="{0117B2BC-3708-4876-959C-7BB7DFCD16A9}"/>
                </a:ext>
              </a:extLst>
            </p:cNvPr>
            <p:cNvSpPr>
              <a:spLocks/>
            </p:cNvSpPr>
            <p:nvPr/>
          </p:nvSpPr>
          <p:spPr bwMode="auto">
            <a:xfrm>
              <a:off x="6899281" y="3414930"/>
              <a:ext cx="28784" cy="13888"/>
            </a:xfrm>
            <a:custGeom>
              <a:avLst/>
              <a:gdLst/>
              <a:ahLst/>
              <a:cxnLst>
                <a:cxn ang="0">
                  <a:pos x="10" y="10"/>
                </a:cxn>
                <a:cxn ang="0">
                  <a:pos x="22" y="0"/>
                </a:cxn>
                <a:cxn ang="0">
                  <a:pos x="0" y="0"/>
                </a:cxn>
                <a:cxn ang="0">
                  <a:pos x="0" y="10"/>
                </a:cxn>
                <a:cxn ang="0">
                  <a:pos x="10" y="10"/>
                </a:cxn>
                <a:cxn ang="0">
                  <a:pos x="10" y="10"/>
                </a:cxn>
              </a:cxnLst>
              <a:rect l="0" t="0" r="r" b="b"/>
              <a:pathLst>
                <a:path w="22" h="10">
                  <a:moveTo>
                    <a:pt x="10" y="10"/>
                  </a:moveTo>
                  <a:lnTo>
                    <a:pt x="22" y="0"/>
                  </a:lnTo>
                  <a:lnTo>
                    <a:pt x="0" y="0"/>
                  </a:lnTo>
                  <a:lnTo>
                    <a:pt x="0" y="10"/>
                  </a:lnTo>
                  <a:lnTo>
                    <a:pt x="10" y="10"/>
                  </a:lnTo>
                  <a:lnTo>
                    <a:pt x="10"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0" name="Freeform 284">
              <a:extLst>
                <a:ext uri="{FF2B5EF4-FFF2-40B4-BE49-F238E27FC236}">
                  <a16:creationId xmlns:a16="http://schemas.microsoft.com/office/drawing/2014/main" id="{EA0662A7-0F38-466C-A910-C206FCD56E8D}"/>
                </a:ext>
              </a:extLst>
            </p:cNvPr>
            <p:cNvSpPr>
              <a:spLocks/>
            </p:cNvSpPr>
            <p:nvPr/>
          </p:nvSpPr>
          <p:spPr bwMode="auto">
            <a:xfrm>
              <a:off x="6958158" y="3437151"/>
              <a:ext cx="49719" cy="22221"/>
            </a:xfrm>
            <a:custGeom>
              <a:avLst/>
              <a:gdLst/>
              <a:ahLst/>
              <a:cxnLst>
                <a:cxn ang="0">
                  <a:pos x="38" y="10"/>
                </a:cxn>
                <a:cxn ang="0">
                  <a:pos x="16" y="0"/>
                </a:cxn>
                <a:cxn ang="0">
                  <a:pos x="0" y="6"/>
                </a:cxn>
                <a:cxn ang="0">
                  <a:pos x="22" y="16"/>
                </a:cxn>
                <a:cxn ang="0">
                  <a:pos x="38" y="10"/>
                </a:cxn>
                <a:cxn ang="0">
                  <a:pos x="38" y="10"/>
                </a:cxn>
              </a:cxnLst>
              <a:rect l="0" t="0" r="r" b="b"/>
              <a:pathLst>
                <a:path w="38" h="16">
                  <a:moveTo>
                    <a:pt x="38" y="10"/>
                  </a:moveTo>
                  <a:lnTo>
                    <a:pt x="16" y="0"/>
                  </a:lnTo>
                  <a:lnTo>
                    <a:pt x="0" y="6"/>
                  </a:lnTo>
                  <a:lnTo>
                    <a:pt x="22" y="16"/>
                  </a:lnTo>
                  <a:lnTo>
                    <a:pt x="38" y="10"/>
                  </a:lnTo>
                  <a:lnTo>
                    <a:pt x="38"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1" name="Freeform 285">
              <a:extLst>
                <a:ext uri="{FF2B5EF4-FFF2-40B4-BE49-F238E27FC236}">
                  <a16:creationId xmlns:a16="http://schemas.microsoft.com/office/drawing/2014/main" id="{5E4A4E94-5716-4177-A46D-6AE59300C69A}"/>
                </a:ext>
              </a:extLst>
            </p:cNvPr>
            <p:cNvSpPr>
              <a:spLocks/>
            </p:cNvSpPr>
            <p:nvPr/>
          </p:nvSpPr>
          <p:spPr bwMode="auto">
            <a:xfrm>
              <a:off x="6426951" y="3119111"/>
              <a:ext cx="36635" cy="16666"/>
            </a:xfrm>
            <a:custGeom>
              <a:avLst/>
              <a:gdLst/>
              <a:ahLst/>
              <a:cxnLst>
                <a:cxn ang="0">
                  <a:pos x="22" y="12"/>
                </a:cxn>
                <a:cxn ang="0">
                  <a:pos x="28" y="0"/>
                </a:cxn>
                <a:cxn ang="0">
                  <a:pos x="0" y="0"/>
                </a:cxn>
                <a:cxn ang="0">
                  <a:pos x="22" y="12"/>
                </a:cxn>
                <a:cxn ang="0">
                  <a:pos x="22" y="12"/>
                </a:cxn>
              </a:cxnLst>
              <a:rect l="0" t="0" r="r" b="b"/>
              <a:pathLst>
                <a:path w="28" h="12">
                  <a:moveTo>
                    <a:pt x="22" y="12"/>
                  </a:moveTo>
                  <a:lnTo>
                    <a:pt x="28" y="0"/>
                  </a:lnTo>
                  <a:lnTo>
                    <a:pt x="0" y="0"/>
                  </a:lnTo>
                  <a:lnTo>
                    <a:pt x="22" y="12"/>
                  </a:lnTo>
                  <a:lnTo>
                    <a:pt x="22"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2" name="Freeform 286">
              <a:extLst>
                <a:ext uri="{FF2B5EF4-FFF2-40B4-BE49-F238E27FC236}">
                  <a16:creationId xmlns:a16="http://schemas.microsoft.com/office/drawing/2014/main" id="{EF32E670-323A-4402-9B87-25F767427926}"/>
                </a:ext>
              </a:extLst>
            </p:cNvPr>
            <p:cNvSpPr>
              <a:spLocks/>
            </p:cNvSpPr>
            <p:nvPr/>
          </p:nvSpPr>
          <p:spPr bwMode="auto">
            <a:xfrm>
              <a:off x="6498913" y="3212160"/>
              <a:ext cx="23551" cy="38887"/>
            </a:xfrm>
            <a:custGeom>
              <a:avLst/>
              <a:gdLst/>
              <a:ahLst/>
              <a:cxnLst>
                <a:cxn ang="0">
                  <a:pos x="6" y="0"/>
                </a:cxn>
                <a:cxn ang="0">
                  <a:pos x="0" y="6"/>
                </a:cxn>
                <a:cxn ang="0">
                  <a:pos x="12" y="28"/>
                </a:cxn>
                <a:cxn ang="0">
                  <a:pos x="18" y="18"/>
                </a:cxn>
                <a:cxn ang="0">
                  <a:pos x="6" y="0"/>
                </a:cxn>
                <a:cxn ang="0">
                  <a:pos x="6" y="0"/>
                </a:cxn>
              </a:cxnLst>
              <a:rect l="0" t="0" r="r" b="b"/>
              <a:pathLst>
                <a:path w="18" h="28">
                  <a:moveTo>
                    <a:pt x="6" y="0"/>
                  </a:moveTo>
                  <a:lnTo>
                    <a:pt x="0" y="6"/>
                  </a:lnTo>
                  <a:lnTo>
                    <a:pt x="12" y="28"/>
                  </a:lnTo>
                  <a:lnTo>
                    <a:pt x="18" y="18"/>
                  </a:lnTo>
                  <a:lnTo>
                    <a:pt x="6" y="0"/>
                  </a:lnTo>
                  <a:lnTo>
                    <a:pt x="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3" name="Freeform 287">
              <a:extLst>
                <a:ext uri="{FF2B5EF4-FFF2-40B4-BE49-F238E27FC236}">
                  <a16:creationId xmlns:a16="http://schemas.microsoft.com/office/drawing/2014/main" id="{1C8B7D0A-3CC3-4AE9-92F9-E3551352B7E5}"/>
                </a:ext>
              </a:extLst>
            </p:cNvPr>
            <p:cNvSpPr>
              <a:spLocks/>
            </p:cNvSpPr>
            <p:nvPr/>
          </p:nvSpPr>
          <p:spPr bwMode="auto">
            <a:xfrm>
              <a:off x="6769749" y="2994115"/>
              <a:ext cx="201492" cy="180547"/>
            </a:xfrm>
            <a:custGeom>
              <a:avLst/>
              <a:gdLst/>
              <a:ahLst/>
              <a:cxnLst>
                <a:cxn ang="0">
                  <a:pos x="121" y="0"/>
                </a:cxn>
                <a:cxn ang="0">
                  <a:pos x="89" y="41"/>
                </a:cxn>
                <a:cxn ang="0">
                  <a:pos x="99" y="63"/>
                </a:cxn>
                <a:cxn ang="0">
                  <a:pos x="83" y="67"/>
                </a:cxn>
                <a:cxn ang="0">
                  <a:pos x="65" y="51"/>
                </a:cxn>
                <a:cxn ang="0">
                  <a:pos x="61" y="67"/>
                </a:cxn>
                <a:cxn ang="0">
                  <a:pos x="26" y="86"/>
                </a:cxn>
                <a:cxn ang="0">
                  <a:pos x="16" y="96"/>
                </a:cxn>
                <a:cxn ang="0">
                  <a:pos x="16" y="108"/>
                </a:cxn>
                <a:cxn ang="0">
                  <a:pos x="0" y="108"/>
                </a:cxn>
                <a:cxn ang="0">
                  <a:pos x="10" y="130"/>
                </a:cxn>
                <a:cxn ang="0">
                  <a:pos x="32" y="124"/>
                </a:cxn>
                <a:cxn ang="0">
                  <a:pos x="48" y="112"/>
                </a:cxn>
                <a:cxn ang="0">
                  <a:pos x="71" y="124"/>
                </a:cxn>
                <a:cxn ang="0">
                  <a:pos x="89" y="108"/>
                </a:cxn>
                <a:cxn ang="0">
                  <a:pos x="105" y="74"/>
                </a:cxn>
                <a:cxn ang="0">
                  <a:pos x="121" y="63"/>
                </a:cxn>
                <a:cxn ang="0">
                  <a:pos x="138" y="67"/>
                </a:cxn>
                <a:cxn ang="0">
                  <a:pos x="154" y="45"/>
                </a:cxn>
                <a:cxn ang="0">
                  <a:pos x="121" y="0"/>
                </a:cxn>
                <a:cxn ang="0">
                  <a:pos x="121" y="0"/>
                </a:cxn>
              </a:cxnLst>
              <a:rect l="0" t="0" r="r" b="b"/>
              <a:pathLst>
                <a:path w="154" h="130">
                  <a:moveTo>
                    <a:pt x="121" y="0"/>
                  </a:moveTo>
                  <a:lnTo>
                    <a:pt x="89" y="41"/>
                  </a:lnTo>
                  <a:lnTo>
                    <a:pt x="99" y="63"/>
                  </a:lnTo>
                  <a:lnTo>
                    <a:pt x="83" y="67"/>
                  </a:lnTo>
                  <a:lnTo>
                    <a:pt x="65" y="51"/>
                  </a:lnTo>
                  <a:lnTo>
                    <a:pt x="61" y="67"/>
                  </a:lnTo>
                  <a:lnTo>
                    <a:pt x="26" y="86"/>
                  </a:lnTo>
                  <a:lnTo>
                    <a:pt x="16" y="96"/>
                  </a:lnTo>
                  <a:lnTo>
                    <a:pt x="16" y="108"/>
                  </a:lnTo>
                  <a:lnTo>
                    <a:pt x="0" y="108"/>
                  </a:lnTo>
                  <a:lnTo>
                    <a:pt x="10" y="130"/>
                  </a:lnTo>
                  <a:lnTo>
                    <a:pt x="32" y="124"/>
                  </a:lnTo>
                  <a:lnTo>
                    <a:pt x="48" y="112"/>
                  </a:lnTo>
                  <a:lnTo>
                    <a:pt x="71" y="124"/>
                  </a:lnTo>
                  <a:lnTo>
                    <a:pt x="89" y="108"/>
                  </a:lnTo>
                  <a:lnTo>
                    <a:pt x="105" y="74"/>
                  </a:lnTo>
                  <a:lnTo>
                    <a:pt x="121" y="63"/>
                  </a:lnTo>
                  <a:lnTo>
                    <a:pt x="138" y="67"/>
                  </a:lnTo>
                  <a:lnTo>
                    <a:pt x="154" y="45"/>
                  </a:lnTo>
                  <a:lnTo>
                    <a:pt x="121" y="0"/>
                  </a:lnTo>
                  <a:lnTo>
                    <a:pt x="121"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4" name="Freeform 288">
              <a:extLst>
                <a:ext uri="{FF2B5EF4-FFF2-40B4-BE49-F238E27FC236}">
                  <a16:creationId xmlns:a16="http://schemas.microsoft.com/office/drawing/2014/main" id="{085558D3-0F57-4378-90D3-54CB992618A9}"/>
                </a:ext>
              </a:extLst>
            </p:cNvPr>
            <p:cNvSpPr>
              <a:spLocks/>
            </p:cNvSpPr>
            <p:nvPr/>
          </p:nvSpPr>
          <p:spPr bwMode="auto">
            <a:xfrm>
              <a:off x="6966008" y="2701075"/>
              <a:ext cx="113831" cy="155548"/>
            </a:xfrm>
            <a:custGeom>
              <a:avLst/>
              <a:gdLst/>
              <a:ahLst/>
              <a:cxnLst>
                <a:cxn ang="0">
                  <a:pos x="16" y="0"/>
                </a:cxn>
                <a:cxn ang="0">
                  <a:pos x="4" y="0"/>
                </a:cxn>
                <a:cxn ang="0">
                  <a:pos x="10" y="35"/>
                </a:cxn>
                <a:cxn ang="0">
                  <a:pos x="0" y="39"/>
                </a:cxn>
                <a:cxn ang="0">
                  <a:pos x="0" y="63"/>
                </a:cxn>
                <a:cxn ang="0">
                  <a:pos x="22" y="79"/>
                </a:cxn>
                <a:cxn ang="0">
                  <a:pos x="16" y="83"/>
                </a:cxn>
                <a:cxn ang="0">
                  <a:pos x="32" y="90"/>
                </a:cxn>
                <a:cxn ang="0">
                  <a:pos x="43" y="90"/>
                </a:cxn>
                <a:cxn ang="0">
                  <a:pos x="43" y="102"/>
                </a:cxn>
                <a:cxn ang="0">
                  <a:pos x="61" y="102"/>
                </a:cxn>
                <a:cxn ang="0">
                  <a:pos x="65" y="106"/>
                </a:cxn>
                <a:cxn ang="0">
                  <a:pos x="73" y="104"/>
                </a:cxn>
                <a:cxn ang="0">
                  <a:pos x="87" y="112"/>
                </a:cxn>
                <a:cxn ang="0">
                  <a:pos x="87" y="102"/>
                </a:cxn>
                <a:cxn ang="0">
                  <a:pos x="83" y="102"/>
                </a:cxn>
                <a:cxn ang="0">
                  <a:pos x="71" y="96"/>
                </a:cxn>
                <a:cxn ang="0">
                  <a:pos x="71" y="90"/>
                </a:cxn>
                <a:cxn ang="0">
                  <a:pos x="65" y="90"/>
                </a:cxn>
                <a:cxn ang="0">
                  <a:pos x="61" y="83"/>
                </a:cxn>
                <a:cxn ang="0">
                  <a:pos x="43" y="83"/>
                </a:cxn>
                <a:cxn ang="0">
                  <a:pos x="43" y="67"/>
                </a:cxn>
                <a:cxn ang="0">
                  <a:pos x="32" y="67"/>
                </a:cxn>
                <a:cxn ang="0">
                  <a:pos x="32" y="45"/>
                </a:cxn>
                <a:cxn ang="0">
                  <a:pos x="43" y="29"/>
                </a:cxn>
                <a:cxn ang="0">
                  <a:pos x="32" y="0"/>
                </a:cxn>
                <a:cxn ang="0">
                  <a:pos x="22" y="6"/>
                </a:cxn>
                <a:cxn ang="0">
                  <a:pos x="16" y="0"/>
                </a:cxn>
                <a:cxn ang="0">
                  <a:pos x="16" y="0"/>
                </a:cxn>
              </a:cxnLst>
              <a:rect l="0" t="0" r="r" b="b"/>
              <a:pathLst>
                <a:path w="87" h="112">
                  <a:moveTo>
                    <a:pt x="16" y="0"/>
                  </a:moveTo>
                  <a:lnTo>
                    <a:pt x="4" y="0"/>
                  </a:lnTo>
                  <a:lnTo>
                    <a:pt x="10" y="35"/>
                  </a:lnTo>
                  <a:lnTo>
                    <a:pt x="0" y="39"/>
                  </a:lnTo>
                  <a:lnTo>
                    <a:pt x="0" y="63"/>
                  </a:lnTo>
                  <a:lnTo>
                    <a:pt x="22" y="79"/>
                  </a:lnTo>
                  <a:lnTo>
                    <a:pt x="16" y="83"/>
                  </a:lnTo>
                  <a:lnTo>
                    <a:pt x="32" y="90"/>
                  </a:lnTo>
                  <a:lnTo>
                    <a:pt x="43" y="90"/>
                  </a:lnTo>
                  <a:lnTo>
                    <a:pt x="43" y="102"/>
                  </a:lnTo>
                  <a:lnTo>
                    <a:pt x="61" y="102"/>
                  </a:lnTo>
                  <a:lnTo>
                    <a:pt x="65" y="106"/>
                  </a:lnTo>
                  <a:lnTo>
                    <a:pt x="73" y="104"/>
                  </a:lnTo>
                  <a:lnTo>
                    <a:pt x="87" y="112"/>
                  </a:lnTo>
                  <a:lnTo>
                    <a:pt x="87" y="102"/>
                  </a:lnTo>
                  <a:lnTo>
                    <a:pt x="83" y="102"/>
                  </a:lnTo>
                  <a:lnTo>
                    <a:pt x="71" y="96"/>
                  </a:lnTo>
                  <a:lnTo>
                    <a:pt x="71" y="90"/>
                  </a:lnTo>
                  <a:lnTo>
                    <a:pt x="65" y="90"/>
                  </a:lnTo>
                  <a:lnTo>
                    <a:pt x="61" y="83"/>
                  </a:lnTo>
                  <a:lnTo>
                    <a:pt x="43" y="83"/>
                  </a:lnTo>
                  <a:lnTo>
                    <a:pt x="43" y="67"/>
                  </a:lnTo>
                  <a:lnTo>
                    <a:pt x="32" y="67"/>
                  </a:lnTo>
                  <a:lnTo>
                    <a:pt x="32" y="45"/>
                  </a:lnTo>
                  <a:lnTo>
                    <a:pt x="43" y="29"/>
                  </a:lnTo>
                  <a:lnTo>
                    <a:pt x="32" y="0"/>
                  </a:lnTo>
                  <a:lnTo>
                    <a:pt x="22" y="6"/>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5" name="Freeform 289">
              <a:extLst>
                <a:ext uri="{FF2B5EF4-FFF2-40B4-BE49-F238E27FC236}">
                  <a16:creationId xmlns:a16="http://schemas.microsoft.com/office/drawing/2014/main" id="{78D30B6D-901A-4018-8970-9A25CC95E2B3}"/>
                </a:ext>
              </a:extLst>
            </p:cNvPr>
            <p:cNvSpPr>
              <a:spLocks/>
            </p:cNvSpPr>
            <p:nvPr/>
          </p:nvSpPr>
          <p:spPr bwMode="auto">
            <a:xfrm>
              <a:off x="6928065" y="2887176"/>
              <a:ext cx="58878" cy="84719"/>
            </a:xfrm>
            <a:custGeom>
              <a:avLst/>
              <a:gdLst/>
              <a:ahLst/>
              <a:cxnLst>
                <a:cxn ang="0">
                  <a:pos x="45" y="12"/>
                </a:cxn>
                <a:cxn ang="0">
                  <a:pos x="33" y="0"/>
                </a:cxn>
                <a:cxn ang="0">
                  <a:pos x="17" y="35"/>
                </a:cxn>
                <a:cxn ang="0">
                  <a:pos x="0" y="45"/>
                </a:cxn>
                <a:cxn ang="0">
                  <a:pos x="0" y="61"/>
                </a:cxn>
                <a:cxn ang="0">
                  <a:pos x="17" y="51"/>
                </a:cxn>
                <a:cxn ang="0">
                  <a:pos x="45" y="12"/>
                </a:cxn>
                <a:cxn ang="0">
                  <a:pos x="45" y="12"/>
                </a:cxn>
              </a:cxnLst>
              <a:rect l="0" t="0" r="r" b="b"/>
              <a:pathLst>
                <a:path w="45" h="61">
                  <a:moveTo>
                    <a:pt x="45" y="12"/>
                  </a:moveTo>
                  <a:lnTo>
                    <a:pt x="33" y="0"/>
                  </a:lnTo>
                  <a:lnTo>
                    <a:pt x="17" y="35"/>
                  </a:lnTo>
                  <a:lnTo>
                    <a:pt x="0" y="45"/>
                  </a:lnTo>
                  <a:lnTo>
                    <a:pt x="0" y="61"/>
                  </a:lnTo>
                  <a:lnTo>
                    <a:pt x="17" y="51"/>
                  </a:lnTo>
                  <a:lnTo>
                    <a:pt x="45" y="12"/>
                  </a:lnTo>
                  <a:lnTo>
                    <a:pt x="45"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6" name="Freeform 290">
              <a:extLst>
                <a:ext uri="{FF2B5EF4-FFF2-40B4-BE49-F238E27FC236}">
                  <a16:creationId xmlns:a16="http://schemas.microsoft.com/office/drawing/2014/main" id="{83C70B32-29C8-4E3D-824C-9B728E58A326}"/>
                </a:ext>
              </a:extLst>
            </p:cNvPr>
            <p:cNvSpPr>
              <a:spLocks/>
            </p:cNvSpPr>
            <p:nvPr/>
          </p:nvSpPr>
          <p:spPr bwMode="auto">
            <a:xfrm>
              <a:off x="6979093" y="2834401"/>
              <a:ext cx="36635" cy="38887"/>
            </a:xfrm>
            <a:custGeom>
              <a:avLst/>
              <a:gdLst/>
              <a:ahLst/>
              <a:cxnLst>
                <a:cxn ang="0">
                  <a:pos x="28" y="10"/>
                </a:cxn>
                <a:cxn ang="0">
                  <a:pos x="0" y="0"/>
                </a:cxn>
                <a:cxn ang="0">
                  <a:pos x="12" y="16"/>
                </a:cxn>
                <a:cxn ang="0">
                  <a:pos x="22" y="28"/>
                </a:cxn>
                <a:cxn ang="0">
                  <a:pos x="28" y="10"/>
                </a:cxn>
                <a:cxn ang="0">
                  <a:pos x="28" y="10"/>
                </a:cxn>
              </a:cxnLst>
              <a:rect l="0" t="0" r="r" b="b"/>
              <a:pathLst>
                <a:path w="28" h="28">
                  <a:moveTo>
                    <a:pt x="28" y="10"/>
                  </a:moveTo>
                  <a:lnTo>
                    <a:pt x="0" y="0"/>
                  </a:lnTo>
                  <a:lnTo>
                    <a:pt x="12" y="16"/>
                  </a:lnTo>
                  <a:lnTo>
                    <a:pt x="22" y="28"/>
                  </a:lnTo>
                  <a:lnTo>
                    <a:pt x="28" y="10"/>
                  </a:lnTo>
                  <a:lnTo>
                    <a:pt x="28"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7" name="Freeform 291">
              <a:extLst>
                <a:ext uri="{FF2B5EF4-FFF2-40B4-BE49-F238E27FC236}">
                  <a16:creationId xmlns:a16="http://schemas.microsoft.com/office/drawing/2014/main" id="{59D21590-D53A-4F86-9F02-93AAE4F2F172}"/>
                </a:ext>
              </a:extLst>
            </p:cNvPr>
            <p:cNvSpPr>
              <a:spLocks/>
            </p:cNvSpPr>
            <p:nvPr/>
          </p:nvSpPr>
          <p:spPr bwMode="auto">
            <a:xfrm>
              <a:off x="7037970" y="2903842"/>
              <a:ext cx="28784" cy="45831"/>
            </a:xfrm>
            <a:custGeom>
              <a:avLst/>
              <a:gdLst/>
              <a:ahLst/>
              <a:cxnLst>
                <a:cxn ang="0">
                  <a:pos x="22" y="4"/>
                </a:cxn>
                <a:cxn ang="0">
                  <a:pos x="16" y="0"/>
                </a:cxn>
                <a:cxn ang="0">
                  <a:pos x="0" y="23"/>
                </a:cxn>
                <a:cxn ang="0">
                  <a:pos x="16" y="33"/>
                </a:cxn>
                <a:cxn ang="0">
                  <a:pos x="16" y="23"/>
                </a:cxn>
                <a:cxn ang="0">
                  <a:pos x="22" y="4"/>
                </a:cxn>
                <a:cxn ang="0">
                  <a:pos x="22" y="4"/>
                </a:cxn>
              </a:cxnLst>
              <a:rect l="0" t="0" r="r" b="b"/>
              <a:pathLst>
                <a:path w="22" h="33">
                  <a:moveTo>
                    <a:pt x="22" y="4"/>
                  </a:moveTo>
                  <a:lnTo>
                    <a:pt x="16" y="0"/>
                  </a:lnTo>
                  <a:lnTo>
                    <a:pt x="0" y="23"/>
                  </a:lnTo>
                  <a:lnTo>
                    <a:pt x="16" y="33"/>
                  </a:lnTo>
                  <a:lnTo>
                    <a:pt x="16" y="23"/>
                  </a:lnTo>
                  <a:lnTo>
                    <a:pt x="22" y="4"/>
                  </a:lnTo>
                  <a:lnTo>
                    <a:pt x="22" y="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8" name="Freeform 292">
              <a:extLst>
                <a:ext uri="{FF2B5EF4-FFF2-40B4-BE49-F238E27FC236}">
                  <a16:creationId xmlns:a16="http://schemas.microsoft.com/office/drawing/2014/main" id="{999E99A0-326C-4559-941E-60171ED062B4}"/>
                </a:ext>
              </a:extLst>
            </p:cNvPr>
            <p:cNvSpPr>
              <a:spLocks/>
            </p:cNvSpPr>
            <p:nvPr/>
          </p:nvSpPr>
          <p:spPr bwMode="auto">
            <a:xfrm>
              <a:off x="7015726" y="2881621"/>
              <a:ext cx="35327" cy="27777"/>
            </a:xfrm>
            <a:custGeom>
              <a:avLst/>
              <a:gdLst/>
              <a:ahLst/>
              <a:cxnLst>
                <a:cxn ang="0">
                  <a:pos x="11" y="20"/>
                </a:cxn>
                <a:cxn ang="0">
                  <a:pos x="23" y="20"/>
                </a:cxn>
                <a:cxn ang="0">
                  <a:pos x="27" y="0"/>
                </a:cxn>
                <a:cxn ang="0">
                  <a:pos x="11" y="4"/>
                </a:cxn>
                <a:cxn ang="0">
                  <a:pos x="0" y="0"/>
                </a:cxn>
                <a:cxn ang="0">
                  <a:pos x="11" y="20"/>
                </a:cxn>
                <a:cxn ang="0">
                  <a:pos x="11" y="20"/>
                </a:cxn>
              </a:cxnLst>
              <a:rect l="0" t="0" r="r" b="b"/>
              <a:pathLst>
                <a:path w="27" h="20">
                  <a:moveTo>
                    <a:pt x="11" y="20"/>
                  </a:moveTo>
                  <a:lnTo>
                    <a:pt x="23" y="20"/>
                  </a:lnTo>
                  <a:lnTo>
                    <a:pt x="27" y="0"/>
                  </a:lnTo>
                  <a:lnTo>
                    <a:pt x="11" y="4"/>
                  </a:lnTo>
                  <a:lnTo>
                    <a:pt x="0" y="0"/>
                  </a:lnTo>
                  <a:lnTo>
                    <a:pt x="11" y="20"/>
                  </a:lnTo>
                  <a:lnTo>
                    <a:pt x="11" y="2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9" name="Freeform 293">
              <a:extLst>
                <a:ext uri="{FF2B5EF4-FFF2-40B4-BE49-F238E27FC236}">
                  <a16:creationId xmlns:a16="http://schemas.microsoft.com/office/drawing/2014/main" id="{CC6EFF82-D50B-4043-94B1-E058BE5361C4}"/>
                </a:ext>
              </a:extLst>
            </p:cNvPr>
            <p:cNvSpPr>
              <a:spLocks/>
            </p:cNvSpPr>
            <p:nvPr/>
          </p:nvSpPr>
          <p:spPr bwMode="auto">
            <a:xfrm>
              <a:off x="7015726" y="2856624"/>
              <a:ext cx="22243" cy="24999"/>
            </a:xfrm>
            <a:custGeom>
              <a:avLst/>
              <a:gdLst/>
              <a:ahLst/>
              <a:cxnLst>
                <a:cxn ang="0">
                  <a:pos x="17" y="18"/>
                </a:cxn>
                <a:cxn ang="0">
                  <a:pos x="17" y="0"/>
                </a:cxn>
                <a:cxn ang="0">
                  <a:pos x="0" y="6"/>
                </a:cxn>
                <a:cxn ang="0">
                  <a:pos x="17" y="18"/>
                </a:cxn>
                <a:cxn ang="0">
                  <a:pos x="17" y="18"/>
                </a:cxn>
              </a:cxnLst>
              <a:rect l="0" t="0" r="r" b="b"/>
              <a:pathLst>
                <a:path w="17" h="18">
                  <a:moveTo>
                    <a:pt x="17" y="18"/>
                  </a:moveTo>
                  <a:lnTo>
                    <a:pt x="17" y="0"/>
                  </a:lnTo>
                  <a:lnTo>
                    <a:pt x="0" y="6"/>
                  </a:lnTo>
                  <a:lnTo>
                    <a:pt x="17" y="18"/>
                  </a:lnTo>
                  <a:lnTo>
                    <a:pt x="17" y="1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0" name="Freeform 294">
              <a:extLst>
                <a:ext uri="{FF2B5EF4-FFF2-40B4-BE49-F238E27FC236}">
                  <a16:creationId xmlns:a16="http://schemas.microsoft.com/office/drawing/2014/main" id="{36A0B9AB-55C3-4BAF-AA67-C4909753A6F0}"/>
                </a:ext>
              </a:extLst>
            </p:cNvPr>
            <p:cNvSpPr>
              <a:spLocks/>
            </p:cNvSpPr>
            <p:nvPr/>
          </p:nvSpPr>
          <p:spPr bwMode="auto">
            <a:xfrm>
              <a:off x="7051053" y="2856624"/>
              <a:ext cx="23551" cy="24999"/>
            </a:xfrm>
            <a:custGeom>
              <a:avLst/>
              <a:gdLst/>
              <a:ahLst/>
              <a:cxnLst>
                <a:cxn ang="0">
                  <a:pos x="12" y="0"/>
                </a:cxn>
                <a:cxn ang="0">
                  <a:pos x="0" y="12"/>
                </a:cxn>
                <a:cxn ang="0">
                  <a:pos x="18" y="18"/>
                </a:cxn>
                <a:cxn ang="0">
                  <a:pos x="12" y="0"/>
                </a:cxn>
                <a:cxn ang="0">
                  <a:pos x="12" y="0"/>
                </a:cxn>
              </a:cxnLst>
              <a:rect l="0" t="0" r="r" b="b"/>
              <a:pathLst>
                <a:path w="18" h="18">
                  <a:moveTo>
                    <a:pt x="12" y="0"/>
                  </a:moveTo>
                  <a:lnTo>
                    <a:pt x="0" y="12"/>
                  </a:lnTo>
                  <a:lnTo>
                    <a:pt x="18" y="18"/>
                  </a:lnTo>
                  <a:lnTo>
                    <a:pt x="12" y="0"/>
                  </a:lnTo>
                  <a:lnTo>
                    <a:pt x="1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1" name="Freeform 295">
              <a:extLst>
                <a:ext uri="{FF2B5EF4-FFF2-40B4-BE49-F238E27FC236}">
                  <a16:creationId xmlns:a16="http://schemas.microsoft.com/office/drawing/2014/main" id="{FC1D202F-B58A-4E01-AC0E-5F49F814B256}"/>
                </a:ext>
              </a:extLst>
            </p:cNvPr>
            <p:cNvSpPr>
              <a:spLocks/>
            </p:cNvSpPr>
            <p:nvPr/>
          </p:nvSpPr>
          <p:spPr bwMode="auto">
            <a:xfrm>
              <a:off x="7079838" y="2887176"/>
              <a:ext cx="15701" cy="22221"/>
            </a:xfrm>
            <a:custGeom>
              <a:avLst/>
              <a:gdLst/>
              <a:ahLst/>
              <a:cxnLst>
                <a:cxn ang="0">
                  <a:pos x="12" y="16"/>
                </a:cxn>
                <a:cxn ang="0">
                  <a:pos x="6" y="0"/>
                </a:cxn>
                <a:cxn ang="0">
                  <a:pos x="0" y="6"/>
                </a:cxn>
                <a:cxn ang="0">
                  <a:pos x="12" y="16"/>
                </a:cxn>
                <a:cxn ang="0">
                  <a:pos x="12" y="16"/>
                </a:cxn>
              </a:cxnLst>
              <a:rect l="0" t="0" r="r" b="b"/>
              <a:pathLst>
                <a:path w="12" h="16">
                  <a:moveTo>
                    <a:pt x="12" y="16"/>
                  </a:moveTo>
                  <a:lnTo>
                    <a:pt x="6" y="0"/>
                  </a:lnTo>
                  <a:lnTo>
                    <a:pt x="0" y="6"/>
                  </a:lnTo>
                  <a:lnTo>
                    <a:pt x="12" y="16"/>
                  </a:lnTo>
                  <a:lnTo>
                    <a:pt x="12"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2" name="Freeform 296">
              <a:extLst>
                <a:ext uri="{FF2B5EF4-FFF2-40B4-BE49-F238E27FC236}">
                  <a16:creationId xmlns:a16="http://schemas.microsoft.com/office/drawing/2014/main" id="{22257B2A-2F13-4B82-AABB-EAB3C58E75EF}"/>
                </a:ext>
              </a:extLst>
            </p:cNvPr>
            <p:cNvSpPr>
              <a:spLocks/>
            </p:cNvSpPr>
            <p:nvPr/>
          </p:nvSpPr>
          <p:spPr bwMode="auto">
            <a:xfrm>
              <a:off x="7087689" y="2864956"/>
              <a:ext cx="30093" cy="30555"/>
            </a:xfrm>
            <a:custGeom>
              <a:avLst/>
              <a:gdLst/>
              <a:ahLst/>
              <a:cxnLst>
                <a:cxn ang="0">
                  <a:pos x="17" y="12"/>
                </a:cxn>
                <a:cxn ang="0">
                  <a:pos x="23" y="0"/>
                </a:cxn>
                <a:cxn ang="0">
                  <a:pos x="0" y="0"/>
                </a:cxn>
                <a:cxn ang="0">
                  <a:pos x="12" y="22"/>
                </a:cxn>
                <a:cxn ang="0">
                  <a:pos x="23" y="22"/>
                </a:cxn>
                <a:cxn ang="0">
                  <a:pos x="17" y="12"/>
                </a:cxn>
                <a:cxn ang="0">
                  <a:pos x="17" y="12"/>
                </a:cxn>
              </a:cxnLst>
              <a:rect l="0" t="0" r="r" b="b"/>
              <a:pathLst>
                <a:path w="23" h="22">
                  <a:moveTo>
                    <a:pt x="17" y="12"/>
                  </a:moveTo>
                  <a:lnTo>
                    <a:pt x="23" y="0"/>
                  </a:lnTo>
                  <a:lnTo>
                    <a:pt x="0" y="0"/>
                  </a:lnTo>
                  <a:lnTo>
                    <a:pt x="12" y="22"/>
                  </a:lnTo>
                  <a:lnTo>
                    <a:pt x="23" y="22"/>
                  </a:lnTo>
                  <a:lnTo>
                    <a:pt x="17" y="12"/>
                  </a:lnTo>
                  <a:lnTo>
                    <a:pt x="17"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3" name="Freeform 297">
              <a:extLst>
                <a:ext uri="{FF2B5EF4-FFF2-40B4-BE49-F238E27FC236}">
                  <a16:creationId xmlns:a16="http://schemas.microsoft.com/office/drawing/2014/main" id="{3D8311B2-225B-400D-A1AA-379470C3EBF6}"/>
                </a:ext>
              </a:extLst>
            </p:cNvPr>
            <p:cNvSpPr>
              <a:spLocks/>
            </p:cNvSpPr>
            <p:nvPr/>
          </p:nvSpPr>
          <p:spPr bwMode="auto">
            <a:xfrm>
              <a:off x="7022269" y="2919120"/>
              <a:ext cx="132148" cy="115272"/>
            </a:xfrm>
            <a:custGeom>
              <a:avLst/>
              <a:gdLst/>
              <a:ahLst/>
              <a:cxnLst>
                <a:cxn ang="0">
                  <a:pos x="50" y="32"/>
                </a:cxn>
                <a:cxn ang="0">
                  <a:pos x="44" y="28"/>
                </a:cxn>
                <a:cxn ang="0">
                  <a:pos x="34" y="28"/>
                </a:cxn>
                <a:cxn ang="0">
                  <a:pos x="12" y="44"/>
                </a:cxn>
                <a:cxn ang="0">
                  <a:pos x="12" y="60"/>
                </a:cxn>
                <a:cxn ang="0">
                  <a:pos x="0" y="67"/>
                </a:cxn>
                <a:cxn ang="0">
                  <a:pos x="12" y="77"/>
                </a:cxn>
                <a:cxn ang="0">
                  <a:pos x="22" y="83"/>
                </a:cxn>
                <a:cxn ang="0">
                  <a:pos x="22" y="50"/>
                </a:cxn>
                <a:cxn ang="0">
                  <a:pos x="50" y="50"/>
                </a:cxn>
                <a:cxn ang="0">
                  <a:pos x="44" y="67"/>
                </a:cxn>
                <a:cxn ang="0">
                  <a:pos x="62" y="83"/>
                </a:cxn>
                <a:cxn ang="0">
                  <a:pos x="79" y="83"/>
                </a:cxn>
                <a:cxn ang="0">
                  <a:pos x="73" y="60"/>
                </a:cxn>
                <a:cxn ang="0">
                  <a:pos x="85" y="60"/>
                </a:cxn>
                <a:cxn ang="0">
                  <a:pos x="89" y="77"/>
                </a:cxn>
                <a:cxn ang="0">
                  <a:pos x="101" y="60"/>
                </a:cxn>
                <a:cxn ang="0">
                  <a:pos x="89" y="32"/>
                </a:cxn>
                <a:cxn ang="0">
                  <a:pos x="89" y="22"/>
                </a:cxn>
                <a:cxn ang="0">
                  <a:pos x="79" y="0"/>
                </a:cxn>
                <a:cxn ang="0">
                  <a:pos x="62" y="32"/>
                </a:cxn>
                <a:cxn ang="0">
                  <a:pos x="50" y="32"/>
                </a:cxn>
                <a:cxn ang="0">
                  <a:pos x="50" y="32"/>
                </a:cxn>
              </a:cxnLst>
              <a:rect l="0" t="0" r="r" b="b"/>
              <a:pathLst>
                <a:path w="101" h="83">
                  <a:moveTo>
                    <a:pt x="50" y="32"/>
                  </a:moveTo>
                  <a:lnTo>
                    <a:pt x="44" y="28"/>
                  </a:lnTo>
                  <a:lnTo>
                    <a:pt x="34" y="28"/>
                  </a:lnTo>
                  <a:lnTo>
                    <a:pt x="12" y="44"/>
                  </a:lnTo>
                  <a:lnTo>
                    <a:pt x="12" y="60"/>
                  </a:lnTo>
                  <a:lnTo>
                    <a:pt x="0" y="67"/>
                  </a:lnTo>
                  <a:lnTo>
                    <a:pt x="12" y="77"/>
                  </a:lnTo>
                  <a:lnTo>
                    <a:pt x="22" y="83"/>
                  </a:lnTo>
                  <a:lnTo>
                    <a:pt x="22" y="50"/>
                  </a:lnTo>
                  <a:lnTo>
                    <a:pt x="50" y="50"/>
                  </a:lnTo>
                  <a:lnTo>
                    <a:pt x="44" y="67"/>
                  </a:lnTo>
                  <a:lnTo>
                    <a:pt x="62" y="83"/>
                  </a:lnTo>
                  <a:lnTo>
                    <a:pt x="79" y="83"/>
                  </a:lnTo>
                  <a:lnTo>
                    <a:pt x="73" y="60"/>
                  </a:lnTo>
                  <a:lnTo>
                    <a:pt x="85" y="60"/>
                  </a:lnTo>
                  <a:lnTo>
                    <a:pt x="89" y="77"/>
                  </a:lnTo>
                  <a:lnTo>
                    <a:pt x="101" y="60"/>
                  </a:lnTo>
                  <a:lnTo>
                    <a:pt x="89" y="32"/>
                  </a:lnTo>
                  <a:lnTo>
                    <a:pt x="89" y="22"/>
                  </a:lnTo>
                  <a:lnTo>
                    <a:pt x="79" y="0"/>
                  </a:lnTo>
                  <a:lnTo>
                    <a:pt x="62" y="32"/>
                  </a:lnTo>
                  <a:lnTo>
                    <a:pt x="50" y="32"/>
                  </a:lnTo>
                  <a:lnTo>
                    <a:pt x="50" y="3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4" name="Freeform 298">
              <a:extLst>
                <a:ext uri="{FF2B5EF4-FFF2-40B4-BE49-F238E27FC236}">
                  <a16:creationId xmlns:a16="http://schemas.microsoft.com/office/drawing/2014/main" id="{4C7D88EF-A479-448A-949D-FDF48844D881}"/>
                </a:ext>
              </a:extLst>
            </p:cNvPr>
            <p:cNvSpPr>
              <a:spLocks/>
            </p:cNvSpPr>
            <p:nvPr/>
          </p:nvSpPr>
          <p:spPr bwMode="auto">
            <a:xfrm>
              <a:off x="7074604" y="2919120"/>
              <a:ext cx="20934" cy="22221"/>
            </a:xfrm>
            <a:custGeom>
              <a:avLst/>
              <a:gdLst/>
              <a:ahLst/>
              <a:cxnLst>
                <a:cxn ang="0">
                  <a:pos x="16" y="12"/>
                </a:cxn>
                <a:cxn ang="0">
                  <a:pos x="10" y="0"/>
                </a:cxn>
                <a:cxn ang="0">
                  <a:pos x="0" y="16"/>
                </a:cxn>
                <a:cxn ang="0">
                  <a:pos x="16" y="12"/>
                </a:cxn>
                <a:cxn ang="0">
                  <a:pos x="16" y="12"/>
                </a:cxn>
              </a:cxnLst>
              <a:rect l="0" t="0" r="r" b="b"/>
              <a:pathLst>
                <a:path w="16" h="16">
                  <a:moveTo>
                    <a:pt x="16" y="12"/>
                  </a:moveTo>
                  <a:lnTo>
                    <a:pt x="10" y="0"/>
                  </a:lnTo>
                  <a:lnTo>
                    <a:pt x="0" y="16"/>
                  </a:lnTo>
                  <a:lnTo>
                    <a:pt x="16" y="12"/>
                  </a:lnTo>
                  <a:lnTo>
                    <a:pt x="16"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5" name="Freeform 299">
              <a:extLst>
                <a:ext uri="{FF2B5EF4-FFF2-40B4-BE49-F238E27FC236}">
                  <a16:creationId xmlns:a16="http://schemas.microsoft.com/office/drawing/2014/main" id="{C65909A9-6934-4147-B7A1-EEE4939A4F96}"/>
                </a:ext>
              </a:extLst>
            </p:cNvPr>
            <p:cNvSpPr>
              <a:spLocks/>
            </p:cNvSpPr>
            <p:nvPr/>
          </p:nvSpPr>
          <p:spPr bwMode="auto">
            <a:xfrm>
              <a:off x="7000025" y="3026059"/>
              <a:ext cx="22243" cy="30555"/>
            </a:xfrm>
            <a:custGeom>
              <a:avLst/>
              <a:gdLst/>
              <a:ahLst/>
              <a:cxnLst>
                <a:cxn ang="0">
                  <a:pos x="17" y="18"/>
                </a:cxn>
                <a:cxn ang="0">
                  <a:pos x="17" y="0"/>
                </a:cxn>
                <a:cxn ang="0">
                  <a:pos x="0" y="0"/>
                </a:cxn>
                <a:cxn ang="0">
                  <a:pos x="12" y="22"/>
                </a:cxn>
                <a:cxn ang="0">
                  <a:pos x="17" y="18"/>
                </a:cxn>
                <a:cxn ang="0">
                  <a:pos x="17" y="18"/>
                </a:cxn>
              </a:cxnLst>
              <a:rect l="0" t="0" r="r" b="b"/>
              <a:pathLst>
                <a:path w="17" h="22">
                  <a:moveTo>
                    <a:pt x="17" y="18"/>
                  </a:moveTo>
                  <a:lnTo>
                    <a:pt x="17" y="0"/>
                  </a:lnTo>
                  <a:lnTo>
                    <a:pt x="0" y="0"/>
                  </a:lnTo>
                  <a:lnTo>
                    <a:pt x="12" y="22"/>
                  </a:lnTo>
                  <a:lnTo>
                    <a:pt x="17" y="18"/>
                  </a:lnTo>
                  <a:lnTo>
                    <a:pt x="17" y="1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6" name="Freeform 300">
              <a:extLst>
                <a:ext uri="{FF2B5EF4-FFF2-40B4-BE49-F238E27FC236}">
                  <a16:creationId xmlns:a16="http://schemas.microsoft.com/office/drawing/2014/main" id="{00A8EDEC-50A8-4266-8BBA-7B2B70F40DB9}"/>
                </a:ext>
              </a:extLst>
            </p:cNvPr>
            <p:cNvSpPr>
              <a:spLocks/>
            </p:cNvSpPr>
            <p:nvPr/>
          </p:nvSpPr>
          <p:spPr bwMode="auto">
            <a:xfrm>
              <a:off x="7481515" y="3259383"/>
              <a:ext cx="239435" cy="218045"/>
            </a:xfrm>
            <a:custGeom>
              <a:avLst/>
              <a:gdLst/>
              <a:ahLst/>
              <a:cxnLst>
                <a:cxn ang="0">
                  <a:pos x="89" y="51"/>
                </a:cxn>
                <a:cxn ang="0">
                  <a:pos x="89" y="39"/>
                </a:cxn>
                <a:cxn ang="0">
                  <a:pos x="51" y="10"/>
                </a:cxn>
                <a:cxn ang="0">
                  <a:pos x="6" y="0"/>
                </a:cxn>
                <a:cxn ang="0">
                  <a:pos x="6" y="61"/>
                </a:cxn>
                <a:cxn ang="0">
                  <a:pos x="0" y="73"/>
                </a:cxn>
                <a:cxn ang="0">
                  <a:pos x="6" y="84"/>
                </a:cxn>
                <a:cxn ang="0">
                  <a:pos x="6" y="128"/>
                </a:cxn>
                <a:cxn ang="0">
                  <a:pos x="28" y="122"/>
                </a:cxn>
                <a:cxn ang="0">
                  <a:pos x="32" y="128"/>
                </a:cxn>
                <a:cxn ang="0">
                  <a:pos x="44" y="118"/>
                </a:cxn>
                <a:cxn ang="0">
                  <a:pos x="32" y="112"/>
                </a:cxn>
                <a:cxn ang="0">
                  <a:pos x="51" y="100"/>
                </a:cxn>
                <a:cxn ang="0">
                  <a:pos x="73" y="100"/>
                </a:cxn>
                <a:cxn ang="0">
                  <a:pos x="111" y="134"/>
                </a:cxn>
                <a:cxn ang="0">
                  <a:pos x="150" y="157"/>
                </a:cxn>
                <a:cxn ang="0">
                  <a:pos x="166" y="151"/>
                </a:cxn>
                <a:cxn ang="0">
                  <a:pos x="183" y="151"/>
                </a:cxn>
                <a:cxn ang="0">
                  <a:pos x="178" y="144"/>
                </a:cxn>
                <a:cxn ang="0">
                  <a:pos x="160" y="138"/>
                </a:cxn>
                <a:cxn ang="0">
                  <a:pos x="150" y="128"/>
                </a:cxn>
                <a:cxn ang="0">
                  <a:pos x="134" y="118"/>
                </a:cxn>
                <a:cxn ang="0">
                  <a:pos x="111" y="96"/>
                </a:cxn>
                <a:cxn ang="0">
                  <a:pos x="116" y="73"/>
                </a:cxn>
                <a:cxn ang="0">
                  <a:pos x="89" y="51"/>
                </a:cxn>
                <a:cxn ang="0">
                  <a:pos x="89" y="51"/>
                </a:cxn>
              </a:cxnLst>
              <a:rect l="0" t="0" r="r" b="b"/>
              <a:pathLst>
                <a:path w="183" h="157">
                  <a:moveTo>
                    <a:pt x="89" y="51"/>
                  </a:moveTo>
                  <a:lnTo>
                    <a:pt x="89" y="39"/>
                  </a:lnTo>
                  <a:lnTo>
                    <a:pt x="51" y="10"/>
                  </a:lnTo>
                  <a:lnTo>
                    <a:pt x="6" y="0"/>
                  </a:lnTo>
                  <a:lnTo>
                    <a:pt x="6" y="61"/>
                  </a:lnTo>
                  <a:lnTo>
                    <a:pt x="0" y="73"/>
                  </a:lnTo>
                  <a:lnTo>
                    <a:pt x="6" y="84"/>
                  </a:lnTo>
                  <a:lnTo>
                    <a:pt x="6" y="128"/>
                  </a:lnTo>
                  <a:lnTo>
                    <a:pt x="28" y="122"/>
                  </a:lnTo>
                  <a:lnTo>
                    <a:pt x="32" y="128"/>
                  </a:lnTo>
                  <a:lnTo>
                    <a:pt x="44" y="118"/>
                  </a:lnTo>
                  <a:lnTo>
                    <a:pt x="32" y="112"/>
                  </a:lnTo>
                  <a:lnTo>
                    <a:pt x="51" y="100"/>
                  </a:lnTo>
                  <a:lnTo>
                    <a:pt x="73" y="100"/>
                  </a:lnTo>
                  <a:lnTo>
                    <a:pt x="111" y="134"/>
                  </a:lnTo>
                  <a:lnTo>
                    <a:pt x="150" y="157"/>
                  </a:lnTo>
                  <a:lnTo>
                    <a:pt x="166" y="151"/>
                  </a:lnTo>
                  <a:lnTo>
                    <a:pt x="183" y="151"/>
                  </a:lnTo>
                  <a:lnTo>
                    <a:pt x="178" y="144"/>
                  </a:lnTo>
                  <a:lnTo>
                    <a:pt x="160" y="138"/>
                  </a:lnTo>
                  <a:lnTo>
                    <a:pt x="150" y="128"/>
                  </a:lnTo>
                  <a:lnTo>
                    <a:pt x="134" y="118"/>
                  </a:lnTo>
                  <a:lnTo>
                    <a:pt x="111" y="96"/>
                  </a:lnTo>
                  <a:lnTo>
                    <a:pt x="116" y="73"/>
                  </a:lnTo>
                  <a:lnTo>
                    <a:pt x="89" y="51"/>
                  </a:lnTo>
                  <a:lnTo>
                    <a:pt x="89" y="51"/>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7" name="Freeform 301">
              <a:extLst>
                <a:ext uri="{FF2B5EF4-FFF2-40B4-BE49-F238E27FC236}">
                  <a16:creationId xmlns:a16="http://schemas.microsoft.com/office/drawing/2014/main" id="{377D688B-536C-4125-B153-6222A16B2BDB}"/>
                </a:ext>
              </a:extLst>
            </p:cNvPr>
            <p:cNvSpPr>
              <a:spLocks/>
            </p:cNvSpPr>
            <p:nvPr/>
          </p:nvSpPr>
          <p:spPr bwMode="auto">
            <a:xfrm>
              <a:off x="7938142" y="4103787"/>
              <a:ext cx="154391" cy="194436"/>
            </a:xfrm>
            <a:custGeom>
              <a:avLst/>
              <a:gdLst/>
              <a:ahLst/>
              <a:cxnLst>
                <a:cxn ang="0">
                  <a:pos x="73" y="44"/>
                </a:cxn>
                <a:cxn ang="0">
                  <a:pos x="63" y="40"/>
                </a:cxn>
                <a:cxn ang="0">
                  <a:pos x="73" y="28"/>
                </a:cxn>
                <a:cxn ang="0">
                  <a:pos x="51" y="0"/>
                </a:cxn>
                <a:cxn ang="0">
                  <a:pos x="45" y="12"/>
                </a:cxn>
                <a:cxn ang="0">
                  <a:pos x="57" y="24"/>
                </a:cxn>
                <a:cxn ang="0">
                  <a:pos x="51" y="44"/>
                </a:cxn>
                <a:cxn ang="0">
                  <a:pos x="51" y="62"/>
                </a:cxn>
                <a:cxn ang="0">
                  <a:pos x="28" y="91"/>
                </a:cxn>
                <a:cxn ang="0">
                  <a:pos x="12" y="91"/>
                </a:cxn>
                <a:cxn ang="0">
                  <a:pos x="6" y="101"/>
                </a:cxn>
                <a:cxn ang="0">
                  <a:pos x="22" y="101"/>
                </a:cxn>
                <a:cxn ang="0">
                  <a:pos x="22" y="117"/>
                </a:cxn>
                <a:cxn ang="0">
                  <a:pos x="0" y="123"/>
                </a:cxn>
                <a:cxn ang="0">
                  <a:pos x="0" y="140"/>
                </a:cxn>
                <a:cxn ang="0">
                  <a:pos x="35" y="129"/>
                </a:cxn>
                <a:cxn ang="0">
                  <a:pos x="57" y="101"/>
                </a:cxn>
                <a:cxn ang="0">
                  <a:pos x="102" y="91"/>
                </a:cxn>
                <a:cxn ang="0">
                  <a:pos x="118" y="67"/>
                </a:cxn>
                <a:cxn ang="0">
                  <a:pos x="95" y="67"/>
                </a:cxn>
                <a:cxn ang="0">
                  <a:pos x="73" y="44"/>
                </a:cxn>
                <a:cxn ang="0">
                  <a:pos x="73" y="44"/>
                </a:cxn>
              </a:cxnLst>
              <a:rect l="0" t="0" r="r" b="b"/>
              <a:pathLst>
                <a:path w="118" h="140">
                  <a:moveTo>
                    <a:pt x="73" y="44"/>
                  </a:moveTo>
                  <a:lnTo>
                    <a:pt x="63" y="40"/>
                  </a:lnTo>
                  <a:lnTo>
                    <a:pt x="73" y="28"/>
                  </a:lnTo>
                  <a:lnTo>
                    <a:pt x="51" y="0"/>
                  </a:lnTo>
                  <a:lnTo>
                    <a:pt x="45" y="12"/>
                  </a:lnTo>
                  <a:lnTo>
                    <a:pt x="57" y="24"/>
                  </a:lnTo>
                  <a:lnTo>
                    <a:pt x="51" y="44"/>
                  </a:lnTo>
                  <a:lnTo>
                    <a:pt x="51" y="62"/>
                  </a:lnTo>
                  <a:lnTo>
                    <a:pt x="28" y="91"/>
                  </a:lnTo>
                  <a:lnTo>
                    <a:pt x="12" y="91"/>
                  </a:lnTo>
                  <a:lnTo>
                    <a:pt x="6" y="101"/>
                  </a:lnTo>
                  <a:lnTo>
                    <a:pt x="22" y="101"/>
                  </a:lnTo>
                  <a:lnTo>
                    <a:pt x="22" y="117"/>
                  </a:lnTo>
                  <a:lnTo>
                    <a:pt x="0" y="123"/>
                  </a:lnTo>
                  <a:lnTo>
                    <a:pt x="0" y="140"/>
                  </a:lnTo>
                  <a:lnTo>
                    <a:pt x="35" y="129"/>
                  </a:lnTo>
                  <a:lnTo>
                    <a:pt x="57" y="101"/>
                  </a:lnTo>
                  <a:lnTo>
                    <a:pt x="102" y="91"/>
                  </a:lnTo>
                  <a:lnTo>
                    <a:pt x="118" y="67"/>
                  </a:lnTo>
                  <a:lnTo>
                    <a:pt x="95" y="67"/>
                  </a:lnTo>
                  <a:lnTo>
                    <a:pt x="73" y="44"/>
                  </a:lnTo>
                  <a:lnTo>
                    <a:pt x="73" y="4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8" name="Freeform 302">
              <a:extLst>
                <a:ext uri="{FF2B5EF4-FFF2-40B4-BE49-F238E27FC236}">
                  <a16:creationId xmlns:a16="http://schemas.microsoft.com/office/drawing/2014/main" id="{4E525580-44F8-4D56-8460-828A1789A917}"/>
                </a:ext>
              </a:extLst>
            </p:cNvPr>
            <p:cNvSpPr>
              <a:spLocks/>
            </p:cNvSpPr>
            <p:nvPr/>
          </p:nvSpPr>
          <p:spPr bwMode="auto">
            <a:xfrm>
              <a:off x="7669922" y="4266277"/>
              <a:ext cx="247286" cy="155548"/>
            </a:xfrm>
            <a:custGeom>
              <a:avLst/>
              <a:gdLst/>
              <a:ahLst/>
              <a:cxnLst>
                <a:cxn ang="0">
                  <a:pos x="189" y="12"/>
                </a:cxn>
                <a:cxn ang="0">
                  <a:pos x="177" y="6"/>
                </a:cxn>
                <a:cxn ang="0">
                  <a:pos x="173" y="0"/>
                </a:cxn>
                <a:cxn ang="0">
                  <a:pos x="150" y="23"/>
                </a:cxn>
                <a:cxn ang="0">
                  <a:pos x="116" y="45"/>
                </a:cxn>
                <a:cxn ang="0">
                  <a:pos x="67" y="61"/>
                </a:cxn>
                <a:cxn ang="0">
                  <a:pos x="39" y="80"/>
                </a:cxn>
                <a:cxn ang="0">
                  <a:pos x="22" y="84"/>
                </a:cxn>
                <a:cxn ang="0">
                  <a:pos x="0" y="96"/>
                </a:cxn>
                <a:cxn ang="0">
                  <a:pos x="0" y="106"/>
                </a:cxn>
                <a:cxn ang="0">
                  <a:pos x="22" y="112"/>
                </a:cxn>
                <a:cxn ang="0">
                  <a:pos x="61" y="106"/>
                </a:cxn>
                <a:cxn ang="0">
                  <a:pos x="99" y="67"/>
                </a:cxn>
                <a:cxn ang="0">
                  <a:pos x="128" y="67"/>
                </a:cxn>
                <a:cxn ang="0">
                  <a:pos x="134" y="57"/>
                </a:cxn>
                <a:cxn ang="0">
                  <a:pos x="156" y="51"/>
                </a:cxn>
                <a:cxn ang="0">
                  <a:pos x="189" y="12"/>
                </a:cxn>
                <a:cxn ang="0">
                  <a:pos x="189" y="12"/>
                </a:cxn>
              </a:cxnLst>
              <a:rect l="0" t="0" r="r" b="b"/>
              <a:pathLst>
                <a:path w="189" h="112">
                  <a:moveTo>
                    <a:pt x="189" y="12"/>
                  </a:moveTo>
                  <a:lnTo>
                    <a:pt x="177" y="6"/>
                  </a:lnTo>
                  <a:lnTo>
                    <a:pt x="173" y="0"/>
                  </a:lnTo>
                  <a:lnTo>
                    <a:pt x="150" y="23"/>
                  </a:lnTo>
                  <a:lnTo>
                    <a:pt x="116" y="45"/>
                  </a:lnTo>
                  <a:lnTo>
                    <a:pt x="67" y="61"/>
                  </a:lnTo>
                  <a:lnTo>
                    <a:pt x="39" y="80"/>
                  </a:lnTo>
                  <a:lnTo>
                    <a:pt x="22" y="84"/>
                  </a:lnTo>
                  <a:lnTo>
                    <a:pt x="0" y="96"/>
                  </a:lnTo>
                  <a:lnTo>
                    <a:pt x="0" y="106"/>
                  </a:lnTo>
                  <a:lnTo>
                    <a:pt x="22" y="112"/>
                  </a:lnTo>
                  <a:lnTo>
                    <a:pt x="61" y="106"/>
                  </a:lnTo>
                  <a:lnTo>
                    <a:pt x="99" y="67"/>
                  </a:lnTo>
                  <a:lnTo>
                    <a:pt x="128" y="67"/>
                  </a:lnTo>
                  <a:lnTo>
                    <a:pt x="134" y="57"/>
                  </a:lnTo>
                  <a:lnTo>
                    <a:pt x="156" y="51"/>
                  </a:lnTo>
                  <a:lnTo>
                    <a:pt x="189" y="12"/>
                  </a:lnTo>
                  <a:lnTo>
                    <a:pt x="189"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9" name="Freeform 303">
              <a:extLst>
                <a:ext uri="{FF2B5EF4-FFF2-40B4-BE49-F238E27FC236}">
                  <a16:creationId xmlns:a16="http://schemas.microsoft.com/office/drawing/2014/main" id="{21FD04AC-8F7A-485C-9FA7-E040FA54ED4C}"/>
                </a:ext>
              </a:extLst>
            </p:cNvPr>
            <p:cNvSpPr>
              <a:spLocks/>
            </p:cNvSpPr>
            <p:nvPr/>
          </p:nvSpPr>
          <p:spPr bwMode="auto">
            <a:xfrm>
              <a:off x="7940759" y="3685750"/>
              <a:ext cx="79812" cy="115272"/>
            </a:xfrm>
            <a:custGeom>
              <a:avLst/>
              <a:gdLst/>
              <a:ahLst/>
              <a:cxnLst>
                <a:cxn ang="0">
                  <a:pos x="4" y="0"/>
                </a:cxn>
                <a:cxn ang="0">
                  <a:pos x="0" y="10"/>
                </a:cxn>
                <a:cxn ang="0">
                  <a:pos x="4" y="32"/>
                </a:cxn>
                <a:cxn ang="0">
                  <a:pos x="49" y="83"/>
                </a:cxn>
                <a:cxn ang="0">
                  <a:pos x="61" y="73"/>
                </a:cxn>
                <a:cxn ang="0">
                  <a:pos x="43" y="51"/>
                </a:cxn>
                <a:cxn ang="0">
                  <a:pos x="20" y="32"/>
                </a:cxn>
                <a:cxn ang="0">
                  <a:pos x="16" y="10"/>
                </a:cxn>
                <a:cxn ang="0">
                  <a:pos x="4" y="0"/>
                </a:cxn>
                <a:cxn ang="0">
                  <a:pos x="4" y="0"/>
                </a:cxn>
              </a:cxnLst>
              <a:rect l="0" t="0" r="r" b="b"/>
              <a:pathLst>
                <a:path w="61" h="83">
                  <a:moveTo>
                    <a:pt x="4" y="0"/>
                  </a:moveTo>
                  <a:lnTo>
                    <a:pt x="0" y="10"/>
                  </a:lnTo>
                  <a:lnTo>
                    <a:pt x="4" y="32"/>
                  </a:lnTo>
                  <a:lnTo>
                    <a:pt x="49" y="83"/>
                  </a:lnTo>
                  <a:lnTo>
                    <a:pt x="61" y="73"/>
                  </a:lnTo>
                  <a:lnTo>
                    <a:pt x="43" y="51"/>
                  </a:lnTo>
                  <a:lnTo>
                    <a:pt x="20" y="32"/>
                  </a:lnTo>
                  <a:lnTo>
                    <a:pt x="16" y="10"/>
                  </a:lnTo>
                  <a:lnTo>
                    <a:pt x="4" y="0"/>
                  </a:lnTo>
                  <a:lnTo>
                    <a:pt x="4"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00" name="Freeform 304">
              <a:extLst>
                <a:ext uri="{FF2B5EF4-FFF2-40B4-BE49-F238E27FC236}">
                  <a16:creationId xmlns:a16="http://schemas.microsoft.com/office/drawing/2014/main" id="{D6D6A574-8FA8-4082-92E5-63195E0D9DD1}"/>
                </a:ext>
              </a:extLst>
            </p:cNvPr>
            <p:cNvSpPr>
              <a:spLocks/>
            </p:cNvSpPr>
            <p:nvPr/>
          </p:nvSpPr>
          <p:spPr bwMode="auto">
            <a:xfrm>
              <a:off x="6886197" y="2044162"/>
              <a:ext cx="100746" cy="152771"/>
            </a:xfrm>
            <a:custGeom>
              <a:avLst/>
              <a:gdLst/>
              <a:ahLst/>
              <a:cxnLst>
                <a:cxn ang="0">
                  <a:pos x="71" y="22"/>
                </a:cxn>
                <a:cxn ang="0">
                  <a:pos x="65" y="16"/>
                </a:cxn>
                <a:cxn ang="0">
                  <a:pos x="77" y="10"/>
                </a:cxn>
                <a:cxn ang="0">
                  <a:pos x="71" y="0"/>
                </a:cxn>
                <a:cxn ang="0">
                  <a:pos x="55" y="10"/>
                </a:cxn>
                <a:cxn ang="0">
                  <a:pos x="43" y="26"/>
                </a:cxn>
                <a:cxn ang="0">
                  <a:pos x="20" y="39"/>
                </a:cxn>
                <a:cxn ang="0">
                  <a:pos x="0" y="61"/>
                </a:cxn>
                <a:cxn ang="0">
                  <a:pos x="16" y="83"/>
                </a:cxn>
                <a:cxn ang="0">
                  <a:pos x="10" y="93"/>
                </a:cxn>
                <a:cxn ang="0">
                  <a:pos x="49" y="110"/>
                </a:cxn>
                <a:cxn ang="0">
                  <a:pos x="61" y="100"/>
                </a:cxn>
                <a:cxn ang="0">
                  <a:pos x="77" y="93"/>
                </a:cxn>
                <a:cxn ang="0">
                  <a:pos x="65" y="77"/>
                </a:cxn>
                <a:cxn ang="0">
                  <a:pos x="49" y="71"/>
                </a:cxn>
                <a:cxn ang="0">
                  <a:pos x="49" y="61"/>
                </a:cxn>
                <a:cxn ang="0">
                  <a:pos x="65" y="55"/>
                </a:cxn>
                <a:cxn ang="0">
                  <a:pos x="65" y="43"/>
                </a:cxn>
                <a:cxn ang="0">
                  <a:pos x="61" y="39"/>
                </a:cxn>
                <a:cxn ang="0">
                  <a:pos x="61" y="26"/>
                </a:cxn>
                <a:cxn ang="0">
                  <a:pos x="71" y="22"/>
                </a:cxn>
                <a:cxn ang="0">
                  <a:pos x="71" y="22"/>
                </a:cxn>
              </a:cxnLst>
              <a:rect l="0" t="0" r="r" b="b"/>
              <a:pathLst>
                <a:path w="77" h="110">
                  <a:moveTo>
                    <a:pt x="71" y="22"/>
                  </a:moveTo>
                  <a:lnTo>
                    <a:pt x="65" y="16"/>
                  </a:lnTo>
                  <a:lnTo>
                    <a:pt x="77" y="10"/>
                  </a:lnTo>
                  <a:lnTo>
                    <a:pt x="71" y="0"/>
                  </a:lnTo>
                  <a:lnTo>
                    <a:pt x="55" y="10"/>
                  </a:lnTo>
                  <a:lnTo>
                    <a:pt x="43" y="26"/>
                  </a:lnTo>
                  <a:lnTo>
                    <a:pt x="20" y="39"/>
                  </a:lnTo>
                  <a:lnTo>
                    <a:pt x="0" y="61"/>
                  </a:lnTo>
                  <a:lnTo>
                    <a:pt x="16" y="83"/>
                  </a:lnTo>
                  <a:lnTo>
                    <a:pt x="10" y="93"/>
                  </a:lnTo>
                  <a:lnTo>
                    <a:pt x="49" y="110"/>
                  </a:lnTo>
                  <a:lnTo>
                    <a:pt x="61" y="100"/>
                  </a:lnTo>
                  <a:lnTo>
                    <a:pt x="77" y="93"/>
                  </a:lnTo>
                  <a:lnTo>
                    <a:pt x="65" y="77"/>
                  </a:lnTo>
                  <a:lnTo>
                    <a:pt x="49" y="71"/>
                  </a:lnTo>
                  <a:lnTo>
                    <a:pt x="49" y="61"/>
                  </a:lnTo>
                  <a:lnTo>
                    <a:pt x="65" y="55"/>
                  </a:lnTo>
                  <a:lnTo>
                    <a:pt x="65" y="43"/>
                  </a:lnTo>
                  <a:lnTo>
                    <a:pt x="61" y="39"/>
                  </a:lnTo>
                  <a:lnTo>
                    <a:pt x="61" y="26"/>
                  </a:lnTo>
                  <a:lnTo>
                    <a:pt x="71" y="22"/>
                  </a:lnTo>
                  <a:lnTo>
                    <a:pt x="71"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01" name="Freeform 305">
              <a:extLst>
                <a:ext uri="{FF2B5EF4-FFF2-40B4-BE49-F238E27FC236}">
                  <a16:creationId xmlns:a16="http://schemas.microsoft.com/office/drawing/2014/main" id="{03D69042-6BDC-4282-80EF-34817932D825}"/>
                </a:ext>
              </a:extLst>
            </p:cNvPr>
            <p:cNvSpPr>
              <a:spLocks/>
            </p:cNvSpPr>
            <p:nvPr/>
          </p:nvSpPr>
          <p:spPr bwMode="auto">
            <a:xfrm>
              <a:off x="6950308" y="2173323"/>
              <a:ext cx="79812" cy="111106"/>
            </a:xfrm>
            <a:custGeom>
              <a:avLst/>
              <a:gdLst/>
              <a:ahLst/>
              <a:cxnLst>
                <a:cxn ang="0">
                  <a:pos x="12" y="7"/>
                </a:cxn>
                <a:cxn ang="0">
                  <a:pos x="0" y="17"/>
                </a:cxn>
                <a:cxn ang="0">
                  <a:pos x="0" y="29"/>
                </a:cxn>
                <a:cxn ang="0">
                  <a:pos x="22" y="45"/>
                </a:cxn>
                <a:cxn ang="0">
                  <a:pos x="22" y="74"/>
                </a:cxn>
                <a:cxn ang="0">
                  <a:pos x="34" y="80"/>
                </a:cxn>
                <a:cxn ang="0">
                  <a:pos x="38" y="74"/>
                </a:cxn>
                <a:cxn ang="0">
                  <a:pos x="55" y="74"/>
                </a:cxn>
                <a:cxn ang="0">
                  <a:pos x="61" y="63"/>
                </a:cxn>
                <a:cxn ang="0">
                  <a:pos x="55" y="23"/>
                </a:cxn>
                <a:cxn ang="0">
                  <a:pos x="44" y="17"/>
                </a:cxn>
                <a:cxn ang="0">
                  <a:pos x="28" y="0"/>
                </a:cxn>
                <a:cxn ang="0">
                  <a:pos x="12" y="7"/>
                </a:cxn>
                <a:cxn ang="0">
                  <a:pos x="12" y="7"/>
                </a:cxn>
              </a:cxnLst>
              <a:rect l="0" t="0" r="r" b="b"/>
              <a:pathLst>
                <a:path w="61" h="80">
                  <a:moveTo>
                    <a:pt x="12" y="7"/>
                  </a:moveTo>
                  <a:lnTo>
                    <a:pt x="0" y="17"/>
                  </a:lnTo>
                  <a:lnTo>
                    <a:pt x="0" y="29"/>
                  </a:lnTo>
                  <a:lnTo>
                    <a:pt x="22" y="45"/>
                  </a:lnTo>
                  <a:lnTo>
                    <a:pt x="22" y="74"/>
                  </a:lnTo>
                  <a:lnTo>
                    <a:pt x="34" y="80"/>
                  </a:lnTo>
                  <a:lnTo>
                    <a:pt x="38" y="74"/>
                  </a:lnTo>
                  <a:lnTo>
                    <a:pt x="55" y="74"/>
                  </a:lnTo>
                  <a:lnTo>
                    <a:pt x="61" y="63"/>
                  </a:lnTo>
                  <a:lnTo>
                    <a:pt x="55" y="23"/>
                  </a:lnTo>
                  <a:lnTo>
                    <a:pt x="44" y="17"/>
                  </a:lnTo>
                  <a:lnTo>
                    <a:pt x="28" y="0"/>
                  </a:lnTo>
                  <a:lnTo>
                    <a:pt x="12" y="7"/>
                  </a:lnTo>
                  <a:lnTo>
                    <a:pt x="12" y="7"/>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02" name="Freeform 306">
              <a:extLst>
                <a:ext uri="{FF2B5EF4-FFF2-40B4-BE49-F238E27FC236}">
                  <a16:creationId xmlns:a16="http://schemas.microsoft.com/office/drawing/2014/main" id="{DA32DD4C-1643-4AA3-874C-6CE866BADD47}"/>
                </a:ext>
              </a:extLst>
            </p:cNvPr>
            <p:cNvSpPr>
              <a:spLocks/>
            </p:cNvSpPr>
            <p:nvPr/>
          </p:nvSpPr>
          <p:spPr bwMode="auto">
            <a:xfrm>
              <a:off x="7000024" y="2298316"/>
              <a:ext cx="15701" cy="16666"/>
            </a:xfrm>
            <a:custGeom>
              <a:avLst/>
              <a:gdLst/>
              <a:ahLst/>
              <a:cxnLst>
                <a:cxn ang="0">
                  <a:pos x="0" y="0"/>
                </a:cxn>
                <a:cxn ang="0">
                  <a:pos x="0" y="12"/>
                </a:cxn>
                <a:cxn ang="0">
                  <a:pos x="12" y="6"/>
                </a:cxn>
                <a:cxn ang="0">
                  <a:pos x="0" y="0"/>
                </a:cxn>
                <a:cxn ang="0">
                  <a:pos x="0" y="0"/>
                </a:cxn>
              </a:cxnLst>
              <a:rect l="0" t="0" r="r" b="b"/>
              <a:pathLst>
                <a:path w="12" h="12">
                  <a:moveTo>
                    <a:pt x="0" y="0"/>
                  </a:moveTo>
                  <a:lnTo>
                    <a:pt x="0" y="12"/>
                  </a:lnTo>
                  <a:lnTo>
                    <a:pt x="12" y="6"/>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grpSp>
          <p:nvGrpSpPr>
            <p:cNvPr id="403" name="Group 324">
              <a:extLst>
                <a:ext uri="{FF2B5EF4-FFF2-40B4-BE49-F238E27FC236}">
                  <a16:creationId xmlns:a16="http://schemas.microsoft.com/office/drawing/2014/main" id="{34760EDD-743D-4959-A415-5633F6DB50BB}"/>
                </a:ext>
              </a:extLst>
            </p:cNvPr>
            <p:cNvGrpSpPr/>
            <p:nvPr/>
          </p:nvGrpSpPr>
          <p:grpSpPr>
            <a:xfrm>
              <a:off x="5806774" y="1780285"/>
              <a:ext cx="1186711" cy="937455"/>
              <a:chOff x="5246234" y="1651013"/>
              <a:chExt cx="1191093" cy="904266"/>
            </a:xfrm>
            <a:grpFill/>
          </p:grpSpPr>
          <p:sp>
            <p:nvSpPr>
              <p:cNvPr id="575" name="Freeform 235">
                <a:extLst>
                  <a:ext uri="{FF2B5EF4-FFF2-40B4-BE49-F238E27FC236}">
                    <a16:creationId xmlns:a16="http://schemas.microsoft.com/office/drawing/2014/main" id="{1CEA3B60-2FFF-4478-9D65-A2EB53FC6C80}"/>
                  </a:ext>
                </a:extLst>
              </p:cNvPr>
              <p:cNvSpPr>
                <a:spLocks/>
              </p:cNvSpPr>
              <p:nvPr/>
            </p:nvSpPr>
            <p:spPr bwMode="auto">
              <a:xfrm>
                <a:off x="5246234" y="1651013"/>
                <a:ext cx="1191093" cy="838622"/>
              </a:xfrm>
              <a:custGeom>
                <a:avLst/>
                <a:gdLst>
                  <a:gd name="T0" fmla="*/ 588 w 907"/>
                  <a:gd name="T1" fmla="*/ 89 h 626"/>
                  <a:gd name="T2" fmla="*/ 629 w 907"/>
                  <a:gd name="T3" fmla="*/ 112 h 626"/>
                  <a:gd name="T4" fmla="*/ 668 w 907"/>
                  <a:gd name="T5" fmla="*/ 128 h 626"/>
                  <a:gd name="T6" fmla="*/ 572 w 907"/>
                  <a:gd name="T7" fmla="*/ 163 h 626"/>
                  <a:gd name="T8" fmla="*/ 562 w 907"/>
                  <a:gd name="T9" fmla="*/ 213 h 626"/>
                  <a:gd name="T10" fmla="*/ 495 w 907"/>
                  <a:gd name="T11" fmla="*/ 230 h 626"/>
                  <a:gd name="T12" fmla="*/ 345 w 907"/>
                  <a:gd name="T13" fmla="*/ 207 h 626"/>
                  <a:gd name="T14" fmla="*/ 227 w 907"/>
                  <a:gd name="T15" fmla="*/ 163 h 626"/>
                  <a:gd name="T16" fmla="*/ 201 w 907"/>
                  <a:gd name="T17" fmla="*/ 112 h 626"/>
                  <a:gd name="T18" fmla="*/ 150 w 907"/>
                  <a:gd name="T19" fmla="*/ 83 h 626"/>
                  <a:gd name="T20" fmla="*/ 128 w 907"/>
                  <a:gd name="T21" fmla="*/ 96 h 626"/>
                  <a:gd name="T22" fmla="*/ 128 w 907"/>
                  <a:gd name="T23" fmla="*/ 124 h 626"/>
                  <a:gd name="T24" fmla="*/ 95 w 907"/>
                  <a:gd name="T25" fmla="*/ 163 h 626"/>
                  <a:gd name="T26" fmla="*/ 77 w 907"/>
                  <a:gd name="T27" fmla="*/ 191 h 626"/>
                  <a:gd name="T28" fmla="*/ 73 w 907"/>
                  <a:gd name="T29" fmla="*/ 234 h 626"/>
                  <a:gd name="T30" fmla="*/ 28 w 907"/>
                  <a:gd name="T31" fmla="*/ 258 h 626"/>
                  <a:gd name="T32" fmla="*/ 0 w 907"/>
                  <a:gd name="T33" fmla="*/ 274 h 626"/>
                  <a:gd name="T34" fmla="*/ 22 w 907"/>
                  <a:gd name="T35" fmla="*/ 291 h 626"/>
                  <a:gd name="T36" fmla="*/ 57 w 907"/>
                  <a:gd name="T37" fmla="*/ 335 h 626"/>
                  <a:gd name="T38" fmla="*/ 112 w 907"/>
                  <a:gd name="T39" fmla="*/ 342 h 626"/>
                  <a:gd name="T40" fmla="*/ 122 w 907"/>
                  <a:gd name="T41" fmla="*/ 380 h 626"/>
                  <a:gd name="T42" fmla="*/ 118 w 907"/>
                  <a:gd name="T43" fmla="*/ 409 h 626"/>
                  <a:gd name="T44" fmla="*/ 160 w 907"/>
                  <a:gd name="T45" fmla="*/ 441 h 626"/>
                  <a:gd name="T46" fmla="*/ 262 w 907"/>
                  <a:gd name="T47" fmla="*/ 486 h 626"/>
                  <a:gd name="T48" fmla="*/ 300 w 907"/>
                  <a:gd name="T49" fmla="*/ 486 h 626"/>
                  <a:gd name="T50" fmla="*/ 323 w 907"/>
                  <a:gd name="T51" fmla="*/ 492 h 626"/>
                  <a:gd name="T52" fmla="*/ 339 w 907"/>
                  <a:gd name="T53" fmla="*/ 480 h 626"/>
                  <a:gd name="T54" fmla="*/ 428 w 907"/>
                  <a:gd name="T55" fmla="*/ 459 h 626"/>
                  <a:gd name="T56" fmla="*/ 463 w 907"/>
                  <a:gd name="T57" fmla="*/ 480 h 626"/>
                  <a:gd name="T58" fmla="*/ 489 w 907"/>
                  <a:gd name="T59" fmla="*/ 531 h 626"/>
                  <a:gd name="T60" fmla="*/ 473 w 907"/>
                  <a:gd name="T61" fmla="*/ 559 h 626"/>
                  <a:gd name="T62" fmla="*/ 523 w 907"/>
                  <a:gd name="T63" fmla="*/ 610 h 626"/>
                  <a:gd name="T64" fmla="*/ 562 w 907"/>
                  <a:gd name="T65" fmla="*/ 594 h 626"/>
                  <a:gd name="T66" fmla="*/ 668 w 907"/>
                  <a:gd name="T67" fmla="*/ 610 h 626"/>
                  <a:gd name="T68" fmla="*/ 690 w 907"/>
                  <a:gd name="T69" fmla="*/ 626 h 626"/>
                  <a:gd name="T70" fmla="*/ 722 w 907"/>
                  <a:gd name="T71" fmla="*/ 610 h 626"/>
                  <a:gd name="T72" fmla="*/ 757 w 907"/>
                  <a:gd name="T73" fmla="*/ 594 h 626"/>
                  <a:gd name="T74" fmla="*/ 777 w 907"/>
                  <a:gd name="T75" fmla="*/ 581 h 626"/>
                  <a:gd name="T76" fmla="*/ 844 w 907"/>
                  <a:gd name="T77" fmla="*/ 527 h 626"/>
                  <a:gd name="T78" fmla="*/ 860 w 907"/>
                  <a:gd name="T79" fmla="*/ 470 h 626"/>
                  <a:gd name="T80" fmla="*/ 866 w 907"/>
                  <a:gd name="T81" fmla="*/ 453 h 626"/>
                  <a:gd name="T82" fmla="*/ 828 w 907"/>
                  <a:gd name="T83" fmla="*/ 435 h 626"/>
                  <a:gd name="T84" fmla="*/ 805 w 907"/>
                  <a:gd name="T85" fmla="*/ 409 h 626"/>
                  <a:gd name="T86" fmla="*/ 844 w 907"/>
                  <a:gd name="T87" fmla="*/ 409 h 626"/>
                  <a:gd name="T88" fmla="*/ 773 w 907"/>
                  <a:gd name="T89" fmla="*/ 348 h 626"/>
                  <a:gd name="T90" fmla="*/ 812 w 907"/>
                  <a:gd name="T91" fmla="*/ 307 h 626"/>
                  <a:gd name="T92" fmla="*/ 767 w 907"/>
                  <a:gd name="T93" fmla="*/ 307 h 626"/>
                  <a:gd name="T94" fmla="*/ 745 w 907"/>
                  <a:gd name="T95" fmla="*/ 291 h 626"/>
                  <a:gd name="T96" fmla="*/ 712 w 907"/>
                  <a:gd name="T97" fmla="*/ 268 h 626"/>
                  <a:gd name="T98" fmla="*/ 757 w 907"/>
                  <a:gd name="T99" fmla="*/ 234 h 626"/>
                  <a:gd name="T100" fmla="*/ 767 w 907"/>
                  <a:gd name="T101" fmla="*/ 252 h 626"/>
                  <a:gd name="T102" fmla="*/ 805 w 907"/>
                  <a:gd name="T103" fmla="*/ 252 h 626"/>
                  <a:gd name="T104" fmla="*/ 844 w 907"/>
                  <a:gd name="T105" fmla="*/ 230 h 626"/>
                  <a:gd name="T106" fmla="*/ 879 w 907"/>
                  <a:gd name="T107" fmla="*/ 201 h 626"/>
                  <a:gd name="T108" fmla="*/ 885 w 907"/>
                  <a:gd name="T109" fmla="*/ 167 h 626"/>
                  <a:gd name="T110" fmla="*/ 885 w 907"/>
                  <a:gd name="T111" fmla="*/ 89 h 626"/>
                  <a:gd name="T112" fmla="*/ 789 w 907"/>
                  <a:gd name="T113" fmla="*/ 79 h 626"/>
                  <a:gd name="T114" fmla="*/ 734 w 907"/>
                  <a:gd name="T115" fmla="*/ 39 h 626"/>
                  <a:gd name="T116" fmla="*/ 607 w 907"/>
                  <a:gd name="T117" fmla="*/ 6 h 626"/>
                  <a:gd name="T118" fmla="*/ 623 w 907"/>
                  <a:gd name="T119" fmla="*/ 33 h 626"/>
                  <a:gd name="T120" fmla="*/ 629 w 907"/>
                  <a:gd name="T121" fmla="*/ 67 h 626"/>
                  <a:gd name="T122" fmla="*/ 594 w 907"/>
                  <a:gd name="T123" fmla="*/ 73 h 6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7"/>
                  <a:gd name="T187" fmla="*/ 0 h 626"/>
                  <a:gd name="T188" fmla="*/ 907 w 907"/>
                  <a:gd name="T189" fmla="*/ 626 h 6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7" h="626">
                    <a:moveTo>
                      <a:pt x="594" y="73"/>
                    </a:moveTo>
                    <a:lnTo>
                      <a:pt x="588" y="89"/>
                    </a:lnTo>
                    <a:lnTo>
                      <a:pt x="601" y="106"/>
                    </a:lnTo>
                    <a:lnTo>
                      <a:pt x="629" y="112"/>
                    </a:lnTo>
                    <a:lnTo>
                      <a:pt x="651" y="106"/>
                    </a:lnTo>
                    <a:lnTo>
                      <a:pt x="668" y="128"/>
                    </a:lnTo>
                    <a:lnTo>
                      <a:pt x="601" y="163"/>
                    </a:lnTo>
                    <a:lnTo>
                      <a:pt x="572" y="163"/>
                    </a:lnTo>
                    <a:lnTo>
                      <a:pt x="584" y="185"/>
                    </a:lnTo>
                    <a:lnTo>
                      <a:pt x="562" y="213"/>
                    </a:lnTo>
                    <a:lnTo>
                      <a:pt x="528" y="213"/>
                    </a:lnTo>
                    <a:lnTo>
                      <a:pt x="495" y="230"/>
                    </a:lnTo>
                    <a:lnTo>
                      <a:pt x="422" y="213"/>
                    </a:lnTo>
                    <a:lnTo>
                      <a:pt x="345" y="207"/>
                    </a:lnTo>
                    <a:lnTo>
                      <a:pt x="316" y="185"/>
                    </a:lnTo>
                    <a:lnTo>
                      <a:pt x="227" y="163"/>
                    </a:lnTo>
                    <a:lnTo>
                      <a:pt x="227" y="140"/>
                    </a:lnTo>
                    <a:lnTo>
                      <a:pt x="201" y="112"/>
                    </a:lnTo>
                    <a:lnTo>
                      <a:pt x="160" y="106"/>
                    </a:lnTo>
                    <a:lnTo>
                      <a:pt x="150" y="83"/>
                    </a:lnTo>
                    <a:lnTo>
                      <a:pt x="128" y="83"/>
                    </a:lnTo>
                    <a:lnTo>
                      <a:pt x="128" y="96"/>
                    </a:lnTo>
                    <a:lnTo>
                      <a:pt x="118" y="106"/>
                    </a:lnTo>
                    <a:lnTo>
                      <a:pt x="128" y="124"/>
                    </a:lnTo>
                    <a:lnTo>
                      <a:pt x="89" y="128"/>
                    </a:lnTo>
                    <a:lnTo>
                      <a:pt x="95" y="163"/>
                    </a:lnTo>
                    <a:lnTo>
                      <a:pt x="61" y="163"/>
                    </a:lnTo>
                    <a:lnTo>
                      <a:pt x="77" y="191"/>
                    </a:lnTo>
                    <a:lnTo>
                      <a:pt x="77" y="218"/>
                    </a:lnTo>
                    <a:lnTo>
                      <a:pt x="73" y="234"/>
                    </a:lnTo>
                    <a:lnTo>
                      <a:pt x="38" y="240"/>
                    </a:lnTo>
                    <a:lnTo>
                      <a:pt x="28" y="258"/>
                    </a:lnTo>
                    <a:lnTo>
                      <a:pt x="0" y="258"/>
                    </a:lnTo>
                    <a:lnTo>
                      <a:pt x="0" y="274"/>
                    </a:lnTo>
                    <a:lnTo>
                      <a:pt x="6" y="285"/>
                    </a:lnTo>
                    <a:lnTo>
                      <a:pt x="22" y="291"/>
                    </a:lnTo>
                    <a:lnTo>
                      <a:pt x="28" y="307"/>
                    </a:lnTo>
                    <a:lnTo>
                      <a:pt x="57" y="335"/>
                    </a:lnTo>
                    <a:lnTo>
                      <a:pt x="77" y="348"/>
                    </a:lnTo>
                    <a:lnTo>
                      <a:pt x="112" y="342"/>
                    </a:lnTo>
                    <a:lnTo>
                      <a:pt x="134" y="368"/>
                    </a:lnTo>
                    <a:lnTo>
                      <a:pt x="122" y="380"/>
                    </a:lnTo>
                    <a:lnTo>
                      <a:pt x="134" y="396"/>
                    </a:lnTo>
                    <a:lnTo>
                      <a:pt x="118" y="409"/>
                    </a:lnTo>
                    <a:lnTo>
                      <a:pt x="128" y="419"/>
                    </a:lnTo>
                    <a:lnTo>
                      <a:pt x="160" y="441"/>
                    </a:lnTo>
                    <a:lnTo>
                      <a:pt x="185" y="441"/>
                    </a:lnTo>
                    <a:lnTo>
                      <a:pt x="262" y="486"/>
                    </a:lnTo>
                    <a:lnTo>
                      <a:pt x="300" y="498"/>
                    </a:lnTo>
                    <a:lnTo>
                      <a:pt x="300" y="486"/>
                    </a:lnTo>
                    <a:lnTo>
                      <a:pt x="312" y="486"/>
                    </a:lnTo>
                    <a:lnTo>
                      <a:pt x="323" y="492"/>
                    </a:lnTo>
                    <a:lnTo>
                      <a:pt x="329" y="480"/>
                    </a:lnTo>
                    <a:lnTo>
                      <a:pt x="339" y="480"/>
                    </a:lnTo>
                    <a:lnTo>
                      <a:pt x="367" y="492"/>
                    </a:lnTo>
                    <a:lnTo>
                      <a:pt x="428" y="459"/>
                    </a:lnTo>
                    <a:lnTo>
                      <a:pt x="444" y="476"/>
                    </a:lnTo>
                    <a:lnTo>
                      <a:pt x="463" y="480"/>
                    </a:lnTo>
                    <a:lnTo>
                      <a:pt x="489" y="498"/>
                    </a:lnTo>
                    <a:lnTo>
                      <a:pt x="489" y="531"/>
                    </a:lnTo>
                    <a:lnTo>
                      <a:pt x="479" y="547"/>
                    </a:lnTo>
                    <a:lnTo>
                      <a:pt x="473" y="559"/>
                    </a:lnTo>
                    <a:lnTo>
                      <a:pt x="495" y="565"/>
                    </a:lnTo>
                    <a:lnTo>
                      <a:pt x="523" y="610"/>
                    </a:lnTo>
                    <a:lnTo>
                      <a:pt x="540" y="610"/>
                    </a:lnTo>
                    <a:lnTo>
                      <a:pt x="562" y="594"/>
                    </a:lnTo>
                    <a:lnTo>
                      <a:pt x="607" y="575"/>
                    </a:lnTo>
                    <a:lnTo>
                      <a:pt x="668" y="610"/>
                    </a:lnTo>
                    <a:lnTo>
                      <a:pt x="684" y="614"/>
                    </a:lnTo>
                    <a:lnTo>
                      <a:pt x="690" y="626"/>
                    </a:lnTo>
                    <a:lnTo>
                      <a:pt x="700" y="614"/>
                    </a:lnTo>
                    <a:lnTo>
                      <a:pt x="722" y="610"/>
                    </a:lnTo>
                    <a:lnTo>
                      <a:pt x="751" y="581"/>
                    </a:lnTo>
                    <a:lnTo>
                      <a:pt x="757" y="594"/>
                    </a:lnTo>
                    <a:lnTo>
                      <a:pt x="767" y="594"/>
                    </a:lnTo>
                    <a:lnTo>
                      <a:pt x="777" y="581"/>
                    </a:lnTo>
                    <a:lnTo>
                      <a:pt x="805" y="575"/>
                    </a:lnTo>
                    <a:lnTo>
                      <a:pt x="844" y="527"/>
                    </a:lnTo>
                    <a:lnTo>
                      <a:pt x="834" y="514"/>
                    </a:lnTo>
                    <a:lnTo>
                      <a:pt x="860" y="470"/>
                    </a:lnTo>
                    <a:lnTo>
                      <a:pt x="856" y="459"/>
                    </a:lnTo>
                    <a:lnTo>
                      <a:pt x="866" y="453"/>
                    </a:lnTo>
                    <a:lnTo>
                      <a:pt x="860" y="441"/>
                    </a:lnTo>
                    <a:lnTo>
                      <a:pt x="828" y="435"/>
                    </a:lnTo>
                    <a:lnTo>
                      <a:pt x="844" y="419"/>
                    </a:lnTo>
                    <a:lnTo>
                      <a:pt x="805" y="409"/>
                    </a:lnTo>
                    <a:lnTo>
                      <a:pt x="844" y="415"/>
                    </a:lnTo>
                    <a:lnTo>
                      <a:pt x="844" y="409"/>
                    </a:lnTo>
                    <a:lnTo>
                      <a:pt x="818" y="392"/>
                    </a:lnTo>
                    <a:lnTo>
                      <a:pt x="773" y="348"/>
                    </a:lnTo>
                    <a:lnTo>
                      <a:pt x="783" y="329"/>
                    </a:lnTo>
                    <a:lnTo>
                      <a:pt x="812" y="307"/>
                    </a:lnTo>
                    <a:lnTo>
                      <a:pt x="767" y="297"/>
                    </a:lnTo>
                    <a:lnTo>
                      <a:pt x="767" y="307"/>
                    </a:lnTo>
                    <a:lnTo>
                      <a:pt x="751" y="307"/>
                    </a:lnTo>
                    <a:lnTo>
                      <a:pt x="745" y="291"/>
                    </a:lnTo>
                    <a:lnTo>
                      <a:pt x="712" y="285"/>
                    </a:lnTo>
                    <a:lnTo>
                      <a:pt x="712" y="268"/>
                    </a:lnTo>
                    <a:lnTo>
                      <a:pt x="739" y="258"/>
                    </a:lnTo>
                    <a:lnTo>
                      <a:pt x="757" y="234"/>
                    </a:lnTo>
                    <a:lnTo>
                      <a:pt x="773" y="240"/>
                    </a:lnTo>
                    <a:lnTo>
                      <a:pt x="767" y="252"/>
                    </a:lnTo>
                    <a:lnTo>
                      <a:pt x="777" y="268"/>
                    </a:lnTo>
                    <a:lnTo>
                      <a:pt x="805" y="252"/>
                    </a:lnTo>
                    <a:lnTo>
                      <a:pt x="824" y="252"/>
                    </a:lnTo>
                    <a:lnTo>
                      <a:pt x="844" y="230"/>
                    </a:lnTo>
                    <a:lnTo>
                      <a:pt x="866" y="218"/>
                    </a:lnTo>
                    <a:lnTo>
                      <a:pt x="879" y="201"/>
                    </a:lnTo>
                    <a:lnTo>
                      <a:pt x="895" y="191"/>
                    </a:lnTo>
                    <a:lnTo>
                      <a:pt x="885" y="167"/>
                    </a:lnTo>
                    <a:lnTo>
                      <a:pt x="907" y="157"/>
                    </a:lnTo>
                    <a:lnTo>
                      <a:pt x="885" y="89"/>
                    </a:lnTo>
                    <a:lnTo>
                      <a:pt x="840" y="112"/>
                    </a:lnTo>
                    <a:lnTo>
                      <a:pt x="789" y="79"/>
                    </a:lnTo>
                    <a:lnTo>
                      <a:pt x="745" y="61"/>
                    </a:lnTo>
                    <a:lnTo>
                      <a:pt x="734" y="39"/>
                    </a:lnTo>
                    <a:lnTo>
                      <a:pt x="645" y="0"/>
                    </a:lnTo>
                    <a:lnTo>
                      <a:pt x="607" y="6"/>
                    </a:lnTo>
                    <a:lnTo>
                      <a:pt x="607" y="16"/>
                    </a:lnTo>
                    <a:lnTo>
                      <a:pt x="623" y="33"/>
                    </a:lnTo>
                    <a:lnTo>
                      <a:pt x="611" y="51"/>
                    </a:lnTo>
                    <a:lnTo>
                      <a:pt x="629" y="67"/>
                    </a:lnTo>
                    <a:lnTo>
                      <a:pt x="594" y="7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76" name="Freeform 236">
                <a:extLst>
                  <a:ext uri="{FF2B5EF4-FFF2-40B4-BE49-F238E27FC236}">
                    <a16:creationId xmlns:a16="http://schemas.microsoft.com/office/drawing/2014/main" id="{1327AA7D-09C7-473D-9531-5D76632A2702}"/>
                  </a:ext>
                </a:extLst>
              </p:cNvPr>
              <p:cNvSpPr>
                <a:spLocks/>
              </p:cNvSpPr>
              <p:nvPr/>
            </p:nvSpPr>
            <p:spPr bwMode="auto">
              <a:xfrm>
                <a:off x="6128720" y="2497674"/>
                <a:ext cx="57782" cy="52246"/>
              </a:xfrm>
              <a:custGeom>
                <a:avLst/>
                <a:gdLst>
                  <a:gd name="T0" fmla="*/ 12 w 44"/>
                  <a:gd name="T1" fmla="*/ 39 h 39"/>
                  <a:gd name="T2" fmla="*/ 34 w 44"/>
                  <a:gd name="T3" fmla="*/ 39 h 39"/>
                  <a:gd name="T4" fmla="*/ 44 w 44"/>
                  <a:gd name="T5" fmla="*/ 16 h 39"/>
                  <a:gd name="T6" fmla="*/ 40 w 44"/>
                  <a:gd name="T7" fmla="*/ 4 h 39"/>
                  <a:gd name="T8" fmla="*/ 18 w 44"/>
                  <a:gd name="T9" fmla="*/ 0 h 39"/>
                  <a:gd name="T10" fmla="*/ 0 w 44"/>
                  <a:gd name="T11" fmla="*/ 23 h 39"/>
                  <a:gd name="T12" fmla="*/ 12 w 44"/>
                  <a:gd name="T13" fmla="*/ 39 h 39"/>
                  <a:gd name="T14" fmla="*/ 12 w 44"/>
                  <a:gd name="T15" fmla="*/ 39 h 39"/>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39"/>
                  <a:gd name="T26" fmla="*/ 44 w 4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39">
                    <a:moveTo>
                      <a:pt x="12" y="39"/>
                    </a:moveTo>
                    <a:lnTo>
                      <a:pt x="34" y="39"/>
                    </a:lnTo>
                    <a:lnTo>
                      <a:pt x="44" y="16"/>
                    </a:lnTo>
                    <a:lnTo>
                      <a:pt x="40" y="4"/>
                    </a:lnTo>
                    <a:lnTo>
                      <a:pt x="18" y="0"/>
                    </a:lnTo>
                    <a:lnTo>
                      <a:pt x="0" y="23"/>
                    </a:lnTo>
                    <a:lnTo>
                      <a:pt x="12"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77" name="Freeform 313">
                <a:extLst>
                  <a:ext uri="{FF2B5EF4-FFF2-40B4-BE49-F238E27FC236}">
                    <a16:creationId xmlns:a16="http://schemas.microsoft.com/office/drawing/2014/main" id="{E21ABB8A-D606-42A1-83FD-F131ADA7B736}"/>
                  </a:ext>
                </a:extLst>
              </p:cNvPr>
              <p:cNvSpPr>
                <a:spLocks/>
              </p:cNvSpPr>
              <p:nvPr/>
            </p:nvSpPr>
            <p:spPr bwMode="auto">
              <a:xfrm>
                <a:off x="6316510" y="2457484"/>
                <a:ext cx="66974" cy="97795"/>
              </a:xfrm>
              <a:custGeom>
                <a:avLst/>
                <a:gdLst/>
                <a:ahLst/>
                <a:cxnLst>
                  <a:cxn ang="0">
                    <a:pos x="12" y="0"/>
                  </a:cxn>
                  <a:cxn ang="0">
                    <a:pos x="0" y="33"/>
                  </a:cxn>
                  <a:cxn ang="0">
                    <a:pos x="12" y="67"/>
                  </a:cxn>
                  <a:cxn ang="0">
                    <a:pos x="28" y="73"/>
                  </a:cxn>
                  <a:cxn ang="0">
                    <a:pos x="51" y="55"/>
                  </a:cxn>
                  <a:cxn ang="0">
                    <a:pos x="38" y="17"/>
                  </a:cxn>
                  <a:cxn ang="0">
                    <a:pos x="12" y="0"/>
                  </a:cxn>
                  <a:cxn ang="0">
                    <a:pos x="12" y="0"/>
                  </a:cxn>
                </a:cxnLst>
                <a:rect l="0" t="0" r="r" b="b"/>
                <a:pathLst>
                  <a:path w="51" h="73">
                    <a:moveTo>
                      <a:pt x="12" y="0"/>
                    </a:moveTo>
                    <a:lnTo>
                      <a:pt x="0" y="33"/>
                    </a:lnTo>
                    <a:lnTo>
                      <a:pt x="12" y="67"/>
                    </a:lnTo>
                    <a:lnTo>
                      <a:pt x="28" y="73"/>
                    </a:lnTo>
                    <a:lnTo>
                      <a:pt x="51" y="55"/>
                    </a:lnTo>
                    <a:lnTo>
                      <a:pt x="38" y="17"/>
                    </a:lnTo>
                    <a:lnTo>
                      <a:pt x="12" y="0"/>
                    </a:lnTo>
                    <a:lnTo>
                      <a:pt x="1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grpSp>
          <p:nvGrpSpPr>
            <p:cNvPr id="404" name="Group 313">
              <a:extLst>
                <a:ext uri="{FF2B5EF4-FFF2-40B4-BE49-F238E27FC236}">
                  <a16:creationId xmlns:a16="http://schemas.microsoft.com/office/drawing/2014/main" id="{025EF6DF-8F79-494D-895A-FEA51240B06F}"/>
                </a:ext>
              </a:extLst>
            </p:cNvPr>
            <p:cNvGrpSpPr/>
            <p:nvPr/>
          </p:nvGrpSpPr>
          <p:grpSpPr>
            <a:xfrm>
              <a:off x="5764969" y="2224858"/>
              <a:ext cx="646346" cy="765391"/>
              <a:chOff x="6258713" y="2104746"/>
              <a:chExt cx="750385" cy="853979"/>
            </a:xfrm>
            <a:grpFill/>
          </p:grpSpPr>
          <p:sp>
            <p:nvSpPr>
              <p:cNvPr id="570" name="Freeform 248">
                <a:extLst>
                  <a:ext uri="{FF2B5EF4-FFF2-40B4-BE49-F238E27FC236}">
                    <a16:creationId xmlns:a16="http://schemas.microsoft.com/office/drawing/2014/main" id="{97A13D7E-25C7-4291-B0CF-EB70417FF29E}"/>
                  </a:ext>
                </a:extLst>
              </p:cNvPr>
              <p:cNvSpPr>
                <a:spLocks/>
              </p:cNvSpPr>
              <p:nvPr/>
            </p:nvSpPr>
            <p:spPr bwMode="auto">
              <a:xfrm>
                <a:off x="6551806" y="2290528"/>
                <a:ext cx="221774" cy="131713"/>
              </a:xfrm>
              <a:custGeom>
                <a:avLst/>
                <a:gdLst/>
                <a:ahLst/>
                <a:cxnLst>
                  <a:cxn ang="0">
                    <a:pos x="146" y="85"/>
                  </a:cxn>
                  <a:cxn ang="0">
                    <a:pos x="140" y="57"/>
                  </a:cxn>
                  <a:cxn ang="0">
                    <a:pos x="102" y="44"/>
                  </a:cxn>
                  <a:cxn ang="0">
                    <a:pos x="24" y="0"/>
                  </a:cxn>
                  <a:cxn ang="0">
                    <a:pos x="0" y="0"/>
                  </a:cxn>
                  <a:cxn ang="0">
                    <a:pos x="0" y="38"/>
                  </a:cxn>
                  <a:cxn ang="0">
                    <a:pos x="47" y="51"/>
                  </a:cxn>
                  <a:cxn ang="0">
                    <a:pos x="51" y="61"/>
                  </a:cxn>
                  <a:cxn ang="0">
                    <a:pos x="79" y="57"/>
                  </a:cxn>
                  <a:cxn ang="0">
                    <a:pos x="95" y="73"/>
                  </a:cxn>
                  <a:cxn ang="0">
                    <a:pos x="146" y="85"/>
                  </a:cxn>
                  <a:cxn ang="0">
                    <a:pos x="146" y="85"/>
                  </a:cxn>
                </a:cxnLst>
                <a:rect l="0" t="0" r="r" b="b"/>
                <a:pathLst>
                  <a:path w="146" h="85">
                    <a:moveTo>
                      <a:pt x="146" y="85"/>
                    </a:moveTo>
                    <a:lnTo>
                      <a:pt x="140" y="57"/>
                    </a:lnTo>
                    <a:lnTo>
                      <a:pt x="102" y="44"/>
                    </a:lnTo>
                    <a:lnTo>
                      <a:pt x="24" y="0"/>
                    </a:lnTo>
                    <a:lnTo>
                      <a:pt x="0" y="0"/>
                    </a:lnTo>
                    <a:lnTo>
                      <a:pt x="0" y="38"/>
                    </a:lnTo>
                    <a:lnTo>
                      <a:pt x="47" y="51"/>
                    </a:lnTo>
                    <a:lnTo>
                      <a:pt x="51" y="61"/>
                    </a:lnTo>
                    <a:lnTo>
                      <a:pt x="79" y="57"/>
                    </a:lnTo>
                    <a:lnTo>
                      <a:pt x="95" y="73"/>
                    </a:lnTo>
                    <a:lnTo>
                      <a:pt x="146" y="85"/>
                    </a:lnTo>
                    <a:lnTo>
                      <a:pt x="146" y="8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571" name="Freeform 250">
                <a:extLst>
                  <a:ext uri="{FF2B5EF4-FFF2-40B4-BE49-F238E27FC236}">
                    <a16:creationId xmlns:a16="http://schemas.microsoft.com/office/drawing/2014/main" id="{40DC2D2C-BBBF-47D6-BCED-2A4C01E4F03B}"/>
                  </a:ext>
                </a:extLst>
              </p:cNvPr>
              <p:cNvSpPr>
                <a:spLocks/>
              </p:cNvSpPr>
              <p:nvPr/>
            </p:nvSpPr>
            <p:spPr bwMode="auto">
              <a:xfrm>
                <a:off x="6788769" y="2349412"/>
                <a:ext cx="77469" cy="63532"/>
              </a:xfrm>
              <a:custGeom>
                <a:avLst/>
                <a:gdLst/>
                <a:ahLst/>
                <a:cxnLst>
                  <a:cxn ang="0">
                    <a:pos x="0" y="23"/>
                  </a:cxn>
                  <a:cxn ang="0">
                    <a:pos x="23" y="29"/>
                  </a:cxn>
                  <a:cxn ang="0">
                    <a:pos x="29" y="41"/>
                  </a:cxn>
                  <a:cxn ang="0">
                    <a:pos x="39" y="35"/>
                  </a:cxn>
                  <a:cxn ang="0">
                    <a:pos x="51" y="13"/>
                  </a:cxn>
                  <a:cxn ang="0">
                    <a:pos x="23" y="0"/>
                  </a:cxn>
                  <a:cxn ang="0">
                    <a:pos x="13" y="0"/>
                  </a:cxn>
                  <a:cxn ang="0">
                    <a:pos x="0" y="23"/>
                  </a:cxn>
                  <a:cxn ang="0">
                    <a:pos x="0" y="23"/>
                  </a:cxn>
                </a:cxnLst>
                <a:rect l="0" t="0" r="r" b="b"/>
                <a:pathLst>
                  <a:path w="51" h="41">
                    <a:moveTo>
                      <a:pt x="0" y="23"/>
                    </a:moveTo>
                    <a:lnTo>
                      <a:pt x="23" y="29"/>
                    </a:lnTo>
                    <a:lnTo>
                      <a:pt x="29" y="41"/>
                    </a:lnTo>
                    <a:lnTo>
                      <a:pt x="39" y="35"/>
                    </a:lnTo>
                    <a:lnTo>
                      <a:pt x="51" y="13"/>
                    </a:lnTo>
                    <a:lnTo>
                      <a:pt x="23" y="0"/>
                    </a:lnTo>
                    <a:lnTo>
                      <a:pt x="13" y="0"/>
                    </a:lnTo>
                    <a:lnTo>
                      <a:pt x="0" y="23"/>
                    </a:lnTo>
                    <a:lnTo>
                      <a:pt x="0" y="2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grpSp>
            <p:nvGrpSpPr>
              <p:cNvPr id="572" name="Group 316">
                <a:extLst>
                  <a:ext uri="{FF2B5EF4-FFF2-40B4-BE49-F238E27FC236}">
                    <a16:creationId xmlns:a16="http://schemas.microsoft.com/office/drawing/2014/main" id="{8E3E471A-0894-4FCF-9CF7-B8A7A5DF2E43}"/>
                  </a:ext>
                </a:extLst>
              </p:cNvPr>
              <p:cNvGrpSpPr/>
              <p:nvPr/>
            </p:nvGrpSpPr>
            <p:grpSpPr>
              <a:xfrm>
                <a:off x="6258713" y="2104746"/>
                <a:ext cx="750385" cy="853979"/>
                <a:chOff x="6258713" y="2104746"/>
                <a:chExt cx="750385" cy="853979"/>
              </a:xfrm>
              <a:grpFill/>
            </p:grpSpPr>
            <p:sp>
              <p:nvSpPr>
                <p:cNvPr id="573" name="Freeform 237">
                  <a:extLst>
                    <a:ext uri="{FF2B5EF4-FFF2-40B4-BE49-F238E27FC236}">
                      <a16:creationId xmlns:a16="http://schemas.microsoft.com/office/drawing/2014/main" id="{1C012579-EB00-41FA-9982-F3E748F82EB7}"/>
                    </a:ext>
                  </a:extLst>
                </p:cNvPr>
                <p:cNvSpPr>
                  <a:spLocks/>
                </p:cNvSpPr>
                <p:nvPr/>
              </p:nvSpPr>
              <p:spPr bwMode="auto">
                <a:xfrm>
                  <a:off x="6258713" y="2104746"/>
                  <a:ext cx="750385" cy="853979"/>
                </a:xfrm>
                <a:custGeom>
                  <a:avLst/>
                  <a:gdLst>
                    <a:gd name="T0" fmla="*/ 547688 w 496"/>
                    <a:gd name="T1" fmla="*/ 228600 h 530"/>
                    <a:gd name="T2" fmla="*/ 528638 w 496"/>
                    <a:gd name="T3" fmla="*/ 249237 h 530"/>
                    <a:gd name="T4" fmla="*/ 457200 w 496"/>
                    <a:gd name="T5" fmla="*/ 274637 h 530"/>
                    <a:gd name="T6" fmla="*/ 387350 w 496"/>
                    <a:gd name="T7" fmla="*/ 255587 h 530"/>
                    <a:gd name="T8" fmla="*/ 306388 w 496"/>
                    <a:gd name="T9" fmla="*/ 219075 h 530"/>
                    <a:gd name="T10" fmla="*/ 255588 w 496"/>
                    <a:gd name="T11" fmla="*/ 122237 h 530"/>
                    <a:gd name="T12" fmla="*/ 265113 w 496"/>
                    <a:gd name="T13" fmla="*/ 87312 h 530"/>
                    <a:gd name="T14" fmla="*/ 265113 w 496"/>
                    <a:gd name="T15" fmla="*/ 42862 h 530"/>
                    <a:gd name="T16" fmla="*/ 174625 w 496"/>
                    <a:gd name="T17" fmla="*/ 9525 h 530"/>
                    <a:gd name="T18" fmla="*/ 96838 w 496"/>
                    <a:gd name="T19" fmla="*/ 36512 h 530"/>
                    <a:gd name="T20" fmla="*/ 149225 w 496"/>
                    <a:gd name="T21" fmla="*/ 106362 h 530"/>
                    <a:gd name="T22" fmla="*/ 131763 w 496"/>
                    <a:gd name="T23" fmla="*/ 149225 h 530"/>
                    <a:gd name="T24" fmla="*/ 25400 w 496"/>
                    <a:gd name="T25" fmla="*/ 255587 h 530"/>
                    <a:gd name="T26" fmla="*/ 61913 w 496"/>
                    <a:gd name="T27" fmla="*/ 346075 h 530"/>
                    <a:gd name="T28" fmla="*/ 15875 w 496"/>
                    <a:gd name="T29" fmla="*/ 390525 h 530"/>
                    <a:gd name="T30" fmla="*/ 25400 w 496"/>
                    <a:gd name="T31" fmla="*/ 406400 h 530"/>
                    <a:gd name="T32" fmla="*/ 87313 w 496"/>
                    <a:gd name="T33" fmla="*/ 431800 h 530"/>
                    <a:gd name="T34" fmla="*/ 122238 w 496"/>
                    <a:gd name="T35" fmla="*/ 425450 h 530"/>
                    <a:gd name="T36" fmla="*/ 141288 w 496"/>
                    <a:gd name="T37" fmla="*/ 558800 h 530"/>
                    <a:gd name="T38" fmla="*/ 203200 w 496"/>
                    <a:gd name="T39" fmla="*/ 674687 h 530"/>
                    <a:gd name="T40" fmla="*/ 300038 w 496"/>
                    <a:gd name="T41" fmla="*/ 841375 h 530"/>
                    <a:gd name="T42" fmla="*/ 334963 w 496"/>
                    <a:gd name="T43" fmla="*/ 787400 h 530"/>
                    <a:gd name="T44" fmla="*/ 350838 w 496"/>
                    <a:gd name="T45" fmla="*/ 744537 h 530"/>
                    <a:gd name="T46" fmla="*/ 371475 w 496"/>
                    <a:gd name="T47" fmla="*/ 681037 h 530"/>
                    <a:gd name="T48" fmla="*/ 361950 w 496"/>
                    <a:gd name="T49" fmla="*/ 603250 h 530"/>
                    <a:gd name="T50" fmla="*/ 457200 w 496"/>
                    <a:gd name="T51" fmla="*/ 522287 h 530"/>
                    <a:gd name="T52" fmla="*/ 528638 w 496"/>
                    <a:gd name="T53" fmla="*/ 461962 h 530"/>
                    <a:gd name="T54" fmla="*/ 547688 w 496"/>
                    <a:gd name="T55" fmla="*/ 425450 h 530"/>
                    <a:gd name="T56" fmla="*/ 581025 w 496"/>
                    <a:gd name="T57" fmla="*/ 371475 h 530"/>
                    <a:gd name="T58" fmla="*/ 563563 w 496"/>
                    <a:gd name="T59" fmla="*/ 325437 h 530"/>
                    <a:gd name="T60" fmla="*/ 554038 w 496"/>
                    <a:gd name="T61" fmla="*/ 293687 h 530"/>
                    <a:gd name="T62" fmla="*/ 600075 w 496"/>
                    <a:gd name="T63" fmla="*/ 325437 h 530"/>
                    <a:gd name="T64" fmla="*/ 644525 w 496"/>
                    <a:gd name="T65" fmla="*/ 371475 h 530"/>
                    <a:gd name="T66" fmla="*/ 669925 w 496"/>
                    <a:gd name="T67" fmla="*/ 371475 h 530"/>
                    <a:gd name="T68" fmla="*/ 706438 w 496"/>
                    <a:gd name="T69" fmla="*/ 355600 h 530"/>
                    <a:gd name="T70" fmla="*/ 741363 w 496"/>
                    <a:gd name="T71" fmla="*/ 274637 h 530"/>
                    <a:gd name="T72" fmla="*/ 787400 w 496"/>
                    <a:gd name="T73" fmla="*/ 219075 h 530"/>
                    <a:gd name="T74" fmla="*/ 731838 w 496"/>
                    <a:gd name="T75" fmla="*/ 187325 h 530"/>
                    <a:gd name="T76" fmla="*/ 615950 w 496"/>
                    <a:gd name="T77" fmla="*/ 274637 h 530"/>
                    <a:gd name="T78" fmla="*/ 590550 w 496"/>
                    <a:gd name="T79" fmla="*/ 265112 h 530"/>
                    <a:gd name="T80" fmla="*/ 563563 w 496"/>
                    <a:gd name="T81" fmla="*/ 239712 h 5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96"/>
                    <a:gd name="T124" fmla="*/ 0 h 530"/>
                    <a:gd name="T125" fmla="*/ 496 w 496"/>
                    <a:gd name="T126" fmla="*/ 530 h 530"/>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343 w 10000"/>
                    <a:gd name="connsiteY16" fmla="*/ 0 h 10078"/>
                    <a:gd name="connsiteX17" fmla="*/ 2218 w 10000"/>
                    <a:gd name="connsiteY17" fmla="*/ 191 h 10078"/>
                    <a:gd name="connsiteX18" fmla="*/ 2137 w 10000"/>
                    <a:gd name="connsiteY18" fmla="*/ 399 h 10078"/>
                    <a:gd name="connsiteX19" fmla="*/ 1230 w 10000"/>
                    <a:gd name="connsiteY19" fmla="*/ 512 h 10078"/>
                    <a:gd name="connsiteX20" fmla="*/ 1351 w 10000"/>
                    <a:gd name="connsiteY20" fmla="*/ 927 h 10078"/>
                    <a:gd name="connsiteX21" fmla="*/ 1895 w 10000"/>
                    <a:gd name="connsiteY21" fmla="*/ 1342 h 10078"/>
                    <a:gd name="connsiteX22" fmla="*/ 1673 w 10000"/>
                    <a:gd name="connsiteY22" fmla="*/ 1531 h 10078"/>
                    <a:gd name="connsiteX23" fmla="*/ 1673 w 10000"/>
                    <a:gd name="connsiteY23" fmla="*/ 1852 h 10078"/>
                    <a:gd name="connsiteX24" fmla="*/ 907 w 10000"/>
                    <a:gd name="connsiteY24" fmla="*/ 2927 h 10078"/>
                    <a:gd name="connsiteX25" fmla="*/ 323 w 10000"/>
                    <a:gd name="connsiteY25" fmla="*/ 3116 h 10078"/>
                    <a:gd name="connsiteX26" fmla="*/ 1028 w 10000"/>
                    <a:gd name="connsiteY26" fmla="*/ 3946 h 10078"/>
                    <a:gd name="connsiteX27" fmla="*/ 786 w 10000"/>
                    <a:gd name="connsiteY27" fmla="*/ 4191 h 10078"/>
                    <a:gd name="connsiteX28" fmla="*/ 0 w 10000"/>
                    <a:gd name="connsiteY28" fmla="*/ 4380 h 10078"/>
                    <a:gd name="connsiteX29" fmla="*/ 202 w 10000"/>
                    <a:gd name="connsiteY29" fmla="*/ 4720 h 10078"/>
                    <a:gd name="connsiteX30" fmla="*/ 665 w 10000"/>
                    <a:gd name="connsiteY30" fmla="*/ 4720 h 10078"/>
                    <a:gd name="connsiteX31" fmla="*/ 323 w 10000"/>
                    <a:gd name="connsiteY31" fmla="*/ 4908 h 10078"/>
                    <a:gd name="connsiteX32" fmla="*/ 786 w 10000"/>
                    <a:gd name="connsiteY32" fmla="*/ 5455 h 10078"/>
                    <a:gd name="connsiteX33" fmla="*/ 1109 w 10000"/>
                    <a:gd name="connsiteY33" fmla="*/ 5210 h 10078"/>
                    <a:gd name="connsiteX34" fmla="*/ 1431 w 10000"/>
                    <a:gd name="connsiteY34" fmla="*/ 4833 h 10078"/>
                    <a:gd name="connsiteX35" fmla="*/ 1552 w 10000"/>
                    <a:gd name="connsiteY35" fmla="*/ 5135 h 10078"/>
                    <a:gd name="connsiteX36" fmla="*/ 1794 w 10000"/>
                    <a:gd name="connsiteY36" fmla="*/ 5210 h 10078"/>
                    <a:gd name="connsiteX37" fmla="*/ 1794 w 10000"/>
                    <a:gd name="connsiteY37" fmla="*/ 6720 h 10078"/>
                    <a:gd name="connsiteX38" fmla="*/ 2339 w 10000"/>
                    <a:gd name="connsiteY38" fmla="*/ 7550 h 10078"/>
                    <a:gd name="connsiteX39" fmla="*/ 2581 w 10000"/>
                    <a:gd name="connsiteY39" fmla="*/ 8097 h 10078"/>
                    <a:gd name="connsiteX40" fmla="*/ 3488 w 10000"/>
                    <a:gd name="connsiteY40" fmla="*/ 9738 h 10078"/>
                    <a:gd name="connsiteX41" fmla="*/ 3810 w 10000"/>
                    <a:gd name="connsiteY41" fmla="*/ 10078 h 10078"/>
                    <a:gd name="connsiteX42" fmla="*/ 4375 w 10000"/>
                    <a:gd name="connsiteY42" fmla="*/ 9663 h 10078"/>
                    <a:gd name="connsiteX43" fmla="*/ 4254 w 10000"/>
                    <a:gd name="connsiteY43" fmla="*/ 9436 h 10078"/>
                    <a:gd name="connsiteX44" fmla="*/ 4456 w 10000"/>
                    <a:gd name="connsiteY44" fmla="*/ 9248 h 10078"/>
                    <a:gd name="connsiteX45" fmla="*/ 4456 w 10000"/>
                    <a:gd name="connsiteY45" fmla="*/ 8927 h 10078"/>
                    <a:gd name="connsiteX46" fmla="*/ 4375 w 10000"/>
                    <a:gd name="connsiteY46" fmla="*/ 8814 h 10078"/>
                    <a:gd name="connsiteX47" fmla="*/ 4718 w 10000"/>
                    <a:gd name="connsiteY47" fmla="*/ 8172 h 10078"/>
                    <a:gd name="connsiteX48" fmla="*/ 4597 w 10000"/>
                    <a:gd name="connsiteY48" fmla="*/ 7984 h 10078"/>
                    <a:gd name="connsiteX49" fmla="*/ 4597 w 10000"/>
                    <a:gd name="connsiteY49" fmla="*/ 7248 h 10078"/>
                    <a:gd name="connsiteX50" fmla="*/ 4919 w 10000"/>
                    <a:gd name="connsiteY50" fmla="*/ 7135 h 10078"/>
                    <a:gd name="connsiteX51" fmla="*/ 5806 w 10000"/>
                    <a:gd name="connsiteY51" fmla="*/ 6286 h 10078"/>
                    <a:gd name="connsiteX52" fmla="*/ 5806 w 10000"/>
                    <a:gd name="connsiteY52" fmla="*/ 5984 h 10078"/>
                    <a:gd name="connsiteX53" fmla="*/ 6714 w 10000"/>
                    <a:gd name="connsiteY53" fmla="*/ 5569 h 10078"/>
                    <a:gd name="connsiteX54" fmla="*/ 6593 w 10000"/>
                    <a:gd name="connsiteY54" fmla="*/ 5342 h 10078"/>
                    <a:gd name="connsiteX55" fmla="*/ 6956 w 10000"/>
                    <a:gd name="connsiteY55" fmla="*/ 5135 h 10078"/>
                    <a:gd name="connsiteX56" fmla="*/ 7500 w 10000"/>
                    <a:gd name="connsiteY56" fmla="*/ 5135 h 10078"/>
                    <a:gd name="connsiteX57" fmla="*/ 7379 w 10000"/>
                    <a:gd name="connsiteY57" fmla="*/ 4493 h 10078"/>
                    <a:gd name="connsiteX58" fmla="*/ 6956 w 10000"/>
                    <a:gd name="connsiteY58" fmla="*/ 4304 h 10078"/>
                    <a:gd name="connsiteX59" fmla="*/ 7157 w 10000"/>
                    <a:gd name="connsiteY59" fmla="*/ 3946 h 10078"/>
                    <a:gd name="connsiteX60" fmla="*/ 6956 w 10000"/>
                    <a:gd name="connsiteY60" fmla="*/ 3757 h 10078"/>
                    <a:gd name="connsiteX61" fmla="*/ 7036 w 10000"/>
                    <a:gd name="connsiteY61" fmla="*/ 3569 h 10078"/>
                    <a:gd name="connsiteX62" fmla="*/ 7379 w 10000"/>
                    <a:gd name="connsiteY62" fmla="*/ 3569 h 10078"/>
                    <a:gd name="connsiteX63" fmla="*/ 7621 w 10000"/>
                    <a:gd name="connsiteY63" fmla="*/ 3946 h 10078"/>
                    <a:gd name="connsiteX64" fmla="*/ 8387 w 10000"/>
                    <a:gd name="connsiteY64" fmla="*/ 3946 h 10078"/>
                    <a:gd name="connsiteX65" fmla="*/ 8185 w 10000"/>
                    <a:gd name="connsiteY65" fmla="*/ 4493 h 10078"/>
                    <a:gd name="connsiteX66" fmla="*/ 8387 w 10000"/>
                    <a:gd name="connsiteY66" fmla="*/ 4606 h 10078"/>
                    <a:gd name="connsiteX67" fmla="*/ 8508 w 10000"/>
                    <a:gd name="connsiteY67" fmla="*/ 4493 h 10078"/>
                    <a:gd name="connsiteX68" fmla="*/ 8730 w 10000"/>
                    <a:gd name="connsiteY68" fmla="*/ 5021 h 10078"/>
                    <a:gd name="connsiteX69" fmla="*/ 8972 w 10000"/>
                    <a:gd name="connsiteY69" fmla="*/ 4304 h 10078"/>
                    <a:gd name="connsiteX70" fmla="*/ 9294 w 10000"/>
                    <a:gd name="connsiteY70" fmla="*/ 4191 h 10078"/>
                    <a:gd name="connsiteX71" fmla="*/ 9415 w 10000"/>
                    <a:gd name="connsiteY71" fmla="*/ 3342 h 10078"/>
                    <a:gd name="connsiteX72" fmla="*/ 9738 w 10000"/>
                    <a:gd name="connsiteY72" fmla="*/ 3116 h 10078"/>
                    <a:gd name="connsiteX73" fmla="*/ 10000 w 10000"/>
                    <a:gd name="connsiteY73" fmla="*/ 2682 h 10078"/>
                    <a:gd name="connsiteX74" fmla="*/ 9617 w 10000"/>
                    <a:gd name="connsiteY74" fmla="*/ 2606 h 10078"/>
                    <a:gd name="connsiteX75" fmla="*/ 9294 w 10000"/>
                    <a:gd name="connsiteY75" fmla="*/ 2304 h 10078"/>
                    <a:gd name="connsiteX76" fmla="*/ 8065 w 10000"/>
                    <a:gd name="connsiteY76" fmla="*/ 2927 h 10078"/>
                    <a:gd name="connsiteX77" fmla="*/ 7823 w 10000"/>
                    <a:gd name="connsiteY77" fmla="*/ 3342 h 10078"/>
                    <a:gd name="connsiteX78" fmla="*/ 7621 w 10000"/>
                    <a:gd name="connsiteY78" fmla="*/ 3455 h 10078"/>
                    <a:gd name="connsiteX79" fmla="*/ 7500 w 10000"/>
                    <a:gd name="connsiteY79" fmla="*/ 3229 h 10078"/>
                    <a:gd name="connsiteX80" fmla="*/ 7036 w 10000"/>
                    <a:gd name="connsiteY80" fmla="*/ 3116 h 10078"/>
                    <a:gd name="connsiteX81" fmla="*/ 7157 w 10000"/>
                    <a:gd name="connsiteY81"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338 w 10000"/>
                    <a:gd name="connsiteY16" fmla="*/ 254 h 10078"/>
                    <a:gd name="connsiteX17" fmla="*/ 3343 w 10000"/>
                    <a:gd name="connsiteY17" fmla="*/ 0 h 10078"/>
                    <a:gd name="connsiteX18" fmla="*/ 2218 w 10000"/>
                    <a:gd name="connsiteY18" fmla="*/ 191 h 10078"/>
                    <a:gd name="connsiteX19" fmla="*/ 2137 w 10000"/>
                    <a:gd name="connsiteY19" fmla="*/ 399 h 10078"/>
                    <a:gd name="connsiteX20" fmla="*/ 1230 w 10000"/>
                    <a:gd name="connsiteY20" fmla="*/ 512 h 10078"/>
                    <a:gd name="connsiteX21" fmla="*/ 1351 w 10000"/>
                    <a:gd name="connsiteY21" fmla="*/ 927 h 10078"/>
                    <a:gd name="connsiteX22" fmla="*/ 1895 w 10000"/>
                    <a:gd name="connsiteY22" fmla="*/ 1342 h 10078"/>
                    <a:gd name="connsiteX23" fmla="*/ 1673 w 10000"/>
                    <a:gd name="connsiteY23" fmla="*/ 1531 h 10078"/>
                    <a:gd name="connsiteX24" fmla="*/ 1673 w 10000"/>
                    <a:gd name="connsiteY24" fmla="*/ 1852 h 10078"/>
                    <a:gd name="connsiteX25" fmla="*/ 907 w 10000"/>
                    <a:gd name="connsiteY25" fmla="*/ 2927 h 10078"/>
                    <a:gd name="connsiteX26" fmla="*/ 323 w 10000"/>
                    <a:gd name="connsiteY26" fmla="*/ 3116 h 10078"/>
                    <a:gd name="connsiteX27" fmla="*/ 1028 w 10000"/>
                    <a:gd name="connsiteY27" fmla="*/ 3946 h 10078"/>
                    <a:gd name="connsiteX28" fmla="*/ 786 w 10000"/>
                    <a:gd name="connsiteY28" fmla="*/ 4191 h 10078"/>
                    <a:gd name="connsiteX29" fmla="*/ 0 w 10000"/>
                    <a:gd name="connsiteY29" fmla="*/ 4380 h 10078"/>
                    <a:gd name="connsiteX30" fmla="*/ 202 w 10000"/>
                    <a:gd name="connsiteY30" fmla="*/ 4720 h 10078"/>
                    <a:gd name="connsiteX31" fmla="*/ 665 w 10000"/>
                    <a:gd name="connsiteY31" fmla="*/ 4720 h 10078"/>
                    <a:gd name="connsiteX32" fmla="*/ 323 w 10000"/>
                    <a:gd name="connsiteY32" fmla="*/ 4908 h 10078"/>
                    <a:gd name="connsiteX33" fmla="*/ 786 w 10000"/>
                    <a:gd name="connsiteY33" fmla="*/ 5455 h 10078"/>
                    <a:gd name="connsiteX34" fmla="*/ 1109 w 10000"/>
                    <a:gd name="connsiteY34" fmla="*/ 5210 h 10078"/>
                    <a:gd name="connsiteX35" fmla="*/ 1431 w 10000"/>
                    <a:gd name="connsiteY35" fmla="*/ 4833 h 10078"/>
                    <a:gd name="connsiteX36" fmla="*/ 1552 w 10000"/>
                    <a:gd name="connsiteY36" fmla="*/ 5135 h 10078"/>
                    <a:gd name="connsiteX37" fmla="*/ 1794 w 10000"/>
                    <a:gd name="connsiteY37" fmla="*/ 5210 h 10078"/>
                    <a:gd name="connsiteX38" fmla="*/ 1794 w 10000"/>
                    <a:gd name="connsiteY38" fmla="*/ 6720 h 10078"/>
                    <a:gd name="connsiteX39" fmla="*/ 2339 w 10000"/>
                    <a:gd name="connsiteY39" fmla="*/ 7550 h 10078"/>
                    <a:gd name="connsiteX40" fmla="*/ 2581 w 10000"/>
                    <a:gd name="connsiteY40" fmla="*/ 8097 h 10078"/>
                    <a:gd name="connsiteX41" fmla="*/ 3488 w 10000"/>
                    <a:gd name="connsiteY41" fmla="*/ 9738 h 10078"/>
                    <a:gd name="connsiteX42" fmla="*/ 3810 w 10000"/>
                    <a:gd name="connsiteY42" fmla="*/ 10078 h 10078"/>
                    <a:gd name="connsiteX43" fmla="*/ 4375 w 10000"/>
                    <a:gd name="connsiteY43" fmla="*/ 9663 h 10078"/>
                    <a:gd name="connsiteX44" fmla="*/ 4254 w 10000"/>
                    <a:gd name="connsiteY44" fmla="*/ 9436 h 10078"/>
                    <a:gd name="connsiteX45" fmla="*/ 4456 w 10000"/>
                    <a:gd name="connsiteY45" fmla="*/ 9248 h 10078"/>
                    <a:gd name="connsiteX46" fmla="*/ 4456 w 10000"/>
                    <a:gd name="connsiteY46" fmla="*/ 8927 h 10078"/>
                    <a:gd name="connsiteX47" fmla="*/ 4375 w 10000"/>
                    <a:gd name="connsiteY47" fmla="*/ 8814 h 10078"/>
                    <a:gd name="connsiteX48" fmla="*/ 4718 w 10000"/>
                    <a:gd name="connsiteY48" fmla="*/ 8172 h 10078"/>
                    <a:gd name="connsiteX49" fmla="*/ 4597 w 10000"/>
                    <a:gd name="connsiteY49" fmla="*/ 7984 h 10078"/>
                    <a:gd name="connsiteX50" fmla="*/ 4597 w 10000"/>
                    <a:gd name="connsiteY50" fmla="*/ 7248 h 10078"/>
                    <a:gd name="connsiteX51" fmla="*/ 4919 w 10000"/>
                    <a:gd name="connsiteY51" fmla="*/ 7135 h 10078"/>
                    <a:gd name="connsiteX52" fmla="*/ 5806 w 10000"/>
                    <a:gd name="connsiteY52" fmla="*/ 6286 h 10078"/>
                    <a:gd name="connsiteX53" fmla="*/ 5806 w 10000"/>
                    <a:gd name="connsiteY53" fmla="*/ 5984 h 10078"/>
                    <a:gd name="connsiteX54" fmla="*/ 6714 w 10000"/>
                    <a:gd name="connsiteY54" fmla="*/ 5569 h 10078"/>
                    <a:gd name="connsiteX55" fmla="*/ 6593 w 10000"/>
                    <a:gd name="connsiteY55" fmla="*/ 5342 h 10078"/>
                    <a:gd name="connsiteX56" fmla="*/ 6956 w 10000"/>
                    <a:gd name="connsiteY56" fmla="*/ 5135 h 10078"/>
                    <a:gd name="connsiteX57" fmla="*/ 7500 w 10000"/>
                    <a:gd name="connsiteY57" fmla="*/ 5135 h 10078"/>
                    <a:gd name="connsiteX58" fmla="*/ 7379 w 10000"/>
                    <a:gd name="connsiteY58" fmla="*/ 4493 h 10078"/>
                    <a:gd name="connsiteX59" fmla="*/ 6956 w 10000"/>
                    <a:gd name="connsiteY59" fmla="*/ 4304 h 10078"/>
                    <a:gd name="connsiteX60" fmla="*/ 7157 w 10000"/>
                    <a:gd name="connsiteY60" fmla="*/ 3946 h 10078"/>
                    <a:gd name="connsiteX61" fmla="*/ 6956 w 10000"/>
                    <a:gd name="connsiteY61" fmla="*/ 3757 h 10078"/>
                    <a:gd name="connsiteX62" fmla="*/ 7036 w 10000"/>
                    <a:gd name="connsiteY62" fmla="*/ 3569 h 10078"/>
                    <a:gd name="connsiteX63" fmla="*/ 7379 w 10000"/>
                    <a:gd name="connsiteY63" fmla="*/ 3569 h 10078"/>
                    <a:gd name="connsiteX64" fmla="*/ 7621 w 10000"/>
                    <a:gd name="connsiteY64" fmla="*/ 3946 h 10078"/>
                    <a:gd name="connsiteX65" fmla="*/ 8387 w 10000"/>
                    <a:gd name="connsiteY65" fmla="*/ 3946 h 10078"/>
                    <a:gd name="connsiteX66" fmla="*/ 8185 w 10000"/>
                    <a:gd name="connsiteY66" fmla="*/ 4493 h 10078"/>
                    <a:gd name="connsiteX67" fmla="*/ 8387 w 10000"/>
                    <a:gd name="connsiteY67" fmla="*/ 4606 h 10078"/>
                    <a:gd name="connsiteX68" fmla="*/ 8508 w 10000"/>
                    <a:gd name="connsiteY68" fmla="*/ 4493 h 10078"/>
                    <a:gd name="connsiteX69" fmla="*/ 8730 w 10000"/>
                    <a:gd name="connsiteY69" fmla="*/ 5021 h 10078"/>
                    <a:gd name="connsiteX70" fmla="*/ 8972 w 10000"/>
                    <a:gd name="connsiteY70" fmla="*/ 4304 h 10078"/>
                    <a:gd name="connsiteX71" fmla="*/ 9294 w 10000"/>
                    <a:gd name="connsiteY71" fmla="*/ 4191 h 10078"/>
                    <a:gd name="connsiteX72" fmla="*/ 9415 w 10000"/>
                    <a:gd name="connsiteY72" fmla="*/ 3342 h 10078"/>
                    <a:gd name="connsiteX73" fmla="*/ 9738 w 10000"/>
                    <a:gd name="connsiteY73" fmla="*/ 3116 h 10078"/>
                    <a:gd name="connsiteX74" fmla="*/ 10000 w 10000"/>
                    <a:gd name="connsiteY74" fmla="*/ 2682 h 10078"/>
                    <a:gd name="connsiteX75" fmla="*/ 9617 w 10000"/>
                    <a:gd name="connsiteY75" fmla="*/ 2606 h 10078"/>
                    <a:gd name="connsiteX76" fmla="*/ 9294 w 10000"/>
                    <a:gd name="connsiteY76" fmla="*/ 2304 h 10078"/>
                    <a:gd name="connsiteX77" fmla="*/ 8065 w 10000"/>
                    <a:gd name="connsiteY77" fmla="*/ 2927 h 10078"/>
                    <a:gd name="connsiteX78" fmla="*/ 7823 w 10000"/>
                    <a:gd name="connsiteY78" fmla="*/ 3342 h 10078"/>
                    <a:gd name="connsiteX79" fmla="*/ 7621 w 10000"/>
                    <a:gd name="connsiteY79" fmla="*/ 3455 h 10078"/>
                    <a:gd name="connsiteX80" fmla="*/ 7500 w 10000"/>
                    <a:gd name="connsiteY80" fmla="*/ 3229 h 10078"/>
                    <a:gd name="connsiteX81" fmla="*/ 7036 w 10000"/>
                    <a:gd name="connsiteY81" fmla="*/ 3116 h 10078"/>
                    <a:gd name="connsiteX82" fmla="*/ 7157 w 10000"/>
                    <a:gd name="connsiteY82"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28 w 10000"/>
                    <a:gd name="connsiteY16" fmla="*/ 265 h 10078"/>
                    <a:gd name="connsiteX17" fmla="*/ 3343 w 10000"/>
                    <a:gd name="connsiteY17" fmla="*/ 0 h 10078"/>
                    <a:gd name="connsiteX18" fmla="*/ 2218 w 10000"/>
                    <a:gd name="connsiteY18" fmla="*/ 191 h 10078"/>
                    <a:gd name="connsiteX19" fmla="*/ 2137 w 10000"/>
                    <a:gd name="connsiteY19" fmla="*/ 399 h 10078"/>
                    <a:gd name="connsiteX20" fmla="*/ 1230 w 10000"/>
                    <a:gd name="connsiteY20" fmla="*/ 512 h 10078"/>
                    <a:gd name="connsiteX21" fmla="*/ 1351 w 10000"/>
                    <a:gd name="connsiteY21" fmla="*/ 927 h 10078"/>
                    <a:gd name="connsiteX22" fmla="*/ 1895 w 10000"/>
                    <a:gd name="connsiteY22" fmla="*/ 1342 h 10078"/>
                    <a:gd name="connsiteX23" fmla="*/ 1673 w 10000"/>
                    <a:gd name="connsiteY23" fmla="*/ 1531 h 10078"/>
                    <a:gd name="connsiteX24" fmla="*/ 1673 w 10000"/>
                    <a:gd name="connsiteY24" fmla="*/ 1852 h 10078"/>
                    <a:gd name="connsiteX25" fmla="*/ 907 w 10000"/>
                    <a:gd name="connsiteY25" fmla="*/ 2927 h 10078"/>
                    <a:gd name="connsiteX26" fmla="*/ 323 w 10000"/>
                    <a:gd name="connsiteY26" fmla="*/ 3116 h 10078"/>
                    <a:gd name="connsiteX27" fmla="*/ 1028 w 10000"/>
                    <a:gd name="connsiteY27" fmla="*/ 3946 h 10078"/>
                    <a:gd name="connsiteX28" fmla="*/ 786 w 10000"/>
                    <a:gd name="connsiteY28" fmla="*/ 4191 h 10078"/>
                    <a:gd name="connsiteX29" fmla="*/ 0 w 10000"/>
                    <a:gd name="connsiteY29" fmla="*/ 4380 h 10078"/>
                    <a:gd name="connsiteX30" fmla="*/ 202 w 10000"/>
                    <a:gd name="connsiteY30" fmla="*/ 4720 h 10078"/>
                    <a:gd name="connsiteX31" fmla="*/ 665 w 10000"/>
                    <a:gd name="connsiteY31" fmla="*/ 4720 h 10078"/>
                    <a:gd name="connsiteX32" fmla="*/ 323 w 10000"/>
                    <a:gd name="connsiteY32" fmla="*/ 4908 h 10078"/>
                    <a:gd name="connsiteX33" fmla="*/ 786 w 10000"/>
                    <a:gd name="connsiteY33" fmla="*/ 5455 h 10078"/>
                    <a:gd name="connsiteX34" fmla="*/ 1109 w 10000"/>
                    <a:gd name="connsiteY34" fmla="*/ 5210 h 10078"/>
                    <a:gd name="connsiteX35" fmla="*/ 1431 w 10000"/>
                    <a:gd name="connsiteY35" fmla="*/ 4833 h 10078"/>
                    <a:gd name="connsiteX36" fmla="*/ 1552 w 10000"/>
                    <a:gd name="connsiteY36" fmla="*/ 5135 h 10078"/>
                    <a:gd name="connsiteX37" fmla="*/ 1794 w 10000"/>
                    <a:gd name="connsiteY37" fmla="*/ 5210 h 10078"/>
                    <a:gd name="connsiteX38" fmla="*/ 1794 w 10000"/>
                    <a:gd name="connsiteY38" fmla="*/ 6720 h 10078"/>
                    <a:gd name="connsiteX39" fmla="*/ 2339 w 10000"/>
                    <a:gd name="connsiteY39" fmla="*/ 7550 h 10078"/>
                    <a:gd name="connsiteX40" fmla="*/ 2581 w 10000"/>
                    <a:gd name="connsiteY40" fmla="*/ 8097 h 10078"/>
                    <a:gd name="connsiteX41" fmla="*/ 3488 w 10000"/>
                    <a:gd name="connsiteY41" fmla="*/ 9738 h 10078"/>
                    <a:gd name="connsiteX42" fmla="*/ 3810 w 10000"/>
                    <a:gd name="connsiteY42" fmla="*/ 10078 h 10078"/>
                    <a:gd name="connsiteX43" fmla="*/ 4375 w 10000"/>
                    <a:gd name="connsiteY43" fmla="*/ 9663 h 10078"/>
                    <a:gd name="connsiteX44" fmla="*/ 4254 w 10000"/>
                    <a:gd name="connsiteY44" fmla="*/ 9436 h 10078"/>
                    <a:gd name="connsiteX45" fmla="*/ 4456 w 10000"/>
                    <a:gd name="connsiteY45" fmla="*/ 9248 h 10078"/>
                    <a:gd name="connsiteX46" fmla="*/ 4456 w 10000"/>
                    <a:gd name="connsiteY46" fmla="*/ 8927 h 10078"/>
                    <a:gd name="connsiteX47" fmla="*/ 4375 w 10000"/>
                    <a:gd name="connsiteY47" fmla="*/ 8814 h 10078"/>
                    <a:gd name="connsiteX48" fmla="*/ 4718 w 10000"/>
                    <a:gd name="connsiteY48" fmla="*/ 8172 h 10078"/>
                    <a:gd name="connsiteX49" fmla="*/ 4597 w 10000"/>
                    <a:gd name="connsiteY49" fmla="*/ 7984 h 10078"/>
                    <a:gd name="connsiteX50" fmla="*/ 4597 w 10000"/>
                    <a:gd name="connsiteY50" fmla="*/ 7248 h 10078"/>
                    <a:gd name="connsiteX51" fmla="*/ 4919 w 10000"/>
                    <a:gd name="connsiteY51" fmla="*/ 7135 h 10078"/>
                    <a:gd name="connsiteX52" fmla="*/ 5806 w 10000"/>
                    <a:gd name="connsiteY52" fmla="*/ 6286 h 10078"/>
                    <a:gd name="connsiteX53" fmla="*/ 5806 w 10000"/>
                    <a:gd name="connsiteY53" fmla="*/ 5984 h 10078"/>
                    <a:gd name="connsiteX54" fmla="*/ 6714 w 10000"/>
                    <a:gd name="connsiteY54" fmla="*/ 5569 h 10078"/>
                    <a:gd name="connsiteX55" fmla="*/ 6593 w 10000"/>
                    <a:gd name="connsiteY55" fmla="*/ 5342 h 10078"/>
                    <a:gd name="connsiteX56" fmla="*/ 6956 w 10000"/>
                    <a:gd name="connsiteY56" fmla="*/ 5135 h 10078"/>
                    <a:gd name="connsiteX57" fmla="*/ 7500 w 10000"/>
                    <a:gd name="connsiteY57" fmla="*/ 5135 h 10078"/>
                    <a:gd name="connsiteX58" fmla="*/ 7379 w 10000"/>
                    <a:gd name="connsiteY58" fmla="*/ 4493 h 10078"/>
                    <a:gd name="connsiteX59" fmla="*/ 6956 w 10000"/>
                    <a:gd name="connsiteY59" fmla="*/ 4304 h 10078"/>
                    <a:gd name="connsiteX60" fmla="*/ 7157 w 10000"/>
                    <a:gd name="connsiteY60" fmla="*/ 3946 h 10078"/>
                    <a:gd name="connsiteX61" fmla="*/ 6956 w 10000"/>
                    <a:gd name="connsiteY61" fmla="*/ 3757 h 10078"/>
                    <a:gd name="connsiteX62" fmla="*/ 7036 w 10000"/>
                    <a:gd name="connsiteY62" fmla="*/ 3569 h 10078"/>
                    <a:gd name="connsiteX63" fmla="*/ 7379 w 10000"/>
                    <a:gd name="connsiteY63" fmla="*/ 3569 h 10078"/>
                    <a:gd name="connsiteX64" fmla="*/ 7621 w 10000"/>
                    <a:gd name="connsiteY64" fmla="*/ 3946 h 10078"/>
                    <a:gd name="connsiteX65" fmla="*/ 8387 w 10000"/>
                    <a:gd name="connsiteY65" fmla="*/ 3946 h 10078"/>
                    <a:gd name="connsiteX66" fmla="*/ 8185 w 10000"/>
                    <a:gd name="connsiteY66" fmla="*/ 4493 h 10078"/>
                    <a:gd name="connsiteX67" fmla="*/ 8387 w 10000"/>
                    <a:gd name="connsiteY67" fmla="*/ 4606 h 10078"/>
                    <a:gd name="connsiteX68" fmla="*/ 8508 w 10000"/>
                    <a:gd name="connsiteY68" fmla="*/ 4493 h 10078"/>
                    <a:gd name="connsiteX69" fmla="*/ 8730 w 10000"/>
                    <a:gd name="connsiteY69" fmla="*/ 5021 h 10078"/>
                    <a:gd name="connsiteX70" fmla="*/ 8972 w 10000"/>
                    <a:gd name="connsiteY70" fmla="*/ 4304 h 10078"/>
                    <a:gd name="connsiteX71" fmla="*/ 9294 w 10000"/>
                    <a:gd name="connsiteY71" fmla="*/ 4191 h 10078"/>
                    <a:gd name="connsiteX72" fmla="*/ 9415 w 10000"/>
                    <a:gd name="connsiteY72" fmla="*/ 3342 h 10078"/>
                    <a:gd name="connsiteX73" fmla="*/ 9738 w 10000"/>
                    <a:gd name="connsiteY73" fmla="*/ 3116 h 10078"/>
                    <a:gd name="connsiteX74" fmla="*/ 10000 w 10000"/>
                    <a:gd name="connsiteY74" fmla="*/ 2682 h 10078"/>
                    <a:gd name="connsiteX75" fmla="*/ 9617 w 10000"/>
                    <a:gd name="connsiteY75" fmla="*/ 2606 h 10078"/>
                    <a:gd name="connsiteX76" fmla="*/ 9294 w 10000"/>
                    <a:gd name="connsiteY76" fmla="*/ 2304 h 10078"/>
                    <a:gd name="connsiteX77" fmla="*/ 8065 w 10000"/>
                    <a:gd name="connsiteY77" fmla="*/ 2927 h 10078"/>
                    <a:gd name="connsiteX78" fmla="*/ 7823 w 10000"/>
                    <a:gd name="connsiteY78" fmla="*/ 3342 h 10078"/>
                    <a:gd name="connsiteX79" fmla="*/ 7621 w 10000"/>
                    <a:gd name="connsiteY79" fmla="*/ 3455 h 10078"/>
                    <a:gd name="connsiteX80" fmla="*/ 7500 w 10000"/>
                    <a:gd name="connsiteY80" fmla="*/ 3229 h 10078"/>
                    <a:gd name="connsiteX81" fmla="*/ 7036 w 10000"/>
                    <a:gd name="connsiteY81" fmla="*/ 3116 h 10078"/>
                    <a:gd name="connsiteX82" fmla="*/ 7157 w 10000"/>
                    <a:gd name="connsiteY82"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28 w 10000"/>
                    <a:gd name="connsiteY16" fmla="*/ 265 h 10078"/>
                    <a:gd name="connsiteX17" fmla="*/ 3343 w 10000"/>
                    <a:gd name="connsiteY17" fmla="*/ 0 h 10078"/>
                    <a:gd name="connsiteX18" fmla="*/ 2218 w 10000"/>
                    <a:gd name="connsiteY18" fmla="*/ 191 h 10078"/>
                    <a:gd name="connsiteX19" fmla="*/ 2137 w 10000"/>
                    <a:gd name="connsiteY19" fmla="*/ 399 h 10078"/>
                    <a:gd name="connsiteX20" fmla="*/ 1230 w 10000"/>
                    <a:gd name="connsiteY20" fmla="*/ 512 h 10078"/>
                    <a:gd name="connsiteX21" fmla="*/ 1351 w 10000"/>
                    <a:gd name="connsiteY21" fmla="*/ 927 h 10078"/>
                    <a:gd name="connsiteX22" fmla="*/ 1895 w 10000"/>
                    <a:gd name="connsiteY22" fmla="*/ 1342 h 10078"/>
                    <a:gd name="connsiteX23" fmla="*/ 1673 w 10000"/>
                    <a:gd name="connsiteY23" fmla="*/ 1531 h 10078"/>
                    <a:gd name="connsiteX24" fmla="*/ 1673 w 10000"/>
                    <a:gd name="connsiteY24" fmla="*/ 1852 h 10078"/>
                    <a:gd name="connsiteX25" fmla="*/ 907 w 10000"/>
                    <a:gd name="connsiteY25" fmla="*/ 2927 h 10078"/>
                    <a:gd name="connsiteX26" fmla="*/ 323 w 10000"/>
                    <a:gd name="connsiteY26" fmla="*/ 3116 h 10078"/>
                    <a:gd name="connsiteX27" fmla="*/ 1028 w 10000"/>
                    <a:gd name="connsiteY27" fmla="*/ 3946 h 10078"/>
                    <a:gd name="connsiteX28" fmla="*/ 786 w 10000"/>
                    <a:gd name="connsiteY28" fmla="*/ 4191 h 10078"/>
                    <a:gd name="connsiteX29" fmla="*/ 0 w 10000"/>
                    <a:gd name="connsiteY29" fmla="*/ 4380 h 10078"/>
                    <a:gd name="connsiteX30" fmla="*/ 202 w 10000"/>
                    <a:gd name="connsiteY30" fmla="*/ 4720 h 10078"/>
                    <a:gd name="connsiteX31" fmla="*/ 665 w 10000"/>
                    <a:gd name="connsiteY31" fmla="*/ 4720 h 10078"/>
                    <a:gd name="connsiteX32" fmla="*/ 323 w 10000"/>
                    <a:gd name="connsiteY32" fmla="*/ 4908 h 10078"/>
                    <a:gd name="connsiteX33" fmla="*/ 786 w 10000"/>
                    <a:gd name="connsiteY33" fmla="*/ 5455 h 10078"/>
                    <a:gd name="connsiteX34" fmla="*/ 1109 w 10000"/>
                    <a:gd name="connsiteY34" fmla="*/ 5210 h 10078"/>
                    <a:gd name="connsiteX35" fmla="*/ 1431 w 10000"/>
                    <a:gd name="connsiteY35" fmla="*/ 4833 h 10078"/>
                    <a:gd name="connsiteX36" fmla="*/ 1552 w 10000"/>
                    <a:gd name="connsiteY36" fmla="*/ 5135 h 10078"/>
                    <a:gd name="connsiteX37" fmla="*/ 1794 w 10000"/>
                    <a:gd name="connsiteY37" fmla="*/ 5210 h 10078"/>
                    <a:gd name="connsiteX38" fmla="*/ 1794 w 10000"/>
                    <a:gd name="connsiteY38" fmla="*/ 6720 h 10078"/>
                    <a:gd name="connsiteX39" fmla="*/ 2339 w 10000"/>
                    <a:gd name="connsiteY39" fmla="*/ 7550 h 10078"/>
                    <a:gd name="connsiteX40" fmla="*/ 2581 w 10000"/>
                    <a:gd name="connsiteY40" fmla="*/ 8097 h 10078"/>
                    <a:gd name="connsiteX41" fmla="*/ 3488 w 10000"/>
                    <a:gd name="connsiteY41" fmla="*/ 9738 h 10078"/>
                    <a:gd name="connsiteX42" fmla="*/ 3810 w 10000"/>
                    <a:gd name="connsiteY42" fmla="*/ 10078 h 10078"/>
                    <a:gd name="connsiteX43" fmla="*/ 4375 w 10000"/>
                    <a:gd name="connsiteY43" fmla="*/ 9663 h 10078"/>
                    <a:gd name="connsiteX44" fmla="*/ 4254 w 10000"/>
                    <a:gd name="connsiteY44" fmla="*/ 9436 h 10078"/>
                    <a:gd name="connsiteX45" fmla="*/ 4456 w 10000"/>
                    <a:gd name="connsiteY45" fmla="*/ 9248 h 10078"/>
                    <a:gd name="connsiteX46" fmla="*/ 4456 w 10000"/>
                    <a:gd name="connsiteY46" fmla="*/ 8927 h 10078"/>
                    <a:gd name="connsiteX47" fmla="*/ 4375 w 10000"/>
                    <a:gd name="connsiteY47" fmla="*/ 8814 h 10078"/>
                    <a:gd name="connsiteX48" fmla="*/ 4718 w 10000"/>
                    <a:gd name="connsiteY48" fmla="*/ 8172 h 10078"/>
                    <a:gd name="connsiteX49" fmla="*/ 4597 w 10000"/>
                    <a:gd name="connsiteY49" fmla="*/ 7984 h 10078"/>
                    <a:gd name="connsiteX50" fmla="*/ 4597 w 10000"/>
                    <a:gd name="connsiteY50" fmla="*/ 7248 h 10078"/>
                    <a:gd name="connsiteX51" fmla="*/ 4919 w 10000"/>
                    <a:gd name="connsiteY51" fmla="*/ 7135 h 10078"/>
                    <a:gd name="connsiteX52" fmla="*/ 5806 w 10000"/>
                    <a:gd name="connsiteY52" fmla="*/ 6286 h 10078"/>
                    <a:gd name="connsiteX53" fmla="*/ 5806 w 10000"/>
                    <a:gd name="connsiteY53" fmla="*/ 5984 h 10078"/>
                    <a:gd name="connsiteX54" fmla="*/ 6714 w 10000"/>
                    <a:gd name="connsiteY54" fmla="*/ 5569 h 10078"/>
                    <a:gd name="connsiteX55" fmla="*/ 6593 w 10000"/>
                    <a:gd name="connsiteY55" fmla="*/ 5342 h 10078"/>
                    <a:gd name="connsiteX56" fmla="*/ 6956 w 10000"/>
                    <a:gd name="connsiteY56" fmla="*/ 5135 h 10078"/>
                    <a:gd name="connsiteX57" fmla="*/ 7500 w 10000"/>
                    <a:gd name="connsiteY57" fmla="*/ 5135 h 10078"/>
                    <a:gd name="connsiteX58" fmla="*/ 7379 w 10000"/>
                    <a:gd name="connsiteY58" fmla="*/ 4493 h 10078"/>
                    <a:gd name="connsiteX59" fmla="*/ 6956 w 10000"/>
                    <a:gd name="connsiteY59" fmla="*/ 4304 h 10078"/>
                    <a:gd name="connsiteX60" fmla="*/ 7157 w 10000"/>
                    <a:gd name="connsiteY60" fmla="*/ 3946 h 10078"/>
                    <a:gd name="connsiteX61" fmla="*/ 6956 w 10000"/>
                    <a:gd name="connsiteY61" fmla="*/ 3757 h 10078"/>
                    <a:gd name="connsiteX62" fmla="*/ 7036 w 10000"/>
                    <a:gd name="connsiteY62" fmla="*/ 3569 h 10078"/>
                    <a:gd name="connsiteX63" fmla="*/ 7379 w 10000"/>
                    <a:gd name="connsiteY63" fmla="*/ 3569 h 10078"/>
                    <a:gd name="connsiteX64" fmla="*/ 7621 w 10000"/>
                    <a:gd name="connsiteY64" fmla="*/ 3946 h 10078"/>
                    <a:gd name="connsiteX65" fmla="*/ 8387 w 10000"/>
                    <a:gd name="connsiteY65" fmla="*/ 3946 h 10078"/>
                    <a:gd name="connsiteX66" fmla="*/ 8185 w 10000"/>
                    <a:gd name="connsiteY66" fmla="*/ 4493 h 10078"/>
                    <a:gd name="connsiteX67" fmla="*/ 8387 w 10000"/>
                    <a:gd name="connsiteY67" fmla="*/ 4606 h 10078"/>
                    <a:gd name="connsiteX68" fmla="*/ 8508 w 10000"/>
                    <a:gd name="connsiteY68" fmla="*/ 4493 h 10078"/>
                    <a:gd name="connsiteX69" fmla="*/ 8730 w 10000"/>
                    <a:gd name="connsiteY69" fmla="*/ 5021 h 10078"/>
                    <a:gd name="connsiteX70" fmla="*/ 8972 w 10000"/>
                    <a:gd name="connsiteY70" fmla="*/ 4304 h 10078"/>
                    <a:gd name="connsiteX71" fmla="*/ 9294 w 10000"/>
                    <a:gd name="connsiteY71" fmla="*/ 4191 h 10078"/>
                    <a:gd name="connsiteX72" fmla="*/ 9415 w 10000"/>
                    <a:gd name="connsiteY72" fmla="*/ 3342 h 10078"/>
                    <a:gd name="connsiteX73" fmla="*/ 9738 w 10000"/>
                    <a:gd name="connsiteY73" fmla="*/ 3116 h 10078"/>
                    <a:gd name="connsiteX74" fmla="*/ 10000 w 10000"/>
                    <a:gd name="connsiteY74" fmla="*/ 2682 h 10078"/>
                    <a:gd name="connsiteX75" fmla="*/ 9617 w 10000"/>
                    <a:gd name="connsiteY75" fmla="*/ 2606 h 10078"/>
                    <a:gd name="connsiteX76" fmla="*/ 9294 w 10000"/>
                    <a:gd name="connsiteY76" fmla="*/ 2304 h 10078"/>
                    <a:gd name="connsiteX77" fmla="*/ 8065 w 10000"/>
                    <a:gd name="connsiteY77" fmla="*/ 2927 h 10078"/>
                    <a:gd name="connsiteX78" fmla="*/ 7823 w 10000"/>
                    <a:gd name="connsiteY78" fmla="*/ 3342 h 10078"/>
                    <a:gd name="connsiteX79" fmla="*/ 7621 w 10000"/>
                    <a:gd name="connsiteY79" fmla="*/ 3455 h 10078"/>
                    <a:gd name="connsiteX80" fmla="*/ 7500 w 10000"/>
                    <a:gd name="connsiteY80" fmla="*/ 3229 h 10078"/>
                    <a:gd name="connsiteX81" fmla="*/ 7036 w 10000"/>
                    <a:gd name="connsiteY81" fmla="*/ 3116 h 10078"/>
                    <a:gd name="connsiteX82" fmla="*/ 7157 w 10000"/>
                    <a:gd name="connsiteY82"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28 w 10000"/>
                    <a:gd name="connsiteY16" fmla="*/ 265 h 10078"/>
                    <a:gd name="connsiteX17" fmla="*/ 3343 w 10000"/>
                    <a:gd name="connsiteY17" fmla="*/ 0 h 10078"/>
                    <a:gd name="connsiteX18" fmla="*/ 2218 w 10000"/>
                    <a:gd name="connsiteY18" fmla="*/ 191 h 10078"/>
                    <a:gd name="connsiteX19" fmla="*/ 2137 w 10000"/>
                    <a:gd name="connsiteY19" fmla="*/ 399 h 10078"/>
                    <a:gd name="connsiteX20" fmla="*/ 1230 w 10000"/>
                    <a:gd name="connsiteY20" fmla="*/ 512 h 10078"/>
                    <a:gd name="connsiteX21" fmla="*/ 1351 w 10000"/>
                    <a:gd name="connsiteY21" fmla="*/ 927 h 10078"/>
                    <a:gd name="connsiteX22" fmla="*/ 1895 w 10000"/>
                    <a:gd name="connsiteY22" fmla="*/ 1342 h 10078"/>
                    <a:gd name="connsiteX23" fmla="*/ 1673 w 10000"/>
                    <a:gd name="connsiteY23" fmla="*/ 1531 h 10078"/>
                    <a:gd name="connsiteX24" fmla="*/ 1673 w 10000"/>
                    <a:gd name="connsiteY24" fmla="*/ 1852 h 10078"/>
                    <a:gd name="connsiteX25" fmla="*/ 907 w 10000"/>
                    <a:gd name="connsiteY25" fmla="*/ 2927 h 10078"/>
                    <a:gd name="connsiteX26" fmla="*/ 323 w 10000"/>
                    <a:gd name="connsiteY26" fmla="*/ 3116 h 10078"/>
                    <a:gd name="connsiteX27" fmla="*/ 1028 w 10000"/>
                    <a:gd name="connsiteY27" fmla="*/ 3946 h 10078"/>
                    <a:gd name="connsiteX28" fmla="*/ 786 w 10000"/>
                    <a:gd name="connsiteY28" fmla="*/ 4191 h 10078"/>
                    <a:gd name="connsiteX29" fmla="*/ 0 w 10000"/>
                    <a:gd name="connsiteY29" fmla="*/ 4380 h 10078"/>
                    <a:gd name="connsiteX30" fmla="*/ 202 w 10000"/>
                    <a:gd name="connsiteY30" fmla="*/ 4720 h 10078"/>
                    <a:gd name="connsiteX31" fmla="*/ 665 w 10000"/>
                    <a:gd name="connsiteY31" fmla="*/ 4720 h 10078"/>
                    <a:gd name="connsiteX32" fmla="*/ 323 w 10000"/>
                    <a:gd name="connsiteY32" fmla="*/ 4908 h 10078"/>
                    <a:gd name="connsiteX33" fmla="*/ 786 w 10000"/>
                    <a:gd name="connsiteY33" fmla="*/ 5455 h 10078"/>
                    <a:gd name="connsiteX34" fmla="*/ 1109 w 10000"/>
                    <a:gd name="connsiteY34" fmla="*/ 5210 h 10078"/>
                    <a:gd name="connsiteX35" fmla="*/ 1431 w 10000"/>
                    <a:gd name="connsiteY35" fmla="*/ 4833 h 10078"/>
                    <a:gd name="connsiteX36" fmla="*/ 1552 w 10000"/>
                    <a:gd name="connsiteY36" fmla="*/ 5135 h 10078"/>
                    <a:gd name="connsiteX37" fmla="*/ 1794 w 10000"/>
                    <a:gd name="connsiteY37" fmla="*/ 5210 h 10078"/>
                    <a:gd name="connsiteX38" fmla="*/ 1794 w 10000"/>
                    <a:gd name="connsiteY38" fmla="*/ 6720 h 10078"/>
                    <a:gd name="connsiteX39" fmla="*/ 2339 w 10000"/>
                    <a:gd name="connsiteY39" fmla="*/ 7550 h 10078"/>
                    <a:gd name="connsiteX40" fmla="*/ 2581 w 10000"/>
                    <a:gd name="connsiteY40" fmla="*/ 8097 h 10078"/>
                    <a:gd name="connsiteX41" fmla="*/ 3488 w 10000"/>
                    <a:gd name="connsiteY41" fmla="*/ 9738 h 10078"/>
                    <a:gd name="connsiteX42" fmla="*/ 3810 w 10000"/>
                    <a:gd name="connsiteY42" fmla="*/ 10078 h 10078"/>
                    <a:gd name="connsiteX43" fmla="*/ 4375 w 10000"/>
                    <a:gd name="connsiteY43" fmla="*/ 9663 h 10078"/>
                    <a:gd name="connsiteX44" fmla="*/ 4254 w 10000"/>
                    <a:gd name="connsiteY44" fmla="*/ 9436 h 10078"/>
                    <a:gd name="connsiteX45" fmla="*/ 4456 w 10000"/>
                    <a:gd name="connsiteY45" fmla="*/ 9248 h 10078"/>
                    <a:gd name="connsiteX46" fmla="*/ 4456 w 10000"/>
                    <a:gd name="connsiteY46" fmla="*/ 8927 h 10078"/>
                    <a:gd name="connsiteX47" fmla="*/ 4375 w 10000"/>
                    <a:gd name="connsiteY47" fmla="*/ 8814 h 10078"/>
                    <a:gd name="connsiteX48" fmla="*/ 4718 w 10000"/>
                    <a:gd name="connsiteY48" fmla="*/ 8172 h 10078"/>
                    <a:gd name="connsiteX49" fmla="*/ 4597 w 10000"/>
                    <a:gd name="connsiteY49" fmla="*/ 7984 h 10078"/>
                    <a:gd name="connsiteX50" fmla="*/ 4597 w 10000"/>
                    <a:gd name="connsiteY50" fmla="*/ 7248 h 10078"/>
                    <a:gd name="connsiteX51" fmla="*/ 4919 w 10000"/>
                    <a:gd name="connsiteY51" fmla="*/ 7135 h 10078"/>
                    <a:gd name="connsiteX52" fmla="*/ 5806 w 10000"/>
                    <a:gd name="connsiteY52" fmla="*/ 6286 h 10078"/>
                    <a:gd name="connsiteX53" fmla="*/ 5806 w 10000"/>
                    <a:gd name="connsiteY53" fmla="*/ 5984 h 10078"/>
                    <a:gd name="connsiteX54" fmla="*/ 6714 w 10000"/>
                    <a:gd name="connsiteY54" fmla="*/ 5569 h 10078"/>
                    <a:gd name="connsiteX55" fmla="*/ 6593 w 10000"/>
                    <a:gd name="connsiteY55" fmla="*/ 5342 h 10078"/>
                    <a:gd name="connsiteX56" fmla="*/ 6956 w 10000"/>
                    <a:gd name="connsiteY56" fmla="*/ 5135 h 10078"/>
                    <a:gd name="connsiteX57" fmla="*/ 7500 w 10000"/>
                    <a:gd name="connsiteY57" fmla="*/ 5135 h 10078"/>
                    <a:gd name="connsiteX58" fmla="*/ 7379 w 10000"/>
                    <a:gd name="connsiteY58" fmla="*/ 4493 h 10078"/>
                    <a:gd name="connsiteX59" fmla="*/ 6956 w 10000"/>
                    <a:gd name="connsiteY59" fmla="*/ 4304 h 10078"/>
                    <a:gd name="connsiteX60" fmla="*/ 7157 w 10000"/>
                    <a:gd name="connsiteY60" fmla="*/ 3946 h 10078"/>
                    <a:gd name="connsiteX61" fmla="*/ 6956 w 10000"/>
                    <a:gd name="connsiteY61" fmla="*/ 3757 h 10078"/>
                    <a:gd name="connsiteX62" fmla="*/ 7036 w 10000"/>
                    <a:gd name="connsiteY62" fmla="*/ 3569 h 10078"/>
                    <a:gd name="connsiteX63" fmla="*/ 7379 w 10000"/>
                    <a:gd name="connsiteY63" fmla="*/ 3569 h 10078"/>
                    <a:gd name="connsiteX64" fmla="*/ 7621 w 10000"/>
                    <a:gd name="connsiteY64" fmla="*/ 3946 h 10078"/>
                    <a:gd name="connsiteX65" fmla="*/ 8387 w 10000"/>
                    <a:gd name="connsiteY65" fmla="*/ 3946 h 10078"/>
                    <a:gd name="connsiteX66" fmla="*/ 8185 w 10000"/>
                    <a:gd name="connsiteY66" fmla="*/ 4493 h 10078"/>
                    <a:gd name="connsiteX67" fmla="*/ 8387 w 10000"/>
                    <a:gd name="connsiteY67" fmla="*/ 4606 h 10078"/>
                    <a:gd name="connsiteX68" fmla="*/ 8508 w 10000"/>
                    <a:gd name="connsiteY68" fmla="*/ 4493 h 10078"/>
                    <a:gd name="connsiteX69" fmla="*/ 8730 w 10000"/>
                    <a:gd name="connsiteY69" fmla="*/ 5021 h 10078"/>
                    <a:gd name="connsiteX70" fmla="*/ 8972 w 10000"/>
                    <a:gd name="connsiteY70" fmla="*/ 4304 h 10078"/>
                    <a:gd name="connsiteX71" fmla="*/ 9294 w 10000"/>
                    <a:gd name="connsiteY71" fmla="*/ 4191 h 10078"/>
                    <a:gd name="connsiteX72" fmla="*/ 9415 w 10000"/>
                    <a:gd name="connsiteY72" fmla="*/ 3342 h 10078"/>
                    <a:gd name="connsiteX73" fmla="*/ 9738 w 10000"/>
                    <a:gd name="connsiteY73" fmla="*/ 3116 h 10078"/>
                    <a:gd name="connsiteX74" fmla="*/ 10000 w 10000"/>
                    <a:gd name="connsiteY74" fmla="*/ 2682 h 10078"/>
                    <a:gd name="connsiteX75" fmla="*/ 9617 w 10000"/>
                    <a:gd name="connsiteY75" fmla="*/ 2606 h 10078"/>
                    <a:gd name="connsiteX76" fmla="*/ 9294 w 10000"/>
                    <a:gd name="connsiteY76" fmla="*/ 2304 h 10078"/>
                    <a:gd name="connsiteX77" fmla="*/ 8065 w 10000"/>
                    <a:gd name="connsiteY77" fmla="*/ 2927 h 10078"/>
                    <a:gd name="connsiteX78" fmla="*/ 7823 w 10000"/>
                    <a:gd name="connsiteY78" fmla="*/ 3342 h 10078"/>
                    <a:gd name="connsiteX79" fmla="*/ 7621 w 10000"/>
                    <a:gd name="connsiteY79" fmla="*/ 3455 h 10078"/>
                    <a:gd name="connsiteX80" fmla="*/ 7500 w 10000"/>
                    <a:gd name="connsiteY80" fmla="*/ 3229 h 10078"/>
                    <a:gd name="connsiteX81" fmla="*/ 7036 w 10000"/>
                    <a:gd name="connsiteY81" fmla="*/ 3116 h 10078"/>
                    <a:gd name="connsiteX82" fmla="*/ 7157 w 10000"/>
                    <a:gd name="connsiteY82"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528 w 10000"/>
                    <a:gd name="connsiteY17" fmla="*/ 265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528 w 10000"/>
                    <a:gd name="connsiteY17" fmla="*/ 265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528 w 10000"/>
                    <a:gd name="connsiteY17" fmla="*/ 265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528 w 10000"/>
                    <a:gd name="connsiteY17" fmla="*/ 265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528 w 10000"/>
                    <a:gd name="connsiteY17" fmla="*/ 265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266 w 10000"/>
                    <a:gd name="connsiteY17" fmla="*/ 310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266 w 10000"/>
                    <a:gd name="connsiteY17" fmla="*/ 310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468 w 10000"/>
                    <a:gd name="connsiteY17" fmla="*/ 176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29 w 10000"/>
                    <a:gd name="connsiteY16" fmla="*/ 577 h 10078"/>
                    <a:gd name="connsiteX17" fmla="*/ 3468 w 10000"/>
                    <a:gd name="connsiteY17" fmla="*/ 176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468 w 10000"/>
                    <a:gd name="connsiteY17" fmla="*/ 176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182 w 10000"/>
                    <a:gd name="connsiteY17" fmla="*/ 310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75 w 10000"/>
                    <a:gd name="connsiteY17" fmla="*/ 410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301 w 10000"/>
                    <a:gd name="connsiteY17" fmla="*/ 287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301 w 10000"/>
                    <a:gd name="connsiteY17" fmla="*/ 287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301 w 10000"/>
                    <a:gd name="connsiteY17" fmla="*/ 287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301 w 10000"/>
                    <a:gd name="connsiteY17" fmla="*/ 287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18 w 10000"/>
                    <a:gd name="connsiteY19" fmla="*/ 191 h 10078"/>
                    <a:gd name="connsiteX20" fmla="*/ 2137 w 10000"/>
                    <a:gd name="connsiteY20" fmla="*/ 399 h 10078"/>
                    <a:gd name="connsiteX21" fmla="*/ 1194 w 10000"/>
                    <a:gd name="connsiteY21" fmla="*/ 579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18 w 10000"/>
                    <a:gd name="connsiteY19" fmla="*/ 191 h 10078"/>
                    <a:gd name="connsiteX20" fmla="*/ 2077 w 10000"/>
                    <a:gd name="connsiteY20" fmla="*/ 410 h 10078"/>
                    <a:gd name="connsiteX21" fmla="*/ 1194 w 10000"/>
                    <a:gd name="connsiteY21" fmla="*/ 579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78 w 10000"/>
                    <a:gd name="connsiteY19" fmla="*/ 146 h 10078"/>
                    <a:gd name="connsiteX20" fmla="*/ 2077 w 10000"/>
                    <a:gd name="connsiteY20" fmla="*/ 410 h 10078"/>
                    <a:gd name="connsiteX21" fmla="*/ 1194 w 10000"/>
                    <a:gd name="connsiteY21" fmla="*/ 579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78 w 10000"/>
                    <a:gd name="connsiteY19" fmla="*/ 146 h 10078"/>
                    <a:gd name="connsiteX20" fmla="*/ 2184 w 10000"/>
                    <a:gd name="connsiteY20" fmla="*/ 287 h 10078"/>
                    <a:gd name="connsiteX21" fmla="*/ 2077 w 10000"/>
                    <a:gd name="connsiteY21" fmla="*/ 410 h 10078"/>
                    <a:gd name="connsiteX22" fmla="*/ 1194 w 10000"/>
                    <a:gd name="connsiteY22" fmla="*/ 579 h 10078"/>
                    <a:gd name="connsiteX23" fmla="*/ 1351 w 10000"/>
                    <a:gd name="connsiteY23" fmla="*/ 927 h 10078"/>
                    <a:gd name="connsiteX24" fmla="*/ 1895 w 10000"/>
                    <a:gd name="connsiteY24" fmla="*/ 1342 h 10078"/>
                    <a:gd name="connsiteX25" fmla="*/ 1673 w 10000"/>
                    <a:gd name="connsiteY25" fmla="*/ 1531 h 10078"/>
                    <a:gd name="connsiteX26" fmla="*/ 1673 w 10000"/>
                    <a:gd name="connsiteY26" fmla="*/ 1852 h 10078"/>
                    <a:gd name="connsiteX27" fmla="*/ 907 w 10000"/>
                    <a:gd name="connsiteY27" fmla="*/ 2927 h 10078"/>
                    <a:gd name="connsiteX28" fmla="*/ 323 w 10000"/>
                    <a:gd name="connsiteY28" fmla="*/ 3116 h 10078"/>
                    <a:gd name="connsiteX29" fmla="*/ 1028 w 10000"/>
                    <a:gd name="connsiteY29" fmla="*/ 3946 h 10078"/>
                    <a:gd name="connsiteX30" fmla="*/ 786 w 10000"/>
                    <a:gd name="connsiteY30" fmla="*/ 4191 h 10078"/>
                    <a:gd name="connsiteX31" fmla="*/ 0 w 10000"/>
                    <a:gd name="connsiteY31" fmla="*/ 4380 h 10078"/>
                    <a:gd name="connsiteX32" fmla="*/ 202 w 10000"/>
                    <a:gd name="connsiteY32" fmla="*/ 4720 h 10078"/>
                    <a:gd name="connsiteX33" fmla="*/ 665 w 10000"/>
                    <a:gd name="connsiteY33" fmla="*/ 4720 h 10078"/>
                    <a:gd name="connsiteX34" fmla="*/ 323 w 10000"/>
                    <a:gd name="connsiteY34" fmla="*/ 4908 h 10078"/>
                    <a:gd name="connsiteX35" fmla="*/ 786 w 10000"/>
                    <a:gd name="connsiteY35" fmla="*/ 5455 h 10078"/>
                    <a:gd name="connsiteX36" fmla="*/ 1109 w 10000"/>
                    <a:gd name="connsiteY36" fmla="*/ 5210 h 10078"/>
                    <a:gd name="connsiteX37" fmla="*/ 1431 w 10000"/>
                    <a:gd name="connsiteY37" fmla="*/ 4833 h 10078"/>
                    <a:gd name="connsiteX38" fmla="*/ 1552 w 10000"/>
                    <a:gd name="connsiteY38" fmla="*/ 5135 h 10078"/>
                    <a:gd name="connsiteX39" fmla="*/ 1794 w 10000"/>
                    <a:gd name="connsiteY39" fmla="*/ 5210 h 10078"/>
                    <a:gd name="connsiteX40" fmla="*/ 1794 w 10000"/>
                    <a:gd name="connsiteY40" fmla="*/ 6720 h 10078"/>
                    <a:gd name="connsiteX41" fmla="*/ 2339 w 10000"/>
                    <a:gd name="connsiteY41" fmla="*/ 7550 h 10078"/>
                    <a:gd name="connsiteX42" fmla="*/ 2581 w 10000"/>
                    <a:gd name="connsiteY42" fmla="*/ 8097 h 10078"/>
                    <a:gd name="connsiteX43" fmla="*/ 3488 w 10000"/>
                    <a:gd name="connsiteY43" fmla="*/ 9738 h 10078"/>
                    <a:gd name="connsiteX44" fmla="*/ 3810 w 10000"/>
                    <a:gd name="connsiteY44" fmla="*/ 10078 h 10078"/>
                    <a:gd name="connsiteX45" fmla="*/ 4375 w 10000"/>
                    <a:gd name="connsiteY45" fmla="*/ 9663 h 10078"/>
                    <a:gd name="connsiteX46" fmla="*/ 4254 w 10000"/>
                    <a:gd name="connsiteY46" fmla="*/ 9436 h 10078"/>
                    <a:gd name="connsiteX47" fmla="*/ 4456 w 10000"/>
                    <a:gd name="connsiteY47" fmla="*/ 9248 h 10078"/>
                    <a:gd name="connsiteX48" fmla="*/ 4456 w 10000"/>
                    <a:gd name="connsiteY48" fmla="*/ 8927 h 10078"/>
                    <a:gd name="connsiteX49" fmla="*/ 4375 w 10000"/>
                    <a:gd name="connsiteY49" fmla="*/ 8814 h 10078"/>
                    <a:gd name="connsiteX50" fmla="*/ 4718 w 10000"/>
                    <a:gd name="connsiteY50" fmla="*/ 8172 h 10078"/>
                    <a:gd name="connsiteX51" fmla="*/ 4597 w 10000"/>
                    <a:gd name="connsiteY51" fmla="*/ 7984 h 10078"/>
                    <a:gd name="connsiteX52" fmla="*/ 4597 w 10000"/>
                    <a:gd name="connsiteY52" fmla="*/ 7248 h 10078"/>
                    <a:gd name="connsiteX53" fmla="*/ 4919 w 10000"/>
                    <a:gd name="connsiteY53" fmla="*/ 7135 h 10078"/>
                    <a:gd name="connsiteX54" fmla="*/ 5806 w 10000"/>
                    <a:gd name="connsiteY54" fmla="*/ 6286 h 10078"/>
                    <a:gd name="connsiteX55" fmla="*/ 5806 w 10000"/>
                    <a:gd name="connsiteY55" fmla="*/ 5984 h 10078"/>
                    <a:gd name="connsiteX56" fmla="*/ 6714 w 10000"/>
                    <a:gd name="connsiteY56" fmla="*/ 5569 h 10078"/>
                    <a:gd name="connsiteX57" fmla="*/ 6593 w 10000"/>
                    <a:gd name="connsiteY57" fmla="*/ 5342 h 10078"/>
                    <a:gd name="connsiteX58" fmla="*/ 6956 w 10000"/>
                    <a:gd name="connsiteY58" fmla="*/ 5135 h 10078"/>
                    <a:gd name="connsiteX59" fmla="*/ 7500 w 10000"/>
                    <a:gd name="connsiteY59" fmla="*/ 5135 h 10078"/>
                    <a:gd name="connsiteX60" fmla="*/ 7379 w 10000"/>
                    <a:gd name="connsiteY60" fmla="*/ 4493 h 10078"/>
                    <a:gd name="connsiteX61" fmla="*/ 6956 w 10000"/>
                    <a:gd name="connsiteY61" fmla="*/ 4304 h 10078"/>
                    <a:gd name="connsiteX62" fmla="*/ 7157 w 10000"/>
                    <a:gd name="connsiteY62" fmla="*/ 3946 h 10078"/>
                    <a:gd name="connsiteX63" fmla="*/ 6956 w 10000"/>
                    <a:gd name="connsiteY63" fmla="*/ 3757 h 10078"/>
                    <a:gd name="connsiteX64" fmla="*/ 7036 w 10000"/>
                    <a:gd name="connsiteY64" fmla="*/ 3569 h 10078"/>
                    <a:gd name="connsiteX65" fmla="*/ 7379 w 10000"/>
                    <a:gd name="connsiteY65" fmla="*/ 3569 h 10078"/>
                    <a:gd name="connsiteX66" fmla="*/ 7621 w 10000"/>
                    <a:gd name="connsiteY66" fmla="*/ 3946 h 10078"/>
                    <a:gd name="connsiteX67" fmla="*/ 8387 w 10000"/>
                    <a:gd name="connsiteY67" fmla="*/ 3946 h 10078"/>
                    <a:gd name="connsiteX68" fmla="*/ 8185 w 10000"/>
                    <a:gd name="connsiteY68" fmla="*/ 4493 h 10078"/>
                    <a:gd name="connsiteX69" fmla="*/ 8387 w 10000"/>
                    <a:gd name="connsiteY69" fmla="*/ 4606 h 10078"/>
                    <a:gd name="connsiteX70" fmla="*/ 8508 w 10000"/>
                    <a:gd name="connsiteY70" fmla="*/ 4493 h 10078"/>
                    <a:gd name="connsiteX71" fmla="*/ 8730 w 10000"/>
                    <a:gd name="connsiteY71" fmla="*/ 5021 h 10078"/>
                    <a:gd name="connsiteX72" fmla="*/ 8972 w 10000"/>
                    <a:gd name="connsiteY72" fmla="*/ 4304 h 10078"/>
                    <a:gd name="connsiteX73" fmla="*/ 9294 w 10000"/>
                    <a:gd name="connsiteY73" fmla="*/ 4191 h 10078"/>
                    <a:gd name="connsiteX74" fmla="*/ 9415 w 10000"/>
                    <a:gd name="connsiteY74" fmla="*/ 3342 h 10078"/>
                    <a:gd name="connsiteX75" fmla="*/ 9738 w 10000"/>
                    <a:gd name="connsiteY75" fmla="*/ 3116 h 10078"/>
                    <a:gd name="connsiteX76" fmla="*/ 10000 w 10000"/>
                    <a:gd name="connsiteY76" fmla="*/ 2682 h 10078"/>
                    <a:gd name="connsiteX77" fmla="*/ 9617 w 10000"/>
                    <a:gd name="connsiteY77" fmla="*/ 2606 h 10078"/>
                    <a:gd name="connsiteX78" fmla="*/ 9294 w 10000"/>
                    <a:gd name="connsiteY78" fmla="*/ 2304 h 10078"/>
                    <a:gd name="connsiteX79" fmla="*/ 8065 w 10000"/>
                    <a:gd name="connsiteY79" fmla="*/ 2927 h 10078"/>
                    <a:gd name="connsiteX80" fmla="*/ 7823 w 10000"/>
                    <a:gd name="connsiteY80" fmla="*/ 3342 h 10078"/>
                    <a:gd name="connsiteX81" fmla="*/ 7621 w 10000"/>
                    <a:gd name="connsiteY81" fmla="*/ 3455 h 10078"/>
                    <a:gd name="connsiteX82" fmla="*/ 7500 w 10000"/>
                    <a:gd name="connsiteY82" fmla="*/ 3229 h 10078"/>
                    <a:gd name="connsiteX83" fmla="*/ 7036 w 10000"/>
                    <a:gd name="connsiteY83" fmla="*/ 3116 h 10078"/>
                    <a:gd name="connsiteX84" fmla="*/ 7157 w 10000"/>
                    <a:gd name="connsiteY84" fmla="*/ 2927 h 10078"/>
                    <a:gd name="connsiteX0" fmla="*/ 7157 w 10000"/>
                    <a:gd name="connsiteY0" fmla="*/ 2996 h 10147"/>
                    <a:gd name="connsiteX1" fmla="*/ 6956 w 10000"/>
                    <a:gd name="connsiteY1" fmla="*/ 2864 h 10147"/>
                    <a:gd name="connsiteX2" fmla="*/ 6714 w 10000"/>
                    <a:gd name="connsiteY2" fmla="*/ 2864 h 10147"/>
                    <a:gd name="connsiteX3" fmla="*/ 6714 w 10000"/>
                    <a:gd name="connsiteY3" fmla="*/ 3109 h 10147"/>
                    <a:gd name="connsiteX4" fmla="*/ 6835 w 10000"/>
                    <a:gd name="connsiteY4" fmla="*/ 3638 h 10147"/>
                    <a:gd name="connsiteX5" fmla="*/ 5806 w 10000"/>
                    <a:gd name="connsiteY5" fmla="*/ 3411 h 10147"/>
                    <a:gd name="connsiteX6" fmla="*/ 5484 w 10000"/>
                    <a:gd name="connsiteY6" fmla="*/ 3109 h 10147"/>
                    <a:gd name="connsiteX7" fmla="*/ 4919 w 10000"/>
                    <a:gd name="connsiteY7" fmla="*/ 3185 h 10147"/>
                    <a:gd name="connsiteX8" fmla="*/ 4839 w 10000"/>
                    <a:gd name="connsiteY8" fmla="*/ 2996 h 10147"/>
                    <a:gd name="connsiteX9" fmla="*/ 3891 w 10000"/>
                    <a:gd name="connsiteY9" fmla="*/ 2751 h 10147"/>
                    <a:gd name="connsiteX10" fmla="*/ 3891 w 10000"/>
                    <a:gd name="connsiteY10" fmla="*/ 2034 h 10147"/>
                    <a:gd name="connsiteX11" fmla="*/ 3246 w 10000"/>
                    <a:gd name="connsiteY11" fmla="*/ 1600 h 10147"/>
                    <a:gd name="connsiteX12" fmla="*/ 3024 w 10000"/>
                    <a:gd name="connsiteY12" fmla="*/ 1411 h 10147"/>
                    <a:gd name="connsiteX13" fmla="*/ 3367 w 10000"/>
                    <a:gd name="connsiteY13" fmla="*/ 1185 h 10147"/>
                    <a:gd name="connsiteX14" fmla="*/ 3105 w 10000"/>
                    <a:gd name="connsiteY14" fmla="*/ 883 h 10147"/>
                    <a:gd name="connsiteX15" fmla="*/ 3367 w 10000"/>
                    <a:gd name="connsiteY15" fmla="*/ 656 h 10147"/>
                    <a:gd name="connsiteX16" fmla="*/ 3517 w 10000"/>
                    <a:gd name="connsiteY16" fmla="*/ 601 h 10147"/>
                    <a:gd name="connsiteX17" fmla="*/ 3527 w 10000"/>
                    <a:gd name="connsiteY17" fmla="*/ 345 h 10147"/>
                    <a:gd name="connsiteX18" fmla="*/ 3343 w 10000"/>
                    <a:gd name="connsiteY18" fmla="*/ 69 h 10147"/>
                    <a:gd name="connsiteX19" fmla="*/ 2278 w 10000"/>
                    <a:gd name="connsiteY19" fmla="*/ 215 h 10147"/>
                    <a:gd name="connsiteX20" fmla="*/ 1910 w 10000"/>
                    <a:gd name="connsiteY20" fmla="*/ 44 h 10147"/>
                    <a:gd name="connsiteX21" fmla="*/ 2077 w 10000"/>
                    <a:gd name="connsiteY21" fmla="*/ 479 h 10147"/>
                    <a:gd name="connsiteX22" fmla="*/ 1194 w 10000"/>
                    <a:gd name="connsiteY22" fmla="*/ 648 h 10147"/>
                    <a:gd name="connsiteX23" fmla="*/ 1351 w 10000"/>
                    <a:gd name="connsiteY23" fmla="*/ 996 h 10147"/>
                    <a:gd name="connsiteX24" fmla="*/ 1895 w 10000"/>
                    <a:gd name="connsiteY24" fmla="*/ 1411 h 10147"/>
                    <a:gd name="connsiteX25" fmla="*/ 1673 w 10000"/>
                    <a:gd name="connsiteY25" fmla="*/ 1600 h 10147"/>
                    <a:gd name="connsiteX26" fmla="*/ 1673 w 10000"/>
                    <a:gd name="connsiteY26" fmla="*/ 1921 h 10147"/>
                    <a:gd name="connsiteX27" fmla="*/ 907 w 10000"/>
                    <a:gd name="connsiteY27" fmla="*/ 2996 h 10147"/>
                    <a:gd name="connsiteX28" fmla="*/ 323 w 10000"/>
                    <a:gd name="connsiteY28" fmla="*/ 3185 h 10147"/>
                    <a:gd name="connsiteX29" fmla="*/ 1028 w 10000"/>
                    <a:gd name="connsiteY29" fmla="*/ 4015 h 10147"/>
                    <a:gd name="connsiteX30" fmla="*/ 786 w 10000"/>
                    <a:gd name="connsiteY30" fmla="*/ 4260 h 10147"/>
                    <a:gd name="connsiteX31" fmla="*/ 0 w 10000"/>
                    <a:gd name="connsiteY31" fmla="*/ 4449 h 10147"/>
                    <a:gd name="connsiteX32" fmla="*/ 202 w 10000"/>
                    <a:gd name="connsiteY32" fmla="*/ 4789 h 10147"/>
                    <a:gd name="connsiteX33" fmla="*/ 665 w 10000"/>
                    <a:gd name="connsiteY33" fmla="*/ 4789 h 10147"/>
                    <a:gd name="connsiteX34" fmla="*/ 323 w 10000"/>
                    <a:gd name="connsiteY34" fmla="*/ 4977 h 10147"/>
                    <a:gd name="connsiteX35" fmla="*/ 786 w 10000"/>
                    <a:gd name="connsiteY35" fmla="*/ 5524 h 10147"/>
                    <a:gd name="connsiteX36" fmla="*/ 1109 w 10000"/>
                    <a:gd name="connsiteY36" fmla="*/ 5279 h 10147"/>
                    <a:gd name="connsiteX37" fmla="*/ 1431 w 10000"/>
                    <a:gd name="connsiteY37" fmla="*/ 4902 h 10147"/>
                    <a:gd name="connsiteX38" fmla="*/ 1552 w 10000"/>
                    <a:gd name="connsiteY38" fmla="*/ 5204 h 10147"/>
                    <a:gd name="connsiteX39" fmla="*/ 1794 w 10000"/>
                    <a:gd name="connsiteY39" fmla="*/ 5279 h 10147"/>
                    <a:gd name="connsiteX40" fmla="*/ 1794 w 10000"/>
                    <a:gd name="connsiteY40" fmla="*/ 6789 h 10147"/>
                    <a:gd name="connsiteX41" fmla="*/ 2339 w 10000"/>
                    <a:gd name="connsiteY41" fmla="*/ 7619 h 10147"/>
                    <a:gd name="connsiteX42" fmla="*/ 2581 w 10000"/>
                    <a:gd name="connsiteY42" fmla="*/ 8166 h 10147"/>
                    <a:gd name="connsiteX43" fmla="*/ 3488 w 10000"/>
                    <a:gd name="connsiteY43" fmla="*/ 9807 h 10147"/>
                    <a:gd name="connsiteX44" fmla="*/ 3810 w 10000"/>
                    <a:gd name="connsiteY44" fmla="*/ 10147 h 10147"/>
                    <a:gd name="connsiteX45" fmla="*/ 4375 w 10000"/>
                    <a:gd name="connsiteY45" fmla="*/ 9732 h 10147"/>
                    <a:gd name="connsiteX46" fmla="*/ 4254 w 10000"/>
                    <a:gd name="connsiteY46" fmla="*/ 9505 h 10147"/>
                    <a:gd name="connsiteX47" fmla="*/ 4456 w 10000"/>
                    <a:gd name="connsiteY47" fmla="*/ 9317 h 10147"/>
                    <a:gd name="connsiteX48" fmla="*/ 4456 w 10000"/>
                    <a:gd name="connsiteY48" fmla="*/ 8996 h 10147"/>
                    <a:gd name="connsiteX49" fmla="*/ 4375 w 10000"/>
                    <a:gd name="connsiteY49" fmla="*/ 8883 h 10147"/>
                    <a:gd name="connsiteX50" fmla="*/ 4718 w 10000"/>
                    <a:gd name="connsiteY50" fmla="*/ 8241 h 10147"/>
                    <a:gd name="connsiteX51" fmla="*/ 4597 w 10000"/>
                    <a:gd name="connsiteY51" fmla="*/ 8053 h 10147"/>
                    <a:gd name="connsiteX52" fmla="*/ 4597 w 10000"/>
                    <a:gd name="connsiteY52" fmla="*/ 7317 h 10147"/>
                    <a:gd name="connsiteX53" fmla="*/ 4919 w 10000"/>
                    <a:gd name="connsiteY53" fmla="*/ 7204 h 10147"/>
                    <a:gd name="connsiteX54" fmla="*/ 5806 w 10000"/>
                    <a:gd name="connsiteY54" fmla="*/ 6355 h 10147"/>
                    <a:gd name="connsiteX55" fmla="*/ 5806 w 10000"/>
                    <a:gd name="connsiteY55" fmla="*/ 6053 h 10147"/>
                    <a:gd name="connsiteX56" fmla="*/ 6714 w 10000"/>
                    <a:gd name="connsiteY56" fmla="*/ 5638 h 10147"/>
                    <a:gd name="connsiteX57" fmla="*/ 6593 w 10000"/>
                    <a:gd name="connsiteY57" fmla="*/ 5411 h 10147"/>
                    <a:gd name="connsiteX58" fmla="*/ 6956 w 10000"/>
                    <a:gd name="connsiteY58" fmla="*/ 5204 h 10147"/>
                    <a:gd name="connsiteX59" fmla="*/ 7500 w 10000"/>
                    <a:gd name="connsiteY59" fmla="*/ 5204 h 10147"/>
                    <a:gd name="connsiteX60" fmla="*/ 7379 w 10000"/>
                    <a:gd name="connsiteY60" fmla="*/ 4562 h 10147"/>
                    <a:gd name="connsiteX61" fmla="*/ 6956 w 10000"/>
                    <a:gd name="connsiteY61" fmla="*/ 4373 h 10147"/>
                    <a:gd name="connsiteX62" fmla="*/ 7157 w 10000"/>
                    <a:gd name="connsiteY62" fmla="*/ 4015 h 10147"/>
                    <a:gd name="connsiteX63" fmla="*/ 6956 w 10000"/>
                    <a:gd name="connsiteY63" fmla="*/ 3826 h 10147"/>
                    <a:gd name="connsiteX64" fmla="*/ 7036 w 10000"/>
                    <a:gd name="connsiteY64" fmla="*/ 3638 h 10147"/>
                    <a:gd name="connsiteX65" fmla="*/ 7379 w 10000"/>
                    <a:gd name="connsiteY65" fmla="*/ 3638 h 10147"/>
                    <a:gd name="connsiteX66" fmla="*/ 7621 w 10000"/>
                    <a:gd name="connsiteY66" fmla="*/ 4015 h 10147"/>
                    <a:gd name="connsiteX67" fmla="*/ 8387 w 10000"/>
                    <a:gd name="connsiteY67" fmla="*/ 4015 h 10147"/>
                    <a:gd name="connsiteX68" fmla="*/ 8185 w 10000"/>
                    <a:gd name="connsiteY68" fmla="*/ 4562 h 10147"/>
                    <a:gd name="connsiteX69" fmla="*/ 8387 w 10000"/>
                    <a:gd name="connsiteY69" fmla="*/ 4675 h 10147"/>
                    <a:gd name="connsiteX70" fmla="*/ 8508 w 10000"/>
                    <a:gd name="connsiteY70" fmla="*/ 4562 h 10147"/>
                    <a:gd name="connsiteX71" fmla="*/ 8730 w 10000"/>
                    <a:gd name="connsiteY71" fmla="*/ 5090 h 10147"/>
                    <a:gd name="connsiteX72" fmla="*/ 8972 w 10000"/>
                    <a:gd name="connsiteY72" fmla="*/ 4373 h 10147"/>
                    <a:gd name="connsiteX73" fmla="*/ 9294 w 10000"/>
                    <a:gd name="connsiteY73" fmla="*/ 4260 h 10147"/>
                    <a:gd name="connsiteX74" fmla="*/ 9415 w 10000"/>
                    <a:gd name="connsiteY74" fmla="*/ 3411 h 10147"/>
                    <a:gd name="connsiteX75" fmla="*/ 9738 w 10000"/>
                    <a:gd name="connsiteY75" fmla="*/ 3185 h 10147"/>
                    <a:gd name="connsiteX76" fmla="*/ 10000 w 10000"/>
                    <a:gd name="connsiteY76" fmla="*/ 2751 h 10147"/>
                    <a:gd name="connsiteX77" fmla="*/ 9617 w 10000"/>
                    <a:gd name="connsiteY77" fmla="*/ 2675 h 10147"/>
                    <a:gd name="connsiteX78" fmla="*/ 9294 w 10000"/>
                    <a:gd name="connsiteY78" fmla="*/ 2373 h 10147"/>
                    <a:gd name="connsiteX79" fmla="*/ 8065 w 10000"/>
                    <a:gd name="connsiteY79" fmla="*/ 2996 h 10147"/>
                    <a:gd name="connsiteX80" fmla="*/ 7823 w 10000"/>
                    <a:gd name="connsiteY80" fmla="*/ 3411 h 10147"/>
                    <a:gd name="connsiteX81" fmla="*/ 7621 w 10000"/>
                    <a:gd name="connsiteY81" fmla="*/ 3524 h 10147"/>
                    <a:gd name="connsiteX82" fmla="*/ 7500 w 10000"/>
                    <a:gd name="connsiteY82" fmla="*/ 3298 h 10147"/>
                    <a:gd name="connsiteX83" fmla="*/ 7036 w 10000"/>
                    <a:gd name="connsiteY83" fmla="*/ 3185 h 10147"/>
                    <a:gd name="connsiteX84" fmla="*/ 7157 w 10000"/>
                    <a:gd name="connsiteY84" fmla="*/ 2996 h 10147"/>
                    <a:gd name="connsiteX0" fmla="*/ 7157 w 10000"/>
                    <a:gd name="connsiteY0" fmla="*/ 2996 h 10147"/>
                    <a:gd name="connsiteX1" fmla="*/ 6956 w 10000"/>
                    <a:gd name="connsiteY1" fmla="*/ 2864 h 10147"/>
                    <a:gd name="connsiteX2" fmla="*/ 6714 w 10000"/>
                    <a:gd name="connsiteY2" fmla="*/ 2864 h 10147"/>
                    <a:gd name="connsiteX3" fmla="*/ 6714 w 10000"/>
                    <a:gd name="connsiteY3" fmla="*/ 3109 h 10147"/>
                    <a:gd name="connsiteX4" fmla="*/ 6835 w 10000"/>
                    <a:gd name="connsiteY4" fmla="*/ 3638 h 10147"/>
                    <a:gd name="connsiteX5" fmla="*/ 5806 w 10000"/>
                    <a:gd name="connsiteY5" fmla="*/ 3411 h 10147"/>
                    <a:gd name="connsiteX6" fmla="*/ 5484 w 10000"/>
                    <a:gd name="connsiteY6" fmla="*/ 3109 h 10147"/>
                    <a:gd name="connsiteX7" fmla="*/ 4919 w 10000"/>
                    <a:gd name="connsiteY7" fmla="*/ 3185 h 10147"/>
                    <a:gd name="connsiteX8" fmla="*/ 4839 w 10000"/>
                    <a:gd name="connsiteY8" fmla="*/ 2996 h 10147"/>
                    <a:gd name="connsiteX9" fmla="*/ 3891 w 10000"/>
                    <a:gd name="connsiteY9" fmla="*/ 2751 h 10147"/>
                    <a:gd name="connsiteX10" fmla="*/ 3891 w 10000"/>
                    <a:gd name="connsiteY10" fmla="*/ 2034 h 10147"/>
                    <a:gd name="connsiteX11" fmla="*/ 3246 w 10000"/>
                    <a:gd name="connsiteY11" fmla="*/ 1600 h 10147"/>
                    <a:gd name="connsiteX12" fmla="*/ 3024 w 10000"/>
                    <a:gd name="connsiteY12" fmla="*/ 1411 h 10147"/>
                    <a:gd name="connsiteX13" fmla="*/ 3367 w 10000"/>
                    <a:gd name="connsiteY13" fmla="*/ 1185 h 10147"/>
                    <a:gd name="connsiteX14" fmla="*/ 3105 w 10000"/>
                    <a:gd name="connsiteY14" fmla="*/ 883 h 10147"/>
                    <a:gd name="connsiteX15" fmla="*/ 3367 w 10000"/>
                    <a:gd name="connsiteY15" fmla="*/ 656 h 10147"/>
                    <a:gd name="connsiteX16" fmla="*/ 3517 w 10000"/>
                    <a:gd name="connsiteY16" fmla="*/ 601 h 10147"/>
                    <a:gd name="connsiteX17" fmla="*/ 3527 w 10000"/>
                    <a:gd name="connsiteY17" fmla="*/ 345 h 10147"/>
                    <a:gd name="connsiteX18" fmla="*/ 3343 w 10000"/>
                    <a:gd name="connsiteY18" fmla="*/ 69 h 10147"/>
                    <a:gd name="connsiteX19" fmla="*/ 2278 w 10000"/>
                    <a:gd name="connsiteY19" fmla="*/ 215 h 10147"/>
                    <a:gd name="connsiteX20" fmla="*/ 1910 w 10000"/>
                    <a:gd name="connsiteY20" fmla="*/ 44 h 10147"/>
                    <a:gd name="connsiteX21" fmla="*/ 2077 w 10000"/>
                    <a:gd name="connsiteY21" fmla="*/ 479 h 10147"/>
                    <a:gd name="connsiteX22" fmla="*/ 1194 w 10000"/>
                    <a:gd name="connsiteY22" fmla="*/ 648 h 10147"/>
                    <a:gd name="connsiteX23" fmla="*/ 1351 w 10000"/>
                    <a:gd name="connsiteY23" fmla="*/ 996 h 10147"/>
                    <a:gd name="connsiteX24" fmla="*/ 1895 w 10000"/>
                    <a:gd name="connsiteY24" fmla="*/ 1411 h 10147"/>
                    <a:gd name="connsiteX25" fmla="*/ 1673 w 10000"/>
                    <a:gd name="connsiteY25" fmla="*/ 1600 h 10147"/>
                    <a:gd name="connsiteX26" fmla="*/ 1673 w 10000"/>
                    <a:gd name="connsiteY26" fmla="*/ 1921 h 10147"/>
                    <a:gd name="connsiteX27" fmla="*/ 907 w 10000"/>
                    <a:gd name="connsiteY27" fmla="*/ 2996 h 10147"/>
                    <a:gd name="connsiteX28" fmla="*/ 323 w 10000"/>
                    <a:gd name="connsiteY28" fmla="*/ 3185 h 10147"/>
                    <a:gd name="connsiteX29" fmla="*/ 1028 w 10000"/>
                    <a:gd name="connsiteY29" fmla="*/ 4015 h 10147"/>
                    <a:gd name="connsiteX30" fmla="*/ 786 w 10000"/>
                    <a:gd name="connsiteY30" fmla="*/ 4260 h 10147"/>
                    <a:gd name="connsiteX31" fmla="*/ 0 w 10000"/>
                    <a:gd name="connsiteY31" fmla="*/ 4449 h 10147"/>
                    <a:gd name="connsiteX32" fmla="*/ 202 w 10000"/>
                    <a:gd name="connsiteY32" fmla="*/ 4789 h 10147"/>
                    <a:gd name="connsiteX33" fmla="*/ 665 w 10000"/>
                    <a:gd name="connsiteY33" fmla="*/ 4789 h 10147"/>
                    <a:gd name="connsiteX34" fmla="*/ 323 w 10000"/>
                    <a:gd name="connsiteY34" fmla="*/ 4977 h 10147"/>
                    <a:gd name="connsiteX35" fmla="*/ 786 w 10000"/>
                    <a:gd name="connsiteY35" fmla="*/ 5524 h 10147"/>
                    <a:gd name="connsiteX36" fmla="*/ 1109 w 10000"/>
                    <a:gd name="connsiteY36" fmla="*/ 5279 h 10147"/>
                    <a:gd name="connsiteX37" fmla="*/ 1431 w 10000"/>
                    <a:gd name="connsiteY37" fmla="*/ 4902 h 10147"/>
                    <a:gd name="connsiteX38" fmla="*/ 1552 w 10000"/>
                    <a:gd name="connsiteY38" fmla="*/ 5204 h 10147"/>
                    <a:gd name="connsiteX39" fmla="*/ 1794 w 10000"/>
                    <a:gd name="connsiteY39" fmla="*/ 5279 h 10147"/>
                    <a:gd name="connsiteX40" fmla="*/ 1794 w 10000"/>
                    <a:gd name="connsiteY40" fmla="*/ 6789 h 10147"/>
                    <a:gd name="connsiteX41" fmla="*/ 2339 w 10000"/>
                    <a:gd name="connsiteY41" fmla="*/ 7619 h 10147"/>
                    <a:gd name="connsiteX42" fmla="*/ 2581 w 10000"/>
                    <a:gd name="connsiteY42" fmla="*/ 8166 h 10147"/>
                    <a:gd name="connsiteX43" fmla="*/ 3488 w 10000"/>
                    <a:gd name="connsiteY43" fmla="*/ 9807 h 10147"/>
                    <a:gd name="connsiteX44" fmla="*/ 3810 w 10000"/>
                    <a:gd name="connsiteY44" fmla="*/ 10147 h 10147"/>
                    <a:gd name="connsiteX45" fmla="*/ 4375 w 10000"/>
                    <a:gd name="connsiteY45" fmla="*/ 9732 h 10147"/>
                    <a:gd name="connsiteX46" fmla="*/ 4254 w 10000"/>
                    <a:gd name="connsiteY46" fmla="*/ 9505 h 10147"/>
                    <a:gd name="connsiteX47" fmla="*/ 4456 w 10000"/>
                    <a:gd name="connsiteY47" fmla="*/ 9317 h 10147"/>
                    <a:gd name="connsiteX48" fmla="*/ 4456 w 10000"/>
                    <a:gd name="connsiteY48" fmla="*/ 8996 h 10147"/>
                    <a:gd name="connsiteX49" fmla="*/ 4375 w 10000"/>
                    <a:gd name="connsiteY49" fmla="*/ 8883 h 10147"/>
                    <a:gd name="connsiteX50" fmla="*/ 4718 w 10000"/>
                    <a:gd name="connsiteY50" fmla="*/ 8241 h 10147"/>
                    <a:gd name="connsiteX51" fmla="*/ 4597 w 10000"/>
                    <a:gd name="connsiteY51" fmla="*/ 8053 h 10147"/>
                    <a:gd name="connsiteX52" fmla="*/ 4597 w 10000"/>
                    <a:gd name="connsiteY52" fmla="*/ 7317 h 10147"/>
                    <a:gd name="connsiteX53" fmla="*/ 4919 w 10000"/>
                    <a:gd name="connsiteY53" fmla="*/ 7204 h 10147"/>
                    <a:gd name="connsiteX54" fmla="*/ 5806 w 10000"/>
                    <a:gd name="connsiteY54" fmla="*/ 6355 h 10147"/>
                    <a:gd name="connsiteX55" fmla="*/ 5806 w 10000"/>
                    <a:gd name="connsiteY55" fmla="*/ 6053 h 10147"/>
                    <a:gd name="connsiteX56" fmla="*/ 6714 w 10000"/>
                    <a:gd name="connsiteY56" fmla="*/ 5638 h 10147"/>
                    <a:gd name="connsiteX57" fmla="*/ 6593 w 10000"/>
                    <a:gd name="connsiteY57" fmla="*/ 5411 h 10147"/>
                    <a:gd name="connsiteX58" fmla="*/ 6956 w 10000"/>
                    <a:gd name="connsiteY58" fmla="*/ 5204 h 10147"/>
                    <a:gd name="connsiteX59" fmla="*/ 7500 w 10000"/>
                    <a:gd name="connsiteY59" fmla="*/ 5204 h 10147"/>
                    <a:gd name="connsiteX60" fmla="*/ 7379 w 10000"/>
                    <a:gd name="connsiteY60" fmla="*/ 4562 h 10147"/>
                    <a:gd name="connsiteX61" fmla="*/ 6956 w 10000"/>
                    <a:gd name="connsiteY61" fmla="*/ 4373 h 10147"/>
                    <a:gd name="connsiteX62" fmla="*/ 7157 w 10000"/>
                    <a:gd name="connsiteY62" fmla="*/ 4015 h 10147"/>
                    <a:gd name="connsiteX63" fmla="*/ 6956 w 10000"/>
                    <a:gd name="connsiteY63" fmla="*/ 3826 h 10147"/>
                    <a:gd name="connsiteX64" fmla="*/ 7036 w 10000"/>
                    <a:gd name="connsiteY64" fmla="*/ 3638 h 10147"/>
                    <a:gd name="connsiteX65" fmla="*/ 7379 w 10000"/>
                    <a:gd name="connsiteY65" fmla="*/ 3638 h 10147"/>
                    <a:gd name="connsiteX66" fmla="*/ 7621 w 10000"/>
                    <a:gd name="connsiteY66" fmla="*/ 4015 h 10147"/>
                    <a:gd name="connsiteX67" fmla="*/ 8387 w 10000"/>
                    <a:gd name="connsiteY67" fmla="*/ 4015 h 10147"/>
                    <a:gd name="connsiteX68" fmla="*/ 8185 w 10000"/>
                    <a:gd name="connsiteY68" fmla="*/ 4562 h 10147"/>
                    <a:gd name="connsiteX69" fmla="*/ 8387 w 10000"/>
                    <a:gd name="connsiteY69" fmla="*/ 4675 h 10147"/>
                    <a:gd name="connsiteX70" fmla="*/ 8508 w 10000"/>
                    <a:gd name="connsiteY70" fmla="*/ 4562 h 10147"/>
                    <a:gd name="connsiteX71" fmla="*/ 8730 w 10000"/>
                    <a:gd name="connsiteY71" fmla="*/ 5090 h 10147"/>
                    <a:gd name="connsiteX72" fmla="*/ 8972 w 10000"/>
                    <a:gd name="connsiteY72" fmla="*/ 4373 h 10147"/>
                    <a:gd name="connsiteX73" fmla="*/ 9294 w 10000"/>
                    <a:gd name="connsiteY73" fmla="*/ 4260 h 10147"/>
                    <a:gd name="connsiteX74" fmla="*/ 9415 w 10000"/>
                    <a:gd name="connsiteY74" fmla="*/ 3411 h 10147"/>
                    <a:gd name="connsiteX75" fmla="*/ 9738 w 10000"/>
                    <a:gd name="connsiteY75" fmla="*/ 3185 h 10147"/>
                    <a:gd name="connsiteX76" fmla="*/ 10000 w 10000"/>
                    <a:gd name="connsiteY76" fmla="*/ 2751 h 10147"/>
                    <a:gd name="connsiteX77" fmla="*/ 9617 w 10000"/>
                    <a:gd name="connsiteY77" fmla="*/ 2675 h 10147"/>
                    <a:gd name="connsiteX78" fmla="*/ 9294 w 10000"/>
                    <a:gd name="connsiteY78" fmla="*/ 2373 h 10147"/>
                    <a:gd name="connsiteX79" fmla="*/ 8065 w 10000"/>
                    <a:gd name="connsiteY79" fmla="*/ 2996 h 10147"/>
                    <a:gd name="connsiteX80" fmla="*/ 7823 w 10000"/>
                    <a:gd name="connsiteY80" fmla="*/ 3411 h 10147"/>
                    <a:gd name="connsiteX81" fmla="*/ 7621 w 10000"/>
                    <a:gd name="connsiteY81" fmla="*/ 3524 h 10147"/>
                    <a:gd name="connsiteX82" fmla="*/ 7500 w 10000"/>
                    <a:gd name="connsiteY82" fmla="*/ 3298 h 10147"/>
                    <a:gd name="connsiteX83" fmla="*/ 7036 w 10000"/>
                    <a:gd name="connsiteY83" fmla="*/ 3185 h 10147"/>
                    <a:gd name="connsiteX84" fmla="*/ 7157 w 10000"/>
                    <a:gd name="connsiteY84" fmla="*/ 2996 h 10147"/>
                    <a:gd name="connsiteX0" fmla="*/ 7157 w 10000"/>
                    <a:gd name="connsiteY0" fmla="*/ 2952 h 10103"/>
                    <a:gd name="connsiteX1" fmla="*/ 6956 w 10000"/>
                    <a:gd name="connsiteY1" fmla="*/ 2820 h 10103"/>
                    <a:gd name="connsiteX2" fmla="*/ 6714 w 10000"/>
                    <a:gd name="connsiteY2" fmla="*/ 2820 h 10103"/>
                    <a:gd name="connsiteX3" fmla="*/ 6714 w 10000"/>
                    <a:gd name="connsiteY3" fmla="*/ 3065 h 10103"/>
                    <a:gd name="connsiteX4" fmla="*/ 6835 w 10000"/>
                    <a:gd name="connsiteY4" fmla="*/ 3594 h 10103"/>
                    <a:gd name="connsiteX5" fmla="*/ 5806 w 10000"/>
                    <a:gd name="connsiteY5" fmla="*/ 3367 h 10103"/>
                    <a:gd name="connsiteX6" fmla="*/ 5484 w 10000"/>
                    <a:gd name="connsiteY6" fmla="*/ 3065 h 10103"/>
                    <a:gd name="connsiteX7" fmla="*/ 4919 w 10000"/>
                    <a:gd name="connsiteY7" fmla="*/ 3141 h 10103"/>
                    <a:gd name="connsiteX8" fmla="*/ 4839 w 10000"/>
                    <a:gd name="connsiteY8" fmla="*/ 2952 h 10103"/>
                    <a:gd name="connsiteX9" fmla="*/ 3891 w 10000"/>
                    <a:gd name="connsiteY9" fmla="*/ 2707 h 10103"/>
                    <a:gd name="connsiteX10" fmla="*/ 3891 w 10000"/>
                    <a:gd name="connsiteY10" fmla="*/ 1990 h 10103"/>
                    <a:gd name="connsiteX11" fmla="*/ 3246 w 10000"/>
                    <a:gd name="connsiteY11" fmla="*/ 1556 h 10103"/>
                    <a:gd name="connsiteX12" fmla="*/ 3024 w 10000"/>
                    <a:gd name="connsiteY12" fmla="*/ 1367 h 10103"/>
                    <a:gd name="connsiteX13" fmla="*/ 3367 w 10000"/>
                    <a:gd name="connsiteY13" fmla="*/ 1141 h 10103"/>
                    <a:gd name="connsiteX14" fmla="*/ 3105 w 10000"/>
                    <a:gd name="connsiteY14" fmla="*/ 839 h 10103"/>
                    <a:gd name="connsiteX15" fmla="*/ 3367 w 10000"/>
                    <a:gd name="connsiteY15" fmla="*/ 612 h 10103"/>
                    <a:gd name="connsiteX16" fmla="*/ 3517 w 10000"/>
                    <a:gd name="connsiteY16" fmla="*/ 557 h 10103"/>
                    <a:gd name="connsiteX17" fmla="*/ 3527 w 10000"/>
                    <a:gd name="connsiteY17" fmla="*/ 301 h 10103"/>
                    <a:gd name="connsiteX18" fmla="*/ 3343 w 10000"/>
                    <a:gd name="connsiteY18" fmla="*/ 25 h 10103"/>
                    <a:gd name="connsiteX19" fmla="*/ 2278 w 10000"/>
                    <a:gd name="connsiteY19" fmla="*/ 171 h 10103"/>
                    <a:gd name="connsiteX20" fmla="*/ 1910 w 10000"/>
                    <a:gd name="connsiteY20" fmla="*/ 0 h 10103"/>
                    <a:gd name="connsiteX21" fmla="*/ 2077 w 10000"/>
                    <a:gd name="connsiteY21" fmla="*/ 435 h 10103"/>
                    <a:gd name="connsiteX22" fmla="*/ 1194 w 10000"/>
                    <a:gd name="connsiteY22" fmla="*/ 604 h 10103"/>
                    <a:gd name="connsiteX23" fmla="*/ 1351 w 10000"/>
                    <a:gd name="connsiteY23" fmla="*/ 952 h 10103"/>
                    <a:gd name="connsiteX24" fmla="*/ 1895 w 10000"/>
                    <a:gd name="connsiteY24" fmla="*/ 1367 h 10103"/>
                    <a:gd name="connsiteX25" fmla="*/ 1673 w 10000"/>
                    <a:gd name="connsiteY25" fmla="*/ 1556 h 10103"/>
                    <a:gd name="connsiteX26" fmla="*/ 1673 w 10000"/>
                    <a:gd name="connsiteY26" fmla="*/ 1877 h 10103"/>
                    <a:gd name="connsiteX27" fmla="*/ 907 w 10000"/>
                    <a:gd name="connsiteY27" fmla="*/ 2952 h 10103"/>
                    <a:gd name="connsiteX28" fmla="*/ 323 w 10000"/>
                    <a:gd name="connsiteY28" fmla="*/ 3141 h 10103"/>
                    <a:gd name="connsiteX29" fmla="*/ 1028 w 10000"/>
                    <a:gd name="connsiteY29" fmla="*/ 3971 h 10103"/>
                    <a:gd name="connsiteX30" fmla="*/ 786 w 10000"/>
                    <a:gd name="connsiteY30" fmla="*/ 4216 h 10103"/>
                    <a:gd name="connsiteX31" fmla="*/ 0 w 10000"/>
                    <a:gd name="connsiteY31" fmla="*/ 4405 h 10103"/>
                    <a:gd name="connsiteX32" fmla="*/ 202 w 10000"/>
                    <a:gd name="connsiteY32" fmla="*/ 4745 h 10103"/>
                    <a:gd name="connsiteX33" fmla="*/ 665 w 10000"/>
                    <a:gd name="connsiteY33" fmla="*/ 4745 h 10103"/>
                    <a:gd name="connsiteX34" fmla="*/ 323 w 10000"/>
                    <a:gd name="connsiteY34" fmla="*/ 4933 h 10103"/>
                    <a:gd name="connsiteX35" fmla="*/ 786 w 10000"/>
                    <a:gd name="connsiteY35" fmla="*/ 5480 h 10103"/>
                    <a:gd name="connsiteX36" fmla="*/ 1109 w 10000"/>
                    <a:gd name="connsiteY36" fmla="*/ 5235 h 10103"/>
                    <a:gd name="connsiteX37" fmla="*/ 1431 w 10000"/>
                    <a:gd name="connsiteY37" fmla="*/ 4858 h 10103"/>
                    <a:gd name="connsiteX38" fmla="*/ 1552 w 10000"/>
                    <a:gd name="connsiteY38" fmla="*/ 5160 h 10103"/>
                    <a:gd name="connsiteX39" fmla="*/ 1794 w 10000"/>
                    <a:gd name="connsiteY39" fmla="*/ 5235 h 10103"/>
                    <a:gd name="connsiteX40" fmla="*/ 1794 w 10000"/>
                    <a:gd name="connsiteY40" fmla="*/ 6745 h 10103"/>
                    <a:gd name="connsiteX41" fmla="*/ 2339 w 10000"/>
                    <a:gd name="connsiteY41" fmla="*/ 7575 h 10103"/>
                    <a:gd name="connsiteX42" fmla="*/ 2581 w 10000"/>
                    <a:gd name="connsiteY42" fmla="*/ 8122 h 10103"/>
                    <a:gd name="connsiteX43" fmla="*/ 3488 w 10000"/>
                    <a:gd name="connsiteY43" fmla="*/ 9763 h 10103"/>
                    <a:gd name="connsiteX44" fmla="*/ 3810 w 10000"/>
                    <a:gd name="connsiteY44" fmla="*/ 10103 h 10103"/>
                    <a:gd name="connsiteX45" fmla="*/ 4375 w 10000"/>
                    <a:gd name="connsiteY45" fmla="*/ 9688 h 10103"/>
                    <a:gd name="connsiteX46" fmla="*/ 4254 w 10000"/>
                    <a:gd name="connsiteY46" fmla="*/ 9461 h 10103"/>
                    <a:gd name="connsiteX47" fmla="*/ 4456 w 10000"/>
                    <a:gd name="connsiteY47" fmla="*/ 9273 h 10103"/>
                    <a:gd name="connsiteX48" fmla="*/ 4456 w 10000"/>
                    <a:gd name="connsiteY48" fmla="*/ 8952 h 10103"/>
                    <a:gd name="connsiteX49" fmla="*/ 4375 w 10000"/>
                    <a:gd name="connsiteY49" fmla="*/ 8839 h 10103"/>
                    <a:gd name="connsiteX50" fmla="*/ 4718 w 10000"/>
                    <a:gd name="connsiteY50" fmla="*/ 8197 h 10103"/>
                    <a:gd name="connsiteX51" fmla="*/ 4597 w 10000"/>
                    <a:gd name="connsiteY51" fmla="*/ 8009 h 10103"/>
                    <a:gd name="connsiteX52" fmla="*/ 4597 w 10000"/>
                    <a:gd name="connsiteY52" fmla="*/ 7273 h 10103"/>
                    <a:gd name="connsiteX53" fmla="*/ 4919 w 10000"/>
                    <a:gd name="connsiteY53" fmla="*/ 7160 h 10103"/>
                    <a:gd name="connsiteX54" fmla="*/ 5806 w 10000"/>
                    <a:gd name="connsiteY54" fmla="*/ 6311 h 10103"/>
                    <a:gd name="connsiteX55" fmla="*/ 5806 w 10000"/>
                    <a:gd name="connsiteY55" fmla="*/ 6009 h 10103"/>
                    <a:gd name="connsiteX56" fmla="*/ 6714 w 10000"/>
                    <a:gd name="connsiteY56" fmla="*/ 5594 h 10103"/>
                    <a:gd name="connsiteX57" fmla="*/ 6593 w 10000"/>
                    <a:gd name="connsiteY57" fmla="*/ 5367 h 10103"/>
                    <a:gd name="connsiteX58" fmla="*/ 6956 w 10000"/>
                    <a:gd name="connsiteY58" fmla="*/ 5160 h 10103"/>
                    <a:gd name="connsiteX59" fmla="*/ 7500 w 10000"/>
                    <a:gd name="connsiteY59" fmla="*/ 5160 h 10103"/>
                    <a:gd name="connsiteX60" fmla="*/ 7379 w 10000"/>
                    <a:gd name="connsiteY60" fmla="*/ 4518 h 10103"/>
                    <a:gd name="connsiteX61" fmla="*/ 6956 w 10000"/>
                    <a:gd name="connsiteY61" fmla="*/ 4329 h 10103"/>
                    <a:gd name="connsiteX62" fmla="*/ 7157 w 10000"/>
                    <a:gd name="connsiteY62" fmla="*/ 3971 h 10103"/>
                    <a:gd name="connsiteX63" fmla="*/ 6956 w 10000"/>
                    <a:gd name="connsiteY63" fmla="*/ 3782 h 10103"/>
                    <a:gd name="connsiteX64" fmla="*/ 7036 w 10000"/>
                    <a:gd name="connsiteY64" fmla="*/ 3594 h 10103"/>
                    <a:gd name="connsiteX65" fmla="*/ 7379 w 10000"/>
                    <a:gd name="connsiteY65" fmla="*/ 3594 h 10103"/>
                    <a:gd name="connsiteX66" fmla="*/ 7621 w 10000"/>
                    <a:gd name="connsiteY66" fmla="*/ 3971 h 10103"/>
                    <a:gd name="connsiteX67" fmla="*/ 8387 w 10000"/>
                    <a:gd name="connsiteY67" fmla="*/ 3971 h 10103"/>
                    <a:gd name="connsiteX68" fmla="*/ 8185 w 10000"/>
                    <a:gd name="connsiteY68" fmla="*/ 4518 h 10103"/>
                    <a:gd name="connsiteX69" fmla="*/ 8387 w 10000"/>
                    <a:gd name="connsiteY69" fmla="*/ 4631 h 10103"/>
                    <a:gd name="connsiteX70" fmla="*/ 8508 w 10000"/>
                    <a:gd name="connsiteY70" fmla="*/ 4518 h 10103"/>
                    <a:gd name="connsiteX71" fmla="*/ 8730 w 10000"/>
                    <a:gd name="connsiteY71" fmla="*/ 5046 h 10103"/>
                    <a:gd name="connsiteX72" fmla="*/ 8972 w 10000"/>
                    <a:gd name="connsiteY72" fmla="*/ 4329 h 10103"/>
                    <a:gd name="connsiteX73" fmla="*/ 9294 w 10000"/>
                    <a:gd name="connsiteY73" fmla="*/ 4216 h 10103"/>
                    <a:gd name="connsiteX74" fmla="*/ 9415 w 10000"/>
                    <a:gd name="connsiteY74" fmla="*/ 3367 h 10103"/>
                    <a:gd name="connsiteX75" fmla="*/ 9738 w 10000"/>
                    <a:gd name="connsiteY75" fmla="*/ 3141 h 10103"/>
                    <a:gd name="connsiteX76" fmla="*/ 10000 w 10000"/>
                    <a:gd name="connsiteY76" fmla="*/ 2707 h 10103"/>
                    <a:gd name="connsiteX77" fmla="*/ 9617 w 10000"/>
                    <a:gd name="connsiteY77" fmla="*/ 2631 h 10103"/>
                    <a:gd name="connsiteX78" fmla="*/ 9294 w 10000"/>
                    <a:gd name="connsiteY78" fmla="*/ 2329 h 10103"/>
                    <a:gd name="connsiteX79" fmla="*/ 8065 w 10000"/>
                    <a:gd name="connsiteY79" fmla="*/ 2952 h 10103"/>
                    <a:gd name="connsiteX80" fmla="*/ 7823 w 10000"/>
                    <a:gd name="connsiteY80" fmla="*/ 3367 h 10103"/>
                    <a:gd name="connsiteX81" fmla="*/ 7621 w 10000"/>
                    <a:gd name="connsiteY81" fmla="*/ 3480 h 10103"/>
                    <a:gd name="connsiteX82" fmla="*/ 7500 w 10000"/>
                    <a:gd name="connsiteY82" fmla="*/ 3254 h 10103"/>
                    <a:gd name="connsiteX83" fmla="*/ 7036 w 10000"/>
                    <a:gd name="connsiteY83" fmla="*/ 3141 h 10103"/>
                    <a:gd name="connsiteX84" fmla="*/ 7157 w 10000"/>
                    <a:gd name="connsiteY84" fmla="*/ 2952 h 10103"/>
                    <a:gd name="connsiteX0" fmla="*/ 7157 w 10000"/>
                    <a:gd name="connsiteY0" fmla="*/ 2952 h 10103"/>
                    <a:gd name="connsiteX1" fmla="*/ 6956 w 10000"/>
                    <a:gd name="connsiteY1" fmla="*/ 2820 h 10103"/>
                    <a:gd name="connsiteX2" fmla="*/ 6714 w 10000"/>
                    <a:gd name="connsiteY2" fmla="*/ 2820 h 10103"/>
                    <a:gd name="connsiteX3" fmla="*/ 6714 w 10000"/>
                    <a:gd name="connsiteY3" fmla="*/ 3065 h 10103"/>
                    <a:gd name="connsiteX4" fmla="*/ 6835 w 10000"/>
                    <a:gd name="connsiteY4" fmla="*/ 3594 h 10103"/>
                    <a:gd name="connsiteX5" fmla="*/ 5806 w 10000"/>
                    <a:gd name="connsiteY5" fmla="*/ 3367 h 10103"/>
                    <a:gd name="connsiteX6" fmla="*/ 5484 w 10000"/>
                    <a:gd name="connsiteY6" fmla="*/ 3065 h 10103"/>
                    <a:gd name="connsiteX7" fmla="*/ 4919 w 10000"/>
                    <a:gd name="connsiteY7" fmla="*/ 3141 h 10103"/>
                    <a:gd name="connsiteX8" fmla="*/ 4839 w 10000"/>
                    <a:gd name="connsiteY8" fmla="*/ 2952 h 10103"/>
                    <a:gd name="connsiteX9" fmla="*/ 3891 w 10000"/>
                    <a:gd name="connsiteY9" fmla="*/ 2707 h 10103"/>
                    <a:gd name="connsiteX10" fmla="*/ 3891 w 10000"/>
                    <a:gd name="connsiteY10" fmla="*/ 1990 h 10103"/>
                    <a:gd name="connsiteX11" fmla="*/ 3246 w 10000"/>
                    <a:gd name="connsiteY11" fmla="*/ 1556 h 10103"/>
                    <a:gd name="connsiteX12" fmla="*/ 3024 w 10000"/>
                    <a:gd name="connsiteY12" fmla="*/ 1367 h 10103"/>
                    <a:gd name="connsiteX13" fmla="*/ 3367 w 10000"/>
                    <a:gd name="connsiteY13" fmla="*/ 1141 h 10103"/>
                    <a:gd name="connsiteX14" fmla="*/ 3105 w 10000"/>
                    <a:gd name="connsiteY14" fmla="*/ 839 h 10103"/>
                    <a:gd name="connsiteX15" fmla="*/ 3367 w 10000"/>
                    <a:gd name="connsiteY15" fmla="*/ 612 h 10103"/>
                    <a:gd name="connsiteX16" fmla="*/ 3517 w 10000"/>
                    <a:gd name="connsiteY16" fmla="*/ 557 h 10103"/>
                    <a:gd name="connsiteX17" fmla="*/ 3527 w 10000"/>
                    <a:gd name="connsiteY17" fmla="*/ 301 h 10103"/>
                    <a:gd name="connsiteX18" fmla="*/ 3343 w 10000"/>
                    <a:gd name="connsiteY18" fmla="*/ 25 h 10103"/>
                    <a:gd name="connsiteX19" fmla="*/ 2278 w 10000"/>
                    <a:gd name="connsiteY19" fmla="*/ 171 h 10103"/>
                    <a:gd name="connsiteX20" fmla="*/ 1910 w 10000"/>
                    <a:gd name="connsiteY20" fmla="*/ 0 h 10103"/>
                    <a:gd name="connsiteX21" fmla="*/ 2077 w 10000"/>
                    <a:gd name="connsiteY21" fmla="*/ 435 h 10103"/>
                    <a:gd name="connsiteX22" fmla="*/ 1194 w 10000"/>
                    <a:gd name="connsiteY22" fmla="*/ 604 h 10103"/>
                    <a:gd name="connsiteX23" fmla="*/ 1351 w 10000"/>
                    <a:gd name="connsiteY23" fmla="*/ 952 h 10103"/>
                    <a:gd name="connsiteX24" fmla="*/ 1895 w 10000"/>
                    <a:gd name="connsiteY24" fmla="*/ 1367 h 10103"/>
                    <a:gd name="connsiteX25" fmla="*/ 1673 w 10000"/>
                    <a:gd name="connsiteY25" fmla="*/ 1556 h 10103"/>
                    <a:gd name="connsiteX26" fmla="*/ 1673 w 10000"/>
                    <a:gd name="connsiteY26" fmla="*/ 1877 h 10103"/>
                    <a:gd name="connsiteX27" fmla="*/ 907 w 10000"/>
                    <a:gd name="connsiteY27" fmla="*/ 2952 h 10103"/>
                    <a:gd name="connsiteX28" fmla="*/ 323 w 10000"/>
                    <a:gd name="connsiteY28" fmla="*/ 3141 h 10103"/>
                    <a:gd name="connsiteX29" fmla="*/ 1028 w 10000"/>
                    <a:gd name="connsiteY29" fmla="*/ 3971 h 10103"/>
                    <a:gd name="connsiteX30" fmla="*/ 786 w 10000"/>
                    <a:gd name="connsiteY30" fmla="*/ 4216 h 10103"/>
                    <a:gd name="connsiteX31" fmla="*/ 0 w 10000"/>
                    <a:gd name="connsiteY31" fmla="*/ 4405 h 10103"/>
                    <a:gd name="connsiteX32" fmla="*/ 202 w 10000"/>
                    <a:gd name="connsiteY32" fmla="*/ 4745 h 10103"/>
                    <a:gd name="connsiteX33" fmla="*/ 665 w 10000"/>
                    <a:gd name="connsiteY33" fmla="*/ 4745 h 10103"/>
                    <a:gd name="connsiteX34" fmla="*/ 323 w 10000"/>
                    <a:gd name="connsiteY34" fmla="*/ 4933 h 10103"/>
                    <a:gd name="connsiteX35" fmla="*/ 786 w 10000"/>
                    <a:gd name="connsiteY35" fmla="*/ 5480 h 10103"/>
                    <a:gd name="connsiteX36" fmla="*/ 1109 w 10000"/>
                    <a:gd name="connsiteY36" fmla="*/ 5235 h 10103"/>
                    <a:gd name="connsiteX37" fmla="*/ 1431 w 10000"/>
                    <a:gd name="connsiteY37" fmla="*/ 4858 h 10103"/>
                    <a:gd name="connsiteX38" fmla="*/ 1552 w 10000"/>
                    <a:gd name="connsiteY38" fmla="*/ 5160 h 10103"/>
                    <a:gd name="connsiteX39" fmla="*/ 1794 w 10000"/>
                    <a:gd name="connsiteY39" fmla="*/ 5235 h 10103"/>
                    <a:gd name="connsiteX40" fmla="*/ 1794 w 10000"/>
                    <a:gd name="connsiteY40" fmla="*/ 6745 h 10103"/>
                    <a:gd name="connsiteX41" fmla="*/ 2339 w 10000"/>
                    <a:gd name="connsiteY41" fmla="*/ 7575 h 10103"/>
                    <a:gd name="connsiteX42" fmla="*/ 2581 w 10000"/>
                    <a:gd name="connsiteY42" fmla="*/ 8122 h 10103"/>
                    <a:gd name="connsiteX43" fmla="*/ 3488 w 10000"/>
                    <a:gd name="connsiteY43" fmla="*/ 9763 h 10103"/>
                    <a:gd name="connsiteX44" fmla="*/ 3810 w 10000"/>
                    <a:gd name="connsiteY44" fmla="*/ 10103 h 10103"/>
                    <a:gd name="connsiteX45" fmla="*/ 4375 w 10000"/>
                    <a:gd name="connsiteY45" fmla="*/ 9688 h 10103"/>
                    <a:gd name="connsiteX46" fmla="*/ 4254 w 10000"/>
                    <a:gd name="connsiteY46" fmla="*/ 9461 h 10103"/>
                    <a:gd name="connsiteX47" fmla="*/ 4456 w 10000"/>
                    <a:gd name="connsiteY47" fmla="*/ 9273 h 10103"/>
                    <a:gd name="connsiteX48" fmla="*/ 4456 w 10000"/>
                    <a:gd name="connsiteY48" fmla="*/ 8952 h 10103"/>
                    <a:gd name="connsiteX49" fmla="*/ 4375 w 10000"/>
                    <a:gd name="connsiteY49" fmla="*/ 8839 h 10103"/>
                    <a:gd name="connsiteX50" fmla="*/ 4718 w 10000"/>
                    <a:gd name="connsiteY50" fmla="*/ 8197 h 10103"/>
                    <a:gd name="connsiteX51" fmla="*/ 4597 w 10000"/>
                    <a:gd name="connsiteY51" fmla="*/ 8009 h 10103"/>
                    <a:gd name="connsiteX52" fmla="*/ 4597 w 10000"/>
                    <a:gd name="connsiteY52" fmla="*/ 7273 h 10103"/>
                    <a:gd name="connsiteX53" fmla="*/ 4919 w 10000"/>
                    <a:gd name="connsiteY53" fmla="*/ 7160 h 10103"/>
                    <a:gd name="connsiteX54" fmla="*/ 5806 w 10000"/>
                    <a:gd name="connsiteY54" fmla="*/ 6311 h 10103"/>
                    <a:gd name="connsiteX55" fmla="*/ 5806 w 10000"/>
                    <a:gd name="connsiteY55" fmla="*/ 6009 h 10103"/>
                    <a:gd name="connsiteX56" fmla="*/ 6714 w 10000"/>
                    <a:gd name="connsiteY56" fmla="*/ 5594 h 10103"/>
                    <a:gd name="connsiteX57" fmla="*/ 6593 w 10000"/>
                    <a:gd name="connsiteY57" fmla="*/ 5367 h 10103"/>
                    <a:gd name="connsiteX58" fmla="*/ 6956 w 10000"/>
                    <a:gd name="connsiteY58" fmla="*/ 5160 h 10103"/>
                    <a:gd name="connsiteX59" fmla="*/ 7500 w 10000"/>
                    <a:gd name="connsiteY59" fmla="*/ 5160 h 10103"/>
                    <a:gd name="connsiteX60" fmla="*/ 7379 w 10000"/>
                    <a:gd name="connsiteY60" fmla="*/ 4518 h 10103"/>
                    <a:gd name="connsiteX61" fmla="*/ 6956 w 10000"/>
                    <a:gd name="connsiteY61" fmla="*/ 4329 h 10103"/>
                    <a:gd name="connsiteX62" fmla="*/ 7157 w 10000"/>
                    <a:gd name="connsiteY62" fmla="*/ 3971 h 10103"/>
                    <a:gd name="connsiteX63" fmla="*/ 6956 w 10000"/>
                    <a:gd name="connsiteY63" fmla="*/ 3782 h 10103"/>
                    <a:gd name="connsiteX64" fmla="*/ 7036 w 10000"/>
                    <a:gd name="connsiteY64" fmla="*/ 3594 h 10103"/>
                    <a:gd name="connsiteX65" fmla="*/ 7379 w 10000"/>
                    <a:gd name="connsiteY65" fmla="*/ 3594 h 10103"/>
                    <a:gd name="connsiteX66" fmla="*/ 7621 w 10000"/>
                    <a:gd name="connsiteY66" fmla="*/ 3971 h 10103"/>
                    <a:gd name="connsiteX67" fmla="*/ 8387 w 10000"/>
                    <a:gd name="connsiteY67" fmla="*/ 3971 h 10103"/>
                    <a:gd name="connsiteX68" fmla="*/ 8185 w 10000"/>
                    <a:gd name="connsiteY68" fmla="*/ 4518 h 10103"/>
                    <a:gd name="connsiteX69" fmla="*/ 8387 w 10000"/>
                    <a:gd name="connsiteY69" fmla="*/ 4631 h 10103"/>
                    <a:gd name="connsiteX70" fmla="*/ 8508 w 10000"/>
                    <a:gd name="connsiteY70" fmla="*/ 4518 h 10103"/>
                    <a:gd name="connsiteX71" fmla="*/ 8730 w 10000"/>
                    <a:gd name="connsiteY71" fmla="*/ 5046 h 10103"/>
                    <a:gd name="connsiteX72" fmla="*/ 8972 w 10000"/>
                    <a:gd name="connsiteY72" fmla="*/ 4329 h 10103"/>
                    <a:gd name="connsiteX73" fmla="*/ 9294 w 10000"/>
                    <a:gd name="connsiteY73" fmla="*/ 4216 h 10103"/>
                    <a:gd name="connsiteX74" fmla="*/ 9415 w 10000"/>
                    <a:gd name="connsiteY74" fmla="*/ 3367 h 10103"/>
                    <a:gd name="connsiteX75" fmla="*/ 9738 w 10000"/>
                    <a:gd name="connsiteY75" fmla="*/ 3141 h 10103"/>
                    <a:gd name="connsiteX76" fmla="*/ 10000 w 10000"/>
                    <a:gd name="connsiteY76" fmla="*/ 2707 h 10103"/>
                    <a:gd name="connsiteX77" fmla="*/ 9617 w 10000"/>
                    <a:gd name="connsiteY77" fmla="*/ 2631 h 10103"/>
                    <a:gd name="connsiteX78" fmla="*/ 9294 w 10000"/>
                    <a:gd name="connsiteY78" fmla="*/ 2329 h 10103"/>
                    <a:gd name="connsiteX79" fmla="*/ 8065 w 10000"/>
                    <a:gd name="connsiteY79" fmla="*/ 2952 h 10103"/>
                    <a:gd name="connsiteX80" fmla="*/ 7823 w 10000"/>
                    <a:gd name="connsiteY80" fmla="*/ 3367 h 10103"/>
                    <a:gd name="connsiteX81" fmla="*/ 7621 w 10000"/>
                    <a:gd name="connsiteY81" fmla="*/ 3480 h 10103"/>
                    <a:gd name="connsiteX82" fmla="*/ 7500 w 10000"/>
                    <a:gd name="connsiteY82" fmla="*/ 3254 h 10103"/>
                    <a:gd name="connsiteX83" fmla="*/ 7036 w 10000"/>
                    <a:gd name="connsiteY83" fmla="*/ 3141 h 10103"/>
                    <a:gd name="connsiteX84" fmla="*/ 7157 w 10000"/>
                    <a:gd name="connsiteY84" fmla="*/ 2952 h 10103"/>
                    <a:gd name="connsiteX0" fmla="*/ 7157 w 10000"/>
                    <a:gd name="connsiteY0" fmla="*/ 2952 h 10103"/>
                    <a:gd name="connsiteX1" fmla="*/ 6956 w 10000"/>
                    <a:gd name="connsiteY1" fmla="*/ 2820 h 10103"/>
                    <a:gd name="connsiteX2" fmla="*/ 6714 w 10000"/>
                    <a:gd name="connsiteY2" fmla="*/ 2820 h 10103"/>
                    <a:gd name="connsiteX3" fmla="*/ 6714 w 10000"/>
                    <a:gd name="connsiteY3" fmla="*/ 3065 h 10103"/>
                    <a:gd name="connsiteX4" fmla="*/ 6835 w 10000"/>
                    <a:gd name="connsiteY4" fmla="*/ 3594 h 10103"/>
                    <a:gd name="connsiteX5" fmla="*/ 5806 w 10000"/>
                    <a:gd name="connsiteY5" fmla="*/ 3367 h 10103"/>
                    <a:gd name="connsiteX6" fmla="*/ 5484 w 10000"/>
                    <a:gd name="connsiteY6" fmla="*/ 3065 h 10103"/>
                    <a:gd name="connsiteX7" fmla="*/ 4919 w 10000"/>
                    <a:gd name="connsiteY7" fmla="*/ 3141 h 10103"/>
                    <a:gd name="connsiteX8" fmla="*/ 4839 w 10000"/>
                    <a:gd name="connsiteY8" fmla="*/ 2952 h 10103"/>
                    <a:gd name="connsiteX9" fmla="*/ 3891 w 10000"/>
                    <a:gd name="connsiteY9" fmla="*/ 2707 h 10103"/>
                    <a:gd name="connsiteX10" fmla="*/ 3891 w 10000"/>
                    <a:gd name="connsiteY10" fmla="*/ 1990 h 10103"/>
                    <a:gd name="connsiteX11" fmla="*/ 3246 w 10000"/>
                    <a:gd name="connsiteY11" fmla="*/ 1556 h 10103"/>
                    <a:gd name="connsiteX12" fmla="*/ 3024 w 10000"/>
                    <a:gd name="connsiteY12" fmla="*/ 1367 h 10103"/>
                    <a:gd name="connsiteX13" fmla="*/ 3367 w 10000"/>
                    <a:gd name="connsiteY13" fmla="*/ 1141 h 10103"/>
                    <a:gd name="connsiteX14" fmla="*/ 3105 w 10000"/>
                    <a:gd name="connsiteY14" fmla="*/ 839 h 10103"/>
                    <a:gd name="connsiteX15" fmla="*/ 3367 w 10000"/>
                    <a:gd name="connsiteY15" fmla="*/ 612 h 10103"/>
                    <a:gd name="connsiteX16" fmla="*/ 3517 w 10000"/>
                    <a:gd name="connsiteY16" fmla="*/ 557 h 10103"/>
                    <a:gd name="connsiteX17" fmla="*/ 3527 w 10000"/>
                    <a:gd name="connsiteY17" fmla="*/ 301 h 10103"/>
                    <a:gd name="connsiteX18" fmla="*/ 3343 w 10000"/>
                    <a:gd name="connsiteY18" fmla="*/ 25 h 10103"/>
                    <a:gd name="connsiteX19" fmla="*/ 2278 w 10000"/>
                    <a:gd name="connsiteY19" fmla="*/ 171 h 10103"/>
                    <a:gd name="connsiteX20" fmla="*/ 1910 w 10000"/>
                    <a:gd name="connsiteY20" fmla="*/ 0 h 10103"/>
                    <a:gd name="connsiteX21" fmla="*/ 2077 w 10000"/>
                    <a:gd name="connsiteY21" fmla="*/ 435 h 10103"/>
                    <a:gd name="connsiteX22" fmla="*/ 1194 w 10000"/>
                    <a:gd name="connsiteY22" fmla="*/ 604 h 10103"/>
                    <a:gd name="connsiteX23" fmla="*/ 1351 w 10000"/>
                    <a:gd name="connsiteY23" fmla="*/ 952 h 10103"/>
                    <a:gd name="connsiteX24" fmla="*/ 1895 w 10000"/>
                    <a:gd name="connsiteY24" fmla="*/ 1367 h 10103"/>
                    <a:gd name="connsiteX25" fmla="*/ 1673 w 10000"/>
                    <a:gd name="connsiteY25" fmla="*/ 1556 h 10103"/>
                    <a:gd name="connsiteX26" fmla="*/ 1673 w 10000"/>
                    <a:gd name="connsiteY26" fmla="*/ 1877 h 10103"/>
                    <a:gd name="connsiteX27" fmla="*/ 907 w 10000"/>
                    <a:gd name="connsiteY27" fmla="*/ 2952 h 10103"/>
                    <a:gd name="connsiteX28" fmla="*/ 323 w 10000"/>
                    <a:gd name="connsiteY28" fmla="*/ 3141 h 10103"/>
                    <a:gd name="connsiteX29" fmla="*/ 1028 w 10000"/>
                    <a:gd name="connsiteY29" fmla="*/ 3971 h 10103"/>
                    <a:gd name="connsiteX30" fmla="*/ 786 w 10000"/>
                    <a:gd name="connsiteY30" fmla="*/ 4216 h 10103"/>
                    <a:gd name="connsiteX31" fmla="*/ 0 w 10000"/>
                    <a:gd name="connsiteY31" fmla="*/ 4405 h 10103"/>
                    <a:gd name="connsiteX32" fmla="*/ 202 w 10000"/>
                    <a:gd name="connsiteY32" fmla="*/ 4745 h 10103"/>
                    <a:gd name="connsiteX33" fmla="*/ 665 w 10000"/>
                    <a:gd name="connsiteY33" fmla="*/ 4745 h 10103"/>
                    <a:gd name="connsiteX34" fmla="*/ 323 w 10000"/>
                    <a:gd name="connsiteY34" fmla="*/ 4933 h 10103"/>
                    <a:gd name="connsiteX35" fmla="*/ 786 w 10000"/>
                    <a:gd name="connsiteY35" fmla="*/ 5480 h 10103"/>
                    <a:gd name="connsiteX36" fmla="*/ 1109 w 10000"/>
                    <a:gd name="connsiteY36" fmla="*/ 5235 h 10103"/>
                    <a:gd name="connsiteX37" fmla="*/ 1431 w 10000"/>
                    <a:gd name="connsiteY37" fmla="*/ 4858 h 10103"/>
                    <a:gd name="connsiteX38" fmla="*/ 1552 w 10000"/>
                    <a:gd name="connsiteY38" fmla="*/ 5160 h 10103"/>
                    <a:gd name="connsiteX39" fmla="*/ 1794 w 10000"/>
                    <a:gd name="connsiteY39" fmla="*/ 5235 h 10103"/>
                    <a:gd name="connsiteX40" fmla="*/ 1794 w 10000"/>
                    <a:gd name="connsiteY40" fmla="*/ 6745 h 10103"/>
                    <a:gd name="connsiteX41" fmla="*/ 2339 w 10000"/>
                    <a:gd name="connsiteY41" fmla="*/ 7575 h 10103"/>
                    <a:gd name="connsiteX42" fmla="*/ 2581 w 10000"/>
                    <a:gd name="connsiteY42" fmla="*/ 8122 h 10103"/>
                    <a:gd name="connsiteX43" fmla="*/ 3488 w 10000"/>
                    <a:gd name="connsiteY43" fmla="*/ 9763 h 10103"/>
                    <a:gd name="connsiteX44" fmla="*/ 3810 w 10000"/>
                    <a:gd name="connsiteY44" fmla="*/ 10103 h 10103"/>
                    <a:gd name="connsiteX45" fmla="*/ 4375 w 10000"/>
                    <a:gd name="connsiteY45" fmla="*/ 9688 h 10103"/>
                    <a:gd name="connsiteX46" fmla="*/ 4254 w 10000"/>
                    <a:gd name="connsiteY46" fmla="*/ 9461 h 10103"/>
                    <a:gd name="connsiteX47" fmla="*/ 4456 w 10000"/>
                    <a:gd name="connsiteY47" fmla="*/ 9273 h 10103"/>
                    <a:gd name="connsiteX48" fmla="*/ 4456 w 10000"/>
                    <a:gd name="connsiteY48" fmla="*/ 8952 h 10103"/>
                    <a:gd name="connsiteX49" fmla="*/ 4375 w 10000"/>
                    <a:gd name="connsiteY49" fmla="*/ 8839 h 10103"/>
                    <a:gd name="connsiteX50" fmla="*/ 4718 w 10000"/>
                    <a:gd name="connsiteY50" fmla="*/ 8197 h 10103"/>
                    <a:gd name="connsiteX51" fmla="*/ 4597 w 10000"/>
                    <a:gd name="connsiteY51" fmla="*/ 8009 h 10103"/>
                    <a:gd name="connsiteX52" fmla="*/ 4597 w 10000"/>
                    <a:gd name="connsiteY52" fmla="*/ 7273 h 10103"/>
                    <a:gd name="connsiteX53" fmla="*/ 4919 w 10000"/>
                    <a:gd name="connsiteY53" fmla="*/ 7160 h 10103"/>
                    <a:gd name="connsiteX54" fmla="*/ 5806 w 10000"/>
                    <a:gd name="connsiteY54" fmla="*/ 6311 h 10103"/>
                    <a:gd name="connsiteX55" fmla="*/ 5806 w 10000"/>
                    <a:gd name="connsiteY55" fmla="*/ 6009 h 10103"/>
                    <a:gd name="connsiteX56" fmla="*/ 6714 w 10000"/>
                    <a:gd name="connsiteY56" fmla="*/ 5594 h 10103"/>
                    <a:gd name="connsiteX57" fmla="*/ 6593 w 10000"/>
                    <a:gd name="connsiteY57" fmla="*/ 5367 h 10103"/>
                    <a:gd name="connsiteX58" fmla="*/ 6956 w 10000"/>
                    <a:gd name="connsiteY58" fmla="*/ 5160 h 10103"/>
                    <a:gd name="connsiteX59" fmla="*/ 7500 w 10000"/>
                    <a:gd name="connsiteY59" fmla="*/ 5160 h 10103"/>
                    <a:gd name="connsiteX60" fmla="*/ 7379 w 10000"/>
                    <a:gd name="connsiteY60" fmla="*/ 4518 h 10103"/>
                    <a:gd name="connsiteX61" fmla="*/ 6956 w 10000"/>
                    <a:gd name="connsiteY61" fmla="*/ 4329 h 10103"/>
                    <a:gd name="connsiteX62" fmla="*/ 7157 w 10000"/>
                    <a:gd name="connsiteY62" fmla="*/ 3971 h 10103"/>
                    <a:gd name="connsiteX63" fmla="*/ 6956 w 10000"/>
                    <a:gd name="connsiteY63" fmla="*/ 3782 h 10103"/>
                    <a:gd name="connsiteX64" fmla="*/ 7036 w 10000"/>
                    <a:gd name="connsiteY64" fmla="*/ 3594 h 10103"/>
                    <a:gd name="connsiteX65" fmla="*/ 7379 w 10000"/>
                    <a:gd name="connsiteY65" fmla="*/ 3594 h 10103"/>
                    <a:gd name="connsiteX66" fmla="*/ 7621 w 10000"/>
                    <a:gd name="connsiteY66" fmla="*/ 3971 h 10103"/>
                    <a:gd name="connsiteX67" fmla="*/ 8387 w 10000"/>
                    <a:gd name="connsiteY67" fmla="*/ 3971 h 10103"/>
                    <a:gd name="connsiteX68" fmla="*/ 8185 w 10000"/>
                    <a:gd name="connsiteY68" fmla="*/ 4518 h 10103"/>
                    <a:gd name="connsiteX69" fmla="*/ 8387 w 10000"/>
                    <a:gd name="connsiteY69" fmla="*/ 4631 h 10103"/>
                    <a:gd name="connsiteX70" fmla="*/ 8508 w 10000"/>
                    <a:gd name="connsiteY70" fmla="*/ 4518 h 10103"/>
                    <a:gd name="connsiteX71" fmla="*/ 8730 w 10000"/>
                    <a:gd name="connsiteY71" fmla="*/ 5046 h 10103"/>
                    <a:gd name="connsiteX72" fmla="*/ 8972 w 10000"/>
                    <a:gd name="connsiteY72" fmla="*/ 4329 h 10103"/>
                    <a:gd name="connsiteX73" fmla="*/ 9294 w 10000"/>
                    <a:gd name="connsiteY73" fmla="*/ 4216 h 10103"/>
                    <a:gd name="connsiteX74" fmla="*/ 9415 w 10000"/>
                    <a:gd name="connsiteY74" fmla="*/ 3367 h 10103"/>
                    <a:gd name="connsiteX75" fmla="*/ 9738 w 10000"/>
                    <a:gd name="connsiteY75" fmla="*/ 3141 h 10103"/>
                    <a:gd name="connsiteX76" fmla="*/ 10000 w 10000"/>
                    <a:gd name="connsiteY76" fmla="*/ 2707 h 10103"/>
                    <a:gd name="connsiteX77" fmla="*/ 9617 w 10000"/>
                    <a:gd name="connsiteY77" fmla="*/ 2631 h 10103"/>
                    <a:gd name="connsiteX78" fmla="*/ 9294 w 10000"/>
                    <a:gd name="connsiteY78" fmla="*/ 2329 h 10103"/>
                    <a:gd name="connsiteX79" fmla="*/ 8065 w 10000"/>
                    <a:gd name="connsiteY79" fmla="*/ 2952 h 10103"/>
                    <a:gd name="connsiteX80" fmla="*/ 7823 w 10000"/>
                    <a:gd name="connsiteY80" fmla="*/ 3367 h 10103"/>
                    <a:gd name="connsiteX81" fmla="*/ 7621 w 10000"/>
                    <a:gd name="connsiteY81" fmla="*/ 3480 h 10103"/>
                    <a:gd name="connsiteX82" fmla="*/ 7500 w 10000"/>
                    <a:gd name="connsiteY82" fmla="*/ 3254 h 10103"/>
                    <a:gd name="connsiteX83" fmla="*/ 7036 w 10000"/>
                    <a:gd name="connsiteY83" fmla="*/ 3141 h 10103"/>
                    <a:gd name="connsiteX84" fmla="*/ 7157 w 10000"/>
                    <a:gd name="connsiteY84" fmla="*/ 2952 h 10103"/>
                    <a:gd name="connsiteX0" fmla="*/ 7157 w 10000"/>
                    <a:gd name="connsiteY0" fmla="*/ 2952 h 10103"/>
                    <a:gd name="connsiteX1" fmla="*/ 6956 w 10000"/>
                    <a:gd name="connsiteY1" fmla="*/ 2820 h 10103"/>
                    <a:gd name="connsiteX2" fmla="*/ 6714 w 10000"/>
                    <a:gd name="connsiteY2" fmla="*/ 2820 h 10103"/>
                    <a:gd name="connsiteX3" fmla="*/ 6714 w 10000"/>
                    <a:gd name="connsiteY3" fmla="*/ 3065 h 10103"/>
                    <a:gd name="connsiteX4" fmla="*/ 6835 w 10000"/>
                    <a:gd name="connsiteY4" fmla="*/ 3594 h 10103"/>
                    <a:gd name="connsiteX5" fmla="*/ 5806 w 10000"/>
                    <a:gd name="connsiteY5" fmla="*/ 3367 h 10103"/>
                    <a:gd name="connsiteX6" fmla="*/ 5484 w 10000"/>
                    <a:gd name="connsiteY6" fmla="*/ 3065 h 10103"/>
                    <a:gd name="connsiteX7" fmla="*/ 4919 w 10000"/>
                    <a:gd name="connsiteY7" fmla="*/ 3141 h 10103"/>
                    <a:gd name="connsiteX8" fmla="*/ 4839 w 10000"/>
                    <a:gd name="connsiteY8" fmla="*/ 2952 h 10103"/>
                    <a:gd name="connsiteX9" fmla="*/ 3891 w 10000"/>
                    <a:gd name="connsiteY9" fmla="*/ 2707 h 10103"/>
                    <a:gd name="connsiteX10" fmla="*/ 3891 w 10000"/>
                    <a:gd name="connsiteY10" fmla="*/ 1990 h 10103"/>
                    <a:gd name="connsiteX11" fmla="*/ 3246 w 10000"/>
                    <a:gd name="connsiteY11" fmla="*/ 1556 h 10103"/>
                    <a:gd name="connsiteX12" fmla="*/ 3024 w 10000"/>
                    <a:gd name="connsiteY12" fmla="*/ 1367 h 10103"/>
                    <a:gd name="connsiteX13" fmla="*/ 3367 w 10000"/>
                    <a:gd name="connsiteY13" fmla="*/ 1141 h 10103"/>
                    <a:gd name="connsiteX14" fmla="*/ 3105 w 10000"/>
                    <a:gd name="connsiteY14" fmla="*/ 839 h 10103"/>
                    <a:gd name="connsiteX15" fmla="*/ 3367 w 10000"/>
                    <a:gd name="connsiteY15" fmla="*/ 612 h 10103"/>
                    <a:gd name="connsiteX16" fmla="*/ 3517 w 10000"/>
                    <a:gd name="connsiteY16" fmla="*/ 557 h 10103"/>
                    <a:gd name="connsiteX17" fmla="*/ 3527 w 10000"/>
                    <a:gd name="connsiteY17" fmla="*/ 301 h 10103"/>
                    <a:gd name="connsiteX18" fmla="*/ 3343 w 10000"/>
                    <a:gd name="connsiteY18" fmla="*/ 25 h 10103"/>
                    <a:gd name="connsiteX19" fmla="*/ 2278 w 10000"/>
                    <a:gd name="connsiteY19" fmla="*/ 171 h 10103"/>
                    <a:gd name="connsiteX20" fmla="*/ 1910 w 10000"/>
                    <a:gd name="connsiteY20" fmla="*/ 0 h 10103"/>
                    <a:gd name="connsiteX21" fmla="*/ 2077 w 10000"/>
                    <a:gd name="connsiteY21" fmla="*/ 435 h 10103"/>
                    <a:gd name="connsiteX22" fmla="*/ 1194 w 10000"/>
                    <a:gd name="connsiteY22" fmla="*/ 604 h 10103"/>
                    <a:gd name="connsiteX23" fmla="*/ 1351 w 10000"/>
                    <a:gd name="connsiteY23" fmla="*/ 952 h 10103"/>
                    <a:gd name="connsiteX24" fmla="*/ 1895 w 10000"/>
                    <a:gd name="connsiteY24" fmla="*/ 1367 h 10103"/>
                    <a:gd name="connsiteX25" fmla="*/ 1673 w 10000"/>
                    <a:gd name="connsiteY25" fmla="*/ 1556 h 10103"/>
                    <a:gd name="connsiteX26" fmla="*/ 1673 w 10000"/>
                    <a:gd name="connsiteY26" fmla="*/ 1877 h 10103"/>
                    <a:gd name="connsiteX27" fmla="*/ 907 w 10000"/>
                    <a:gd name="connsiteY27" fmla="*/ 2952 h 10103"/>
                    <a:gd name="connsiteX28" fmla="*/ 323 w 10000"/>
                    <a:gd name="connsiteY28" fmla="*/ 3141 h 10103"/>
                    <a:gd name="connsiteX29" fmla="*/ 1028 w 10000"/>
                    <a:gd name="connsiteY29" fmla="*/ 3971 h 10103"/>
                    <a:gd name="connsiteX30" fmla="*/ 786 w 10000"/>
                    <a:gd name="connsiteY30" fmla="*/ 4216 h 10103"/>
                    <a:gd name="connsiteX31" fmla="*/ 0 w 10000"/>
                    <a:gd name="connsiteY31" fmla="*/ 4405 h 10103"/>
                    <a:gd name="connsiteX32" fmla="*/ 202 w 10000"/>
                    <a:gd name="connsiteY32" fmla="*/ 4745 h 10103"/>
                    <a:gd name="connsiteX33" fmla="*/ 665 w 10000"/>
                    <a:gd name="connsiteY33" fmla="*/ 4745 h 10103"/>
                    <a:gd name="connsiteX34" fmla="*/ 323 w 10000"/>
                    <a:gd name="connsiteY34" fmla="*/ 4933 h 10103"/>
                    <a:gd name="connsiteX35" fmla="*/ 786 w 10000"/>
                    <a:gd name="connsiteY35" fmla="*/ 5480 h 10103"/>
                    <a:gd name="connsiteX36" fmla="*/ 1109 w 10000"/>
                    <a:gd name="connsiteY36" fmla="*/ 5235 h 10103"/>
                    <a:gd name="connsiteX37" fmla="*/ 1431 w 10000"/>
                    <a:gd name="connsiteY37" fmla="*/ 4858 h 10103"/>
                    <a:gd name="connsiteX38" fmla="*/ 1552 w 10000"/>
                    <a:gd name="connsiteY38" fmla="*/ 5160 h 10103"/>
                    <a:gd name="connsiteX39" fmla="*/ 1794 w 10000"/>
                    <a:gd name="connsiteY39" fmla="*/ 5235 h 10103"/>
                    <a:gd name="connsiteX40" fmla="*/ 1794 w 10000"/>
                    <a:gd name="connsiteY40" fmla="*/ 6745 h 10103"/>
                    <a:gd name="connsiteX41" fmla="*/ 2339 w 10000"/>
                    <a:gd name="connsiteY41" fmla="*/ 7575 h 10103"/>
                    <a:gd name="connsiteX42" fmla="*/ 2581 w 10000"/>
                    <a:gd name="connsiteY42" fmla="*/ 8122 h 10103"/>
                    <a:gd name="connsiteX43" fmla="*/ 3488 w 10000"/>
                    <a:gd name="connsiteY43" fmla="*/ 9763 h 10103"/>
                    <a:gd name="connsiteX44" fmla="*/ 3810 w 10000"/>
                    <a:gd name="connsiteY44" fmla="*/ 10103 h 10103"/>
                    <a:gd name="connsiteX45" fmla="*/ 4375 w 10000"/>
                    <a:gd name="connsiteY45" fmla="*/ 9688 h 10103"/>
                    <a:gd name="connsiteX46" fmla="*/ 4254 w 10000"/>
                    <a:gd name="connsiteY46" fmla="*/ 9461 h 10103"/>
                    <a:gd name="connsiteX47" fmla="*/ 4456 w 10000"/>
                    <a:gd name="connsiteY47" fmla="*/ 9273 h 10103"/>
                    <a:gd name="connsiteX48" fmla="*/ 4456 w 10000"/>
                    <a:gd name="connsiteY48" fmla="*/ 8952 h 10103"/>
                    <a:gd name="connsiteX49" fmla="*/ 4375 w 10000"/>
                    <a:gd name="connsiteY49" fmla="*/ 8839 h 10103"/>
                    <a:gd name="connsiteX50" fmla="*/ 4718 w 10000"/>
                    <a:gd name="connsiteY50" fmla="*/ 8197 h 10103"/>
                    <a:gd name="connsiteX51" fmla="*/ 4597 w 10000"/>
                    <a:gd name="connsiteY51" fmla="*/ 8009 h 10103"/>
                    <a:gd name="connsiteX52" fmla="*/ 4597 w 10000"/>
                    <a:gd name="connsiteY52" fmla="*/ 7273 h 10103"/>
                    <a:gd name="connsiteX53" fmla="*/ 4919 w 10000"/>
                    <a:gd name="connsiteY53" fmla="*/ 7160 h 10103"/>
                    <a:gd name="connsiteX54" fmla="*/ 5806 w 10000"/>
                    <a:gd name="connsiteY54" fmla="*/ 6311 h 10103"/>
                    <a:gd name="connsiteX55" fmla="*/ 5806 w 10000"/>
                    <a:gd name="connsiteY55" fmla="*/ 6009 h 10103"/>
                    <a:gd name="connsiteX56" fmla="*/ 6714 w 10000"/>
                    <a:gd name="connsiteY56" fmla="*/ 5594 h 10103"/>
                    <a:gd name="connsiteX57" fmla="*/ 6593 w 10000"/>
                    <a:gd name="connsiteY57" fmla="*/ 5367 h 10103"/>
                    <a:gd name="connsiteX58" fmla="*/ 6956 w 10000"/>
                    <a:gd name="connsiteY58" fmla="*/ 5160 h 10103"/>
                    <a:gd name="connsiteX59" fmla="*/ 7500 w 10000"/>
                    <a:gd name="connsiteY59" fmla="*/ 5160 h 10103"/>
                    <a:gd name="connsiteX60" fmla="*/ 7379 w 10000"/>
                    <a:gd name="connsiteY60" fmla="*/ 4518 h 10103"/>
                    <a:gd name="connsiteX61" fmla="*/ 6956 w 10000"/>
                    <a:gd name="connsiteY61" fmla="*/ 4329 h 10103"/>
                    <a:gd name="connsiteX62" fmla="*/ 7157 w 10000"/>
                    <a:gd name="connsiteY62" fmla="*/ 3971 h 10103"/>
                    <a:gd name="connsiteX63" fmla="*/ 6956 w 10000"/>
                    <a:gd name="connsiteY63" fmla="*/ 3782 h 10103"/>
                    <a:gd name="connsiteX64" fmla="*/ 7036 w 10000"/>
                    <a:gd name="connsiteY64" fmla="*/ 3594 h 10103"/>
                    <a:gd name="connsiteX65" fmla="*/ 7379 w 10000"/>
                    <a:gd name="connsiteY65" fmla="*/ 3594 h 10103"/>
                    <a:gd name="connsiteX66" fmla="*/ 7621 w 10000"/>
                    <a:gd name="connsiteY66" fmla="*/ 3971 h 10103"/>
                    <a:gd name="connsiteX67" fmla="*/ 8387 w 10000"/>
                    <a:gd name="connsiteY67" fmla="*/ 3971 h 10103"/>
                    <a:gd name="connsiteX68" fmla="*/ 8185 w 10000"/>
                    <a:gd name="connsiteY68" fmla="*/ 4518 h 10103"/>
                    <a:gd name="connsiteX69" fmla="*/ 8387 w 10000"/>
                    <a:gd name="connsiteY69" fmla="*/ 4631 h 10103"/>
                    <a:gd name="connsiteX70" fmla="*/ 8508 w 10000"/>
                    <a:gd name="connsiteY70" fmla="*/ 4518 h 10103"/>
                    <a:gd name="connsiteX71" fmla="*/ 8730 w 10000"/>
                    <a:gd name="connsiteY71" fmla="*/ 5046 h 10103"/>
                    <a:gd name="connsiteX72" fmla="*/ 8972 w 10000"/>
                    <a:gd name="connsiteY72" fmla="*/ 4329 h 10103"/>
                    <a:gd name="connsiteX73" fmla="*/ 9294 w 10000"/>
                    <a:gd name="connsiteY73" fmla="*/ 4216 h 10103"/>
                    <a:gd name="connsiteX74" fmla="*/ 9415 w 10000"/>
                    <a:gd name="connsiteY74" fmla="*/ 3367 h 10103"/>
                    <a:gd name="connsiteX75" fmla="*/ 9738 w 10000"/>
                    <a:gd name="connsiteY75" fmla="*/ 3141 h 10103"/>
                    <a:gd name="connsiteX76" fmla="*/ 10000 w 10000"/>
                    <a:gd name="connsiteY76" fmla="*/ 2707 h 10103"/>
                    <a:gd name="connsiteX77" fmla="*/ 9617 w 10000"/>
                    <a:gd name="connsiteY77" fmla="*/ 2631 h 10103"/>
                    <a:gd name="connsiteX78" fmla="*/ 9294 w 10000"/>
                    <a:gd name="connsiteY78" fmla="*/ 2329 h 10103"/>
                    <a:gd name="connsiteX79" fmla="*/ 8065 w 10000"/>
                    <a:gd name="connsiteY79" fmla="*/ 2952 h 10103"/>
                    <a:gd name="connsiteX80" fmla="*/ 7823 w 10000"/>
                    <a:gd name="connsiteY80" fmla="*/ 3367 h 10103"/>
                    <a:gd name="connsiteX81" fmla="*/ 7621 w 10000"/>
                    <a:gd name="connsiteY81" fmla="*/ 3480 h 10103"/>
                    <a:gd name="connsiteX82" fmla="*/ 7500 w 10000"/>
                    <a:gd name="connsiteY82" fmla="*/ 3254 h 10103"/>
                    <a:gd name="connsiteX83" fmla="*/ 7036 w 10000"/>
                    <a:gd name="connsiteY83" fmla="*/ 3141 h 10103"/>
                    <a:gd name="connsiteX84" fmla="*/ 7157 w 10000"/>
                    <a:gd name="connsiteY84" fmla="*/ 2952 h 10103"/>
                    <a:gd name="connsiteX0" fmla="*/ 7157 w 10000"/>
                    <a:gd name="connsiteY0" fmla="*/ 2974 h 10125"/>
                    <a:gd name="connsiteX1" fmla="*/ 6956 w 10000"/>
                    <a:gd name="connsiteY1" fmla="*/ 2842 h 10125"/>
                    <a:gd name="connsiteX2" fmla="*/ 6714 w 10000"/>
                    <a:gd name="connsiteY2" fmla="*/ 2842 h 10125"/>
                    <a:gd name="connsiteX3" fmla="*/ 6714 w 10000"/>
                    <a:gd name="connsiteY3" fmla="*/ 3087 h 10125"/>
                    <a:gd name="connsiteX4" fmla="*/ 6835 w 10000"/>
                    <a:gd name="connsiteY4" fmla="*/ 3616 h 10125"/>
                    <a:gd name="connsiteX5" fmla="*/ 5806 w 10000"/>
                    <a:gd name="connsiteY5" fmla="*/ 3389 h 10125"/>
                    <a:gd name="connsiteX6" fmla="*/ 5484 w 10000"/>
                    <a:gd name="connsiteY6" fmla="*/ 3087 h 10125"/>
                    <a:gd name="connsiteX7" fmla="*/ 4919 w 10000"/>
                    <a:gd name="connsiteY7" fmla="*/ 3163 h 10125"/>
                    <a:gd name="connsiteX8" fmla="*/ 4839 w 10000"/>
                    <a:gd name="connsiteY8" fmla="*/ 2974 h 10125"/>
                    <a:gd name="connsiteX9" fmla="*/ 3891 w 10000"/>
                    <a:gd name="connsiteY9" fmla="*/ 2729 h 10125"/>
                    <a:gd name="connsiteX10" fmla="*/ 3891 w 10000"/>
                    <a:gd name="connsiteY10" fmla="*/ 2012 h 10125"/>
                    <a:gd name="connsiteX11" fmla="*/ 3246 w 10000"/>
                    <a:gd name="connsiteY11" fmla="*/ 1578 h 10125"/>
                    <a:gd name="connsiteX12" fmla="*/ 3024 w 10000"/>
                    <a:gd name="connsiteY12" fmla="*/ 1389 h 10125"/>
                    <a:gd name="connsiteX13" fmla="*/ 3367 w 10000"/>
                    <a:gd name="connsiteY13" fmla="*/ 1163 h 10125"/>
                    <a:gd name="connsiteX14" fmla="*/ 3105 w 10000"/>
                    <a:gd name="connsiteY14" fmla="*/ 861 h 10125"/>
                    <a:gd name="connsiteX15" fmla="*/ 3367 w 10000"/>
                    <a:gd name="connsiteY15" fmla="*/ 634 h 10125"/>
                    <a:gd name="connsiteX16" fmla="*/ 3517 w 10000"/>
                    <a:gd name="connsiteY16" fmla="*/ 579 h 10125"/>
                    <a:gd name="connsiteX17" fmla="*/ 3527 w 10000"/>
                    <a:gd name="connsiteY17" fmla="*/ 323 h 10125"/>
                    <a:gd name="connsiteX18" fmla="*/ 3343 w 10000"/>
                    <a:gd name="connsiteY18" fmla="*/ 47 h 10125"/>
                    <a:gd name="connsiteX19" fmla="*/ 2278 w 10000"/>
                    <a:gd name="connsiteY19" fmla="*/ 193 h 10125"/>
                    <a:gd name="connsiteX20" fmla="*/ 1946 w 10000"/>
                    <a:gd name="connsiteY20" fmla="*/ 0 h 10125"/>
                    <a:gd name="connsiteX21" fmla="*/ 2077 w 10000"/>
                    <a:gd name="connsiteY21" fmla="*/ 457 h 10125"/>
                    <a:gd name="connsiteX22" fmla="*/ 1194 w 10000"/>
                    <a:gd name="connsiteY22" fmla="*/ 626 h 10125"/>
                    <a:gd name="connsiteX23" fmla="*/ 1351 w 10000"/>
                    <a:gd name="connsiteY23" fmla="*/ 974 h 10125"/>
                    <a:gd name="connsiteX24" fmla="*/ 1895 w 10000"/>
                    <a:gd name="connsiteY24" fmla="*/ 1389 h 10125"/>
                    <a:gd name="connsiteX25" fmla="*/ 1673 w 10000"/>
                    <a:gd name="connsiteY25" fmla="*/ 1578 h 10125"/>
                    <a:gd name="connsiteX26" fmla="*/ 1673 w 10000"/>
                    <a:gd name="connsiteY26" fmla="*/ 1899 h 10125"/>
                    <a:gd name="connsiteX27" fmla="*/ 907 w 10000"/>
                    <a:gd name="connsiteY27" fmla="*/ 2974 h 10125"/>
                    <a:gd name="connsiteX28" fmla="*/ 323 w 10000"/>
                    <a:gd name="connsiteY28" fmla="*/ 3163 h 10125"/>
                    <a:gd name="connsiteX29" fmla="*/ 1028 w 10000"/>
                    <a:gd name="connsiteY29" fmla="*/ 3993 h 10125"/>
                    <a:gd name="connsiteX30" fmla="*/ 786 w 10000"/>
                    <a:gd name="connsiteY30" fmla="*/ 4238 h 10125"/>
                    <a:gd name="connsiteX31" fmla="*/ 0 w 10000"/>
                    <a:gd name="connsiteY31" fmla="*/ 4427 h 10125"/>
                    <a:gd name="connsiteX32" fmla="*/ 202 w 10000"/>
                    <a:gd name="connsiteY32" fmla="*/ 4767 h 10125"/>
                    <a:gd name="connsiteX33" fmla="*/ 665 w 10000"/>
                    <a:gd name="connsiteY33" fmla="*/ 4767 h 10125"/>
                    <a:gd name="connsiteX34" fmla="*/ 323 w 10000"/>
                    <a:gd name="connsiteY34" fmla="*/ 4955 h 10125"/>
                    <a:gd name="connsiteX35" fmla="*/ 786 w 10000"/>
                    <a:gd name="connsiteY35" fmla="*/ 5502 h 10125"/>
                    <a:gd name="connsiteX36" fmla="*/ 1109 w 10000"/>
                    <a:gd name="connsiteY36" fmla="*/ 5257 h 10125"/>
                    <a:gd name="connsiteX37" fmla="*/ 1431 w 10000"/>
                    <a:gd name="connsiteY37" fmla="*/ 4880 h 10125"/>
                    <a:gd name="connsiteX38" fmla="*/ 1552 w 10000"/>
                    <a:gd name="connsiteY38" fmla="*/ 5182 h 10125"/>
                    <a:gd name="connsiteX39" fmla="*/ 1794 w 10000"/>
                    <a:gd name="connsiteY39" fmla="*/ 5257 h 10125"/>
                    <a:gd name="connsiteX40" fmla="*/ 1794 w 10000"/>
                    <a:gd name="connsiteY40" fmla="*/ 6767 h 10125"/>
                    <a:gd name="connsiteX41" fmla="*/ 2339 w 10000"/>
                    <a:gd name="connsiteY41" fmla="*/ 7597 h 10125"/>
                    <a:gd name="connsiteX42" fmla="*/ 2581 w 10000"/>
                    <a:gd name="connsiteY42" fmla="*/ 8144 h 10125"/>
                    <a:gd name="connsiteX43" fmla="*/ 3488 w 10000"/>
                    <a:gd name="connsiteY43" fmla="*/ 9785 h 10125"/>
                    <a:gd name="connsiteX44" fmla="*/ 3810 w 10000"/>
                    <a:gd name="connsiteY44" fmla="*/ 10125 h 10125"/>
                    <a:gd name="connsiteX45" fmla="*/ 4375 w 10000"/>
                    <a:gd name="connsiteY45" fmla="*/ 9710 h 10125"/>
                    <a:gd name="connsiteX46" fmla="*/ 4254 w 10000"/>
                    <a:gd name="connsiteY46" fmla="*/ 9483 h 10125"/>
                    <a:gd name="connsiteX47" fmla="*/ 4456 w 10000"/>
                    <a:gd name="connsiteY47" fmla="*/ 9295 h 10125"/>
                    <a:gd name="connsiteX48" fmla="*/ 4456 w 10000"/>
                    <a:gd name="connsiteY48" fmla="*/ 8974 h 10125"/>
                    <a:gd name="connsiteX49" fmla="*/ 4375 w 10000"/>
                    <a:gd name="connsiteY49" fmla="*/ 8861 h 10125"/>
                    <a:gd name="connsiteX50" fmla="*/ 4718 w 10000"/>
                    <a:gd name="connsiteY50" fmla="*/ 8219 h 10125"/>
                    <a:gd name="connsiteX51" fmla="*/ 4597 w 10000"/>
                    <a:gd name="connsiteY51" fmla="*/ 8031 h 10125"/>
                    <a:gd name="connsiteX52" fmla="*/ 4597 w 10000"/>
                    <a:gd name="connsiteY52" fmla="*/ 7295 h 10125"/>
                    <a:gd name="connsiteX53" fmla="*/ 4919 w 10000"/>
                    <a:gd name="connsiteY53" fmla="*/ 7182 h 10125"/>
                    <a:gd name="connsiteX54" fmla="*/ 5806 w 10000"/>
                    <a:gd name="connsiteY54" fmla="*/ 6333 h 10125"/>
                    <a:gd name="connsiteX55" fmla="*/ 5806 w 10000"/>
                    <a:gd name="connsiteY55" fmla="*/ 6031 h 10125"/>
                    <a:gd name="connsiteX56" fmla="*/ 6714 w 10000"/>
                    <a:gd name="connsiteY56" fmla="*/ 5616 h 10125"/>
                    <a:gd name="connsiteX57" fmla="*/ 6593 w 10000"/>
                    <a:gd name="connsiteY57" fmla="*/ 5389 h 10125"/>
                    <a:gd name="connsiteX58" fmla="*/ 6956 w 10000"/>
                    <a:gd name="connsiteY58" fmla="*/ 5182 h 10125"/>
                    <a:gd name="connsiteX59" fmla="*/ 7500 w 10000"/>
                    <a:gd name="connsiteY59" fmla="*/ 5182 h 10125"/>
                    <a:gd name="connsiteX60" fmla="*/ 7379 w 10000"/>
                    <a:gd name="connsiteY60" fmla="*/ 4540 h 10125"/>
                    <a:gd name="connsiteX61" fmla="*/ 6956 w 10000"/>
                    <a:gd name="connsiteY61" fmla="*/ 4351 h 10125"/>
                    <a:gd name="connsiteX62" fmla="*/ 7157 w 10000"/>
                    <a:gd name="connsiteY62" fmla="*/ 3993 h 10125"/>
                    <a:gd name="connsiteX63" fmla="*/ 6956 w 10000"/>
                    <a:gd name="connsiteY63" fmla="*/ 3804 h 10125"/>
                    <a:gd name="connsiteX64" fmla="*/ 7036 w 10000"/>
                    <a:gd name="connsiteY64" fmla="*/ 3616 h 10125"/>
                    <a:gd name="connsiteX65" fmla="*/ 7379 w 10000"/>
                    <a:gd name="connsiteY65" fmla="*/ 3616 h 10125"/>
                    <a:gd name="connsiteX66" fmla="*/ 7621 w 10000"/>
                    <a:gd name="connsiteY66" fmla="*/ 3993 h 10125"/>
                    <a:gd name="connsiteX67" fmla="*/ 8387 w 10000"/>
                    <a:gd name="connsiteY67" fmla="*/ 3993 h 10125"/>
                    <a:gd name="connsiteX68" fmla="*/ 8185 w 10000"/>
                    <a:gd name="connsiteY68" fmla="*/ 4540 h 10125"/>
                    <a:gd name="connsiteX69" fmla="*/ 8387 w 10000"/>
                    <a:gd name="connsiteY69" fmla="*/ 4653 h 10125"/>
                    <a:gd name="connsiteX70" fmla="*/ 8508 w 10000"/>
                    <a:gd name="connsiteY70" fmla="*/ 4540 h 10125"/>
                    <a:gd name="connsiteX71" fmla="*/ 8730 w 10000"/>
                    <a:gd name="connsiteY71" fmla="*/ 5068 h 10125"/>
                    <a:gd name="connsiteX72" fmla="*/ 8972 w 10000"/>
                    <a:gd name="connsiteY72" fmla="*/ 4351 h 10125"/>
                    <a:gd name="connsiteX73" fmla="*/ 9294 w 10000"/>
                    <a:gd name="connsiteY73" fmla="*/ 4238 h 10125"/>
                    <a:gd name="connsiteX74" fmla="*/ 9415 w 10000"/>
                    <a:gd name="connsiteY74" fmla="*/ 3389 h 10125"/>
                    <a:gd name="connsiteX75" fmla="*/ 9738 w 10000"/>
                    <a:gd name="connsiteY75" fmla="*/ 3163 h 10125"/>
                    <a:gd name="connsiteX76" fmla="*/ 10000 w 10000"/>
                    <a:gd name="connsiteY76" fmla="*/ 2729 h 10125"/>
                    <a:gd name="connsiteX77" fmla="*/ 9617 w 10000"/>
                    <a:gd name="connsiteY77" fmla="*/ 2653 h 10125"/>
                    <a:gd name="connsiteX78" fmla="*/ 9294 w 10000"/>
                    <a:gd name="connsiteY78" fmla="*/ 2351 h 10125"/>
                    <a:gd name="connsiteX79" fmla="*/ 8065 w 10000"/>
                    <a:gd name="connsiteY79" fmla="*/ 2974 h 10125"/>
                    <a:gd name="connsiteX80" fmla="*/ 7823 w 10000"/>
                    <a:gd name="connsiteY80" fmla="*/ 3389 h 10125"/>
                    <a:gd name="connsiteX81" fmla="*/ 7621 w 10000"/>
                    <a:gd name="connsiteY81" fmla="*/ 3502 h 10125"/>
                    <a:gd name="connsiteX82" fmla="*/ 7500 w 10000"/>
                    <a:gd name="connsiteY82" fmla="*/ 3276 h 10125"/>
                    <a:gd name="connsiteX83" fmla="*/ 7036 w 10000"/>
                    <a:gd name="connsiteY83" fmla="*/ 3163 h 10125"/>
                    <a:gd name="connsiteX84" fmla="*/ 7157 w 10000"/>
                    <a:gd name="connsiteY84" fmla="*/ 2974 h 10125"/>
                    <a:gd name="connsiteX0" fmla="*/ 7157 w 10000"/>
                    <a:gd name="connsiteY0" fmla="*/ 2974 h 10125"/>
                    <a:gd name="connsiteX1" fmla="*/ 6956 w 10000"/>
                    <a:gd name="connsiteY1" fmla="*/ 2842 h 10125"/>
                    <a:gd name="connsiteX2" fmla="*/ 6714 w 10000"/>
                    <a:gd name="connsiteY2" fmla="*/ 2842 h 10125"/>
                    <a:gd name="connsiteX3" fmla="*/ 6714 w 10000"/>
                    <a:gd name="connsiteY3" fmla="*/ 3087 h 10125"/>
                    <a:gd name="connsiteX4" fmla="*/ 6835 w 10000"/>
                    <a:gd name="connsiteY4" fmla="*/ 3616 h 10125"/>
                    <a:gd name="connsiteX5" fmla="*/ 5806 w 10000"/>
                    <a:gd name="connsiteY5" fmla="*/ 3389 h 10125"/>
                    <a:gd name="connsiteX6" fmla="*/ 5484 w 10000"/>
                    <a:gd name="connsiteY6" fmla="*/ 3087 h 10125"/>
                    <a:gd name="connsiteX7" fmla="*/ 4919 w 10000"/>
                    <a:gd name="connsiteY7" fmla="*/ 3163 h 10125"/>
                    <a:gd name="connsiteX8" fmla="*/ 4839 w 10000"/>
                    <a:gd name="connsiteY8" fmla="*/ 2974 h 10125"/>
                    <a:gd name="connsiteX9" fmla="*/ 3891 w 10000"/>
                    <a:gd name="connsiteY9" fmla="*/ 2729 h 10125"/>
                    <a:gd name="connsiteX10" fmla="*/ 3891 w 10000"/>
                    <a:gd name="connsiteY10" fmla="*/ 2012 h 10125"/>
                    <a:gd name="connsiteX11" fmla="*/ 3246 w 10000"/>
                    <a:gd name="connsiteY11" fmla="*/ 1578 h 10125"/>
                    <a:gd name="connsiteX12" fmla="*/ 3024 w 10000"/>
                    <a:gd name="connsiteY12" fmla="*/ 1389 h 10125"/>
                    <a:gd name="connsiteX13" fmla="*/ 3367 w 10000"/>
                    <a:gd name="connsiteY13" fmla="*/ 1163 h 10125"/>
                    <a:gd name="connsiteX14" fmla="*/ 3105 w 10000"/>
                    <a:gd name="connsiteY14" fmla="*/ 861 h 10125"/>
                    <a:gd name="connsiteX15" fmla="*/ 3367 w 10000"/>
                    <a:gd name="connsiteY15" fmla="*/ 634 h 10125"/>
                    <a:gd name="connsiteX16" fmla="*/ 3517 w 10000"/>
                    <a:gd name="connsiteY16" fmla="*/ 579 h 10125"/>
                    <a:gd name="connsiteX17" fmla="*/ 3527 w 10000"/>
                    <a:gd name="connsiteY17" fmla="*/ 323 h 10125"/>
                    <a:gd name="connsiteX18" fmla="*/ 3343 w 10000"/>
                    <a:gd name="connsiteY18" fmla="*/ 47 h 10125"/>
                    <a:gd name="connsiteX19" fmla="*/ 2278 w 10000"/>
                    <a:gd name="connsiteY19" fmla="*/ 193 h 10125"/>
                    <a:gd name="connsiteX20" fmla="*/ 1946 w 10000"/>
                    <a:gd name="connsiteY20" fmla="*/ 0 h 10125"/>
                    <a:gd name="connsiteX21" fmla="*/ 1363 w 10000"/>
                    <a:gd name="connsiteY21" fmla="*/ 346 h 10125"/>
                    <a:gd name="connsiteX22" fmla="*/ 1194 w 10000"/>
                    <a:gd name="connsiteY22" fmla="*/ 626 h 10125"/>
                    <a:gd name="connsiteX23" fmla="*/ 1351 w 10000"/>
                    <a:gd name="connsiteY23" fmla="*/ 974 h 10125"/>
                    <a:gd name="connsiteX24" fmla="*/ 1895 w 10000"/>
                    <a:gd name="connsiteY24" fmla="*/ 1389 h 10125"/>
                    <a:gd name="connsiteX25" fmla="*/ 1673 w 10000"/>
                    <a:gd name="connsiteY25" fmla="*/ 1578 h 10125"/>
                    <a:gd name="connsiteX26" fmla="*/ 1673 w 10000"/>
                    <a:gd name="connsiteY26" fmla="*/ 1899 h 10125"/>
                    <a:gd name="connsiteX27" fmla="*/ 907 w 10000"/>
                    <a:gd name="connsiteY27" fmla="*/ 2974 h 10125"/>
                    <a:gd name="connsiteX28" fmla="*/ 323 w 10000"/>
                    <a:gd name="connsiteY28" fmla="*/ 3163 h 10125"/>
                    <a:gd name="connsiteX29" fmla="*/ 1028 w 10000"/>
                    <a:gd name="connsiteY29" fmla="*/ 3993 h 10125"/>
                    <a:gd name="connsiteX30" fmla="*/ 786 w 10000"/>
                    <a:gd name="connsiteY30" fmla="*/ 4238 h 10125"/>
                    <a:gd name="connsiteX31" fmla="*/ 0 w 10000"/>
                    <a:gd name="connsiteY31" fmla="*/ 4427 h 10125"/>
                    <a:gd name="connsiteX32" fmla="*/ 202 w 10000"/>
                    <a:gd name="connsiteY32" fmla="*/ 4767 h 10125"/>
                    <a:gd name="connsiteX33" fmla="*/ 665 w 10000"/>
                    <a:gd name="connsiteY33" fmla="*/ 4767 h 10125"/>
                    <a:gd name="connsiteX34" fmla="*/ 323 w 10000"/>
                    <a:gd name="connsiteY34" fmla="*/ 4955 h 10125"/>
                    <a:gd name="connsiteX35" fmla="*/ 786 w 10000"/>
                    <a:gd name="connsiteY35" fmla="*/ 5502 h 10125"/>
                    <a:gd name="connsiteX36" fmla="*/ 1109 w 10000"/>
                    <a:gd name="connsiteY36" fmla="*/ 5257 h 10125"/>
                    <a:gd name="connsiteX37" fmla="*/ 1431 w 10000"/>
                    <a:gd name="connsiteY37" fmla="*/ 4880 h 10125"/>
                    <a:gd name="connsiteX38" fmla="*/ 1552 w 10000"/>
                    <a:gd name="connsiteY38" fmla="*/ 5182 h 10125"/>
                    <a:gd name="connsiteX39" fmla="*/ 1794 w 10000"/>
                    <a:gd name="connsiteY39" fmla="*/ 5257 h 10125"/>
                    <a:gd name="connsiteX40" fmla="*/ 1794 w 10000"/>
                    <a:gd name="connsiteY40" fmla="*/ 6767 h 10125"/>
                    <a:gd name="connsiteX41" fmla="*/ 2339 w 10000"/>
                    <a:gd name="connsiteY41" fmla="*/ 7597 h 10125"/>
                    <a:gd name="connsiteX42" fmla="*/ 2581 w 10000"/>
                    <a:gd name="connsiteY42" fmla="*/ 8144 h 10125"/>
                    <a:gd name="connsiteX43" fmla="*/ 3488 w 10000"/>
                    <a:gd name="connsiteY43" fmla="*/ 9785 h 10125"/>
                    <a:gd name="connsiteX44" fmla="*/ 3810 w 10000"/>
                    <a:gd name="connsiteY44" fmla="*/ 10125 h 10125"/>
                    <a:gd name="connsiteX45" fmla="*/ 4375 w 10000"/>
                    <a:gd name="connsiteY45" fmla="*/ 9710 h 10125"/>
                    <a:gd name="connsiteX46" fmla="*/ 4254 w 10000"/>
                    <a:gd name="connsiteY46" fmla="*/ 9483 h 10125"/>
                    <a:gd name="connsiteX47" fmla="*/ 4456 w 10000"/>
                    <a:gd name="connsiteY47" fmla="*/ 9295 h 10125"/>
                    <a:gd name="connsiteX48" fmla="*/ 4456 w 10000"/>
                    <a:gd name="connsiteY48" fmla="*/ 8974 h 10125"/>
                    <a:gd name="connsiteX49" fmla="*/ 4375 w 10000"/>
                    <a:gd name="connsiteY49" fmla="*/ 8861 h 10125"/>
                    <a:gd name="connsiteX50" fmla="*/ 4718 w 10000"/>
                    <a:gd name="connsiteY50" fmla="*/ 8219 h 10125"/>
                    <a:gd name="connsiteX51" fmla="*/ 4597 w 10000"/>
                    <a:gd name="connsiteY51" fmla="*/ 8031 h 10125"/>
                    <a:gd name="connsiteX52" fmla="*/ 4597 w 10000"/>
                    <a:gd name="connsiteY52" fmla="*/ 7295 h 10125"/>
                    <a:gd name="connsiteX53" fmla="*/ 4919 w 10000"/>
                    <a:gd name="connsiteY53" fmla="*/ 7182 h 10125"/>
                    <a:gd name="connsiteX54" fmla="*/ 5806 w 10000"/>
                    <a:gd name="connsiteY54" fmla="*/ 6333 h 10125"/>
                    <a:gd name="connsiteX55" fmla="*/ 5806 w 10000"/>
                    <a:gd name="connsiteY55" fmla="*/ 6031 h 10125"/>
                    <a:gd name="connsiteX56" fmla="*/ 6714 w 10000"/>
                    <a:gd name="connsiteY56" fmla="*/ 5616 h 10125"/>
                    <a:gd name="connsiteX57" fmla="*/ 6593 w 10000"/>
                    <a:gd name="connsiteY57" fmla="*/ 5389 h 10125"/>
                    <a:gd name="connsiteX58" fmla="*/ 6956 w 10000"/>
                    <a:gd name="connsiteY58" fmla="*/ 5182 h 10125"/>
                    <a:gd name="connsiteX59" fmla="*/ 7500 w 10000"/>
                    <a:gd name="connsiteY59" fmla="*/ 5182 h 10125"/>
                    <a:gd name="connsiteX60" fmla="*/ 7379 w 10000"/>
                    <a:gd name="connsiteY60" fmla="*/ 4540 h 10125"/>
                    <a:gd name="connsiteX61" fmla="*/ 6956 w 10000"/>
                    <a:gd name="connsiteY61" fmla="*/ 4351 h 10125"/>
                    <a:gd name="connsiteX62" fmla="*/ 7157 w 10000"/>
                    <a:gd name="connsiteY62" fmla="*/ 3993 h 10125"/>
                    <a:gd name="connsiteX63" fmla="*/ 6956 w 10000"/>
                    <a:gd name="connsiteY63" fmla="*/ 3804 h 10125"/>
                    <a:gd name="connsiteX64" fmla="*/ 7036 w 10000"/>
                    <a:gd name="connsiteY64" fmla="*/ 3616 h 10125"/>
                    <a:gd name="connsiteX65" fmla="*/ 7379 w 10000"/>
                    <a:gd name="connsiteY65" fmla="*/ 3616 h 10125"/>
                    <a:gd name="connsiteX66" fmla="*/ 7621 w 10000"/>
                    <a:gd name="connsiteY66" fmla="*/ 3993 h 10125"/>
                    <a:gd name="connsiteX67" fmla="*/ 8387 w 10000"/>
                    <a:gd name="connsiteY67" fmla="*/ 3993 h 10125"/>
                    <a:gd name="connsiteX68" fmla="*/ 8185 w 10000"/>
                    <a:gd name="connsiteY68" fmla="*/ 4540 h 10125"/>
                    <a:gd name="connsiteX69" fmla="*/ 8387 w 10000"/>
                    <a:gd name="connsiteY69" fmla="*/ 4653 h 10125"/>
                    <a:gd name="connsiteX70" fmla="*/ 8508 w 10000"/>
                    <a:gd name="connsiteY70" fmla="*/ 4540 h 10125"/>
                    <a:gd name="connsiteX71" fmla="*/ 8730 w 10000"/>
                    <a:gd name="connsiteY71" fmla="*/ 5068 h 10125"/>
                    <a:gd name="connsiteX72" fmla="*/ 8972 w 10000"/>
                    <a:gd name="connsiteY72" fmla="*/ 4351 h 10125"/>
                    <a:gd name="connsiteX73" fmla="*/ 9294 w 10000"/>
                    <a:gd name="connsiteY73" fmla="*/ 4238 h 10125"/>
                    <a:gd name="connsiteX74" fmla="*/ 9415 w 10000"/>
                    <a:gd name="connsiteY74" fmla="*/ 3389 h 10125"/>
                    <a:gd name="connsiteX75" fmla="*/ 9738 w 10000"/>
                    <a:gd name="connsiteY75" fmla="*/ 3163 h 10125"/>
                    <a:gd name="connsiteX76" fmla="*/ 10000 w 10000"/>
                    <a:gd name="connsiteY76" fmla="*/ 2729 h 10125"/>
                    <a:gd name="connsiteX77" fmla="*/ 9617 w 10000"/>
                    <a:gd name="connsiteY77" fmla="*/ 2653 h 10125"/>
                    <a:gd name="connsiteX78" fmla="*/ 9294 w 10000"/>
                    <a:gd name="connsiteY78" fmla="*/ 2351 h 10125"/>
                    <a:gd name="connsiteX79" fmla="*/ 8065 w 10000"/>
                    <a:gd name="connsiteY79" fmla="*/ 2974 h 10125"/>
                    <a:gd name="connsiteX80" fmla="*/ 7823 w 10000"/>
                    <a:gd name="connsiteY80" fmla="*/ 3389 h 10125"/>
                    <a:gd name="connsiteX81" fmla="*/ 7621 w 10000"/>
                    <a:gd name="connsiteY81" fmla="*/ 3502 h 10125"/>
                    <a:gd name="connsiteX82" fmla="*/ 7500 w 10000"/>
                    <a:gd name="connsiteY82" fmla="*/ 3276 h 10125"/>
                    <a:gd name="connsiteX83" fmla="*/ 7036 w 10000"/>
                    <a:gd name="connsiteY83" fmla="*/ 3163 h 10125"/>
                    <a:gd name="connsiteX84" fmla="*/ 7157 w 10000"/>
                    <a:gd name="connsiteY84" fmla="*/ 2974 h 10125"/>
                    <a:gd name="connsiteX0" fmla="*/ 7157 w 10000"/>
                    <a:gd name="connsiteY0" fmla="*/ 2974 h 10125"/>
                    <a:gd name="connsiteX1" fmla="*/ 6956 w 10000"/>
                    <a:gd name="connsiteY1" fmla="*/ 2842 h 10125"/>
                    <a:gd name="connsiteX2" fmla="*/ 6714 w 10000"/>
                    <a:gd name="connsiteY2" fmla="*/ 2842 h 10125"/>
                    <a:gd name="connsiteX3" fmla="*/ 6714 w 10000"/>
                    <a:gd name="connsiteY3" fmla="*/ 3087 h 10125"/>
                    <a:gd name="connsiteX4" fmla="*/ 6835 w 10000"/>
                    <a:gd name="connsiteY4" fmla="*/ 3616 h 10125"/>
                    <a:gd name="connsiteX5" fmla="*/ 5806 w 10000"/>
                    <a:gd name="connsiteY5" fmla="*/ 3389 h 10125"/>
                    <a:gd name="connsiteX6" fmla="*/ 5484 w 10000"/>
                    <a:gd name="connsiteY6" fmla="*/ 3087 h 10125"/>
                    <a:gd name="connsiteX7" fmla="*/ 4919 w 10000"/>
                    <a:gd name="connsiteY7" fmla="*/ 3163 h 10125"/>
                    <a:gd name="connsiteX8" fmla="*/ 4839 w 10000"/>
                    <a:gd name="connsiteY8" fmla="*/ 2974 h 10125"/>
                    <a:gd name="connsiteX9" fmla="*/ 3891 w 10000"/>
                    <a:gd name="connsiteY9" fmla="*/ 2729 h 10125"/>
                    <a:gd name="connsiteX10" fmla="*/ 3891 w 10000"/>
                    <a:gd name="connsiteY10" fmla="*/ 2012 h 10125"/>
                    <a:gd name="connsiteX11" fmla="*/ 3246 w 10000"/>
                    <a:gd name="connsiteY11" fmla="*/ 1578 h 10125"/>
                    <a:gd name="connsiteX12" fmla="*/ 3024 w 10000"/>
                    <a:gd name="connsiteY12" fmla="*/ 1389 h 10125"/>
                    <a:gd name="connsiteX13" fmla="*/ 3367 w 10000"/>
                    <a:gd name="connsiteY13" fmla="*/ 1163 h 10125"/>
                    <a:gd name="connsiteX14" fmla="*/ 3105 w 10000"/>
                    <a:gd name="connsiteY14" fmla="*/ 861 h 10125"/>
                    <a:gd name="connsiteX15" fmla="*/ 3367 w 10000"/>
                    <a:gd name="connsiteY15" fmla="*/ 634 h 10125"/>
                    <a:gd name="connsiteX16" fmla="*/ 3517 w 10000"/>
                    <a:gd name="connsiteY16" fmla="*/ 579 h 10125"/>
                    <a:gd name="connsiteX17" fmla="*/ 3527 w 10000"/>
                    <a:gd name="connsiteY17" fmla="*/ 323 h 10125"/>
                    <a:gd name="connsiteX18" fmla="*/ 3343 w 10000"/>
                    <a:gd name="connsiteY18" fmla="*/ 47 h 10125"/>
                    <a:gd name="connsiteX19" fmla="*/ 2278 w 10000"/>
                    <a:gd name="connsiteY19" fmla="*/ 193 h 10125"/>
                    <a:gd name="connsiteX20" fmla="*/ 1946 w 10000"/>
                    <a:gd name="connsiteY20" fmla="*/ 0 h 10125"/>
                    <a:gd name="connsiteX21" fmla="*/ 1363 w 10000"/>
                    <a:gd name="connsiteY21" fmla="*/ 346 h 10125"/>
                    <a:gd name="connsiteX22" fmla="*/ 1194 w 10000"/>
                    <a:gd name="connsiteY22" fmla="*/ 626 h 10125"/>
                    <a:gd name="connsiteX23" fmla="*/ 1351 w 10000"/>
                    <a:gd name="connsiteY23" fmla="*/ 974 h 10125"/>
                    <a:gd name="connsiteX24" fmla="*/ 1895 w 10000"/>
                    <a:gd name="connsiteY24" fmla="*/ 1389 h 10125"/>
                    <a:gd name="connsiteX25" fmla="*/ 1673 w 10000"/>
                    <a:gd name="connsiteY25" fmla="*/ 1578 h 10125"/>
                    <a:gd name="connsiteX26" fmla="*/ 1673 w 10000"/>
                    <a:gd name="connsiteY26" fmla="*/ 1899 h 10125"/>
                    <a:gd name="connsiteX27" fmla="*/ 907 w 10000"/>
                    <a:gd name="connsiteY27" fmla="*/ 2974 h 10125"/>
                    <a:gd name="connsiteX28" fmla="*/ 323 w 10000"/>
                    <a:gd name="connsiteY28" fmla="*/ 3163 h 10125"/>
                    <a:gd name="connsiteX29" fmla="*/ 1028 w 10000"/>
                    <a:gd name="connsiteY29" fmla="*/ 3993 h 10125"/>
                    <a:gd name="connsiteX30" fmla="*/ 786 w 10000"/>
                    <a:gd name="connsiteY30" fmla="*/ 4238 h 10125"/>
                    <a:gd name="connsiteX31" fmla="*/ 0 w 10000"/>
                    <a:gd name="connsiteY31" fmla="*/ 4427 h 10125"/>
                    <a:gd name="connsiteX32" fmla="*/ 202 w 10000"/>
                    <a:gd name="connsiteY32" fmla="*/ 4767 h 10125"/>
                    <a:gd name="connsiteX33" fmla="*/ 665 w 10000"/>
                    <a:gd name="connsiteY33" fmla="*/ 4767 h 10125"/>
                    <a:gd name="connsiteX34" fmla="*/ 323 w 10000"/>
                    <a:gd name="connsiteY34" fmla="*/ 4955 h 10125"/>
                    <a:gd name="connsiteX35" fmla="*/ 786 w 10000"/>
                    <a:gd name="connsiteY35" fmla="*/ 5502 h 10125"/>
                    <a:gd name="connsiteX36" fmla="*/ 1109 w 10000"/>
                    <a:gd name="connsiteY36" fmla="*/ 5257 h 10125"/>
                    <a:gd name="connsiteX37" fmla="*/ 1431 w 10000"/>
                    <a:gd name="connsiteY37" fmla="*/ 4880 h 10125"/>
                    <a:gd name="connsiteX38" fmla="*/ 1552 w 10000"/>
                    <a:gd name="connsiteY38" fmla="*/ 5182 h 10125"/>
                    <a:gd name="connsiteX39" fmla="*/ 1794 w 10000"/>
                    <a:gd name="connsiteY39" fmla="*/ 5257 h 10125"/>
                    <a:gd name="connsiteX40" fmla="*/ 1794 w 10000"/>
                    <a:gd name="connsiteY40" fmla="*/ 6767 h 10125"/>
                    <a:gd name="connsiteX41" fmla="*/ 2339 w 10000"/>
                    <a:gd name="connsiteY41" fmla="*/ 7597 h 10125"/>
                    <a:gd name="connsiteX42" fmla="*/ 2581 w 10000"/>
                    <a:gd name="connsiteY42" fmla="*/ 8144 h 10125"/>
                    <a:gd name="connsiteX43" fmla="*/ 3488 w 10000"/>
                    <a:gd name="connsiteY43" fmla="*/ 9785 h 10125"/>
                    <a:gd name="connsiteX44" fmla="*/ 3810 w 10000"/>
                    <a:gd name="connsiteY44" fmla="*/ 10125 h 10125"/>
                    <a:gd name="connsiteX45" fmla="*/ 4375 w 10000"/>
                    <a:gd name="connsiteY45" fmla="*/ 9710 h 10125"/>
                    <a:gd name="connsiteX46" fmla="*/ 4254 w 10000"/>
                    <a:gd name="connsiteY46" fmla="*/ 9483 h 10125"/>
                    <a:gd name="connsiteX47" fmla="*/ 4456 w 10000"/>
                    <a:gd name="connsiteY47" fmla="*/ 9295 h 10125"/>
                    <a:gd name="connsiteX48" fmla="*/ 4456 w 10000"/>
                    <a:gd name="connsiteY48" fmla="*/ 8974 h 10125"/>
                    <a:gd name="connsiteX49" fmla="*/ 4375 w 10000"/>
                    <a:gd name="connsiteY49" fmla="*/ 8861 h 10125"/>
                    <a:gd name="connsiteX50" fmla="*/ 4718 w 10000"/>
                    <a:gd name="connsiteY50" fmla="*/ 8219 h 10125"/>
                    <a:gd name="connsiteX51" fmla="*/ 4597 w 10000"/>
                    <a:gd name="connsiteY51" fmla="*/ 8031 h 10125"/>
                    <a:gd name="connsiteX52" fmla="*/ 4597 w 10000"/>
                    <a:gd name="connsiteY52" fmla="*/ 7295 h 10125"/>
                    <a:gd name="connsiteX53" fmla="*/ 4919 w 10000"/>
                    <a:gd name="connsiteY53" fmla="*/ 7182 h 10125"/>
                    <a:gd name="connsiteX54" fmla="*/ 5806 w 10000"/>
                    <a:gd name="connsiteY54" fmla="*/ 6333 h 10125"/>
                    <a:gd name="connsiteX55" fmla="*/ 5806 w 10000"/>
                    <a:gd name="connsiteY55" fmla="*/ 6031 h 10125"/>
                    <a:gd name="connsiteX56" fmla="*/ 6714 w 10000"/>
                    <a:gd name="connsiteY56" fmla="*/ 5616 h 10125"/>
                    <a:gd name="connsiteX57" fmla="*/ 6593 w 10000"/>
                    <a:gd name="connsiteY57" fmla="*/ 5389 h 10125"/>
                    <a:gd name="connsiteX58" fmla="*/ 6956 w 10000"/>
                    <a:gd name="connsiteY58" fmla="*/ 5182 h 10125"/>
                    <a:gd name="connsiteX59" fmla="*/ 7500 w 10000"/>
                    <a:gd name="connsiteY59" fmla="*/ 5182 h 10125"/>
                    <a:gd name="connsiteX60" fmla="*/ 7379 w 10000"/>
                    <a:gd name="connsiteY60" fmla="*/ 4540 h 10125"/>
                    <a:gd name="connsiteX61" fmla="*/ 6956 w 10000"/>
                    <a:gd name="connsiteY61" fmla="*/ 4351 h 10125"/>
                    <a:gd name="connsiteX62" fmla="*/ 7157 w 10000"/>
                    <a:gd name="connsiteY62" fmla="*/ 3993 h 10125"/>
                    <a:gd name="connsiteX63" fmla="*/ 6956 w 10000"/>
                    <a:gd name="connsiteY63" fmla="*/ 3804 h 10125"/>
                    <a:gd name="connsiteX64" fmla="*/ 7036 w 10000"/>
                    <a:gd name="connsiteY64" fmla="*/ 3616 h 10125"/>
                    <a:gd name="connsiteX65" fmla="*/ 7379 w 10000"/>
                    <a:gd name="connsiteY65" fmla="*/ 3616 h 10125"/>
                    <a:gd name="connsiteX66" fmla="*/ 7621 w 10000"/>
                    <a:gd name="connsiteY66" fmla="*/ 3993 h 10125"/>
                    <a:gd name="connsiteX67" fmla="*/ 8387 w 10000"/>
                    <a:gd name="connsiteY67" fmla="*/ 3993 h 10125"/>
                    <a:gd name="connsiteX68" fmla="*/ 8185 w 10000"/>
                    <a:gd name="connsiteY68" fmla="*/ 4540 h 10125"/>
                    <a:gd name="connsiteX69" fmla="*/ 8387 w 10000"/>
                    <a:gd name="connsiteY69" fmla="*/ 4653 h 10125"/>
                    <a:gd name="connsiteX70" fmla="*/ 8508 w 10000"/>
                    <a:gd name="connsiteY70" fmla="*/ 4540 h 10125"/>
                    <a:gd name="connsiteX71" fmla="*/ 8730 w 10000"/>
                    <a:gd name="connsiteY71" fmla="*/ 5068 h 10125"/>
                    <a:gd name="connsiteX72" fmla="*/ 8972 w 10000"/>
                    <a:gd name="connsiteY72" fmla="*/ 4351 h 10125"/>
                    <a:gd name="connsiteX73" fmla="*/ 9294 w 10000"/>
                    <a:gd name="connsiteY73" fmla="*/ 4238 h 10125"/>
                    <a:gd name="connsiteX74" fmla="*/ 9415 w 10000"/>
                    <a:gd name="connsiteY74" fmla="*/ 3389 h 10125"/>
                    <a:gd name="connsiteX75" fmla="*/ 9738 w 10000"/>
                    <a:gd name="connsiteY75" fmla="*/ 3163 h 10125"/>
                    <a:gd name="connsiteX76" fmla="*/ 10000 w 10000"/>
                    <a:gd name="connsiteY76" fmla="*/ 2729 h 10125"/>
                    <a:gd name="connsiteX77" fmla="*/ 9617 w 10000"/>
                    <a:gd name="connsiteY77" fmla="*/ 2653 h 10125"/>
                    <a:gd name="connsiteX78" fmla="*/ 9294 w 10000"/>
                    <a:gd name="connsiteY78" fmla="*/ 2351 h 10125"/>
                    <a:gd name="connsiteX79" fmla="*/ 8065 w 10000"/>
                    <a:gd name="connsiteY79" fmla="*/ 2974 h 10125"/>
                    <a:gd name="connsiteX80" fmla="*/ 7823 w 10000"/>
                    <a:gd name="connsiteY80" fmla="*/ 3389 h 10125"/>
                    <a:gd name="connsiteX81" fmla="*/ 7621 w 10000"/>
                    <a:gd name="connsiteY81" fmla="*/ 3502 h 10125"/>
                    <a:gd name="connsiteX82" fmla="*/ 7500 w 10000"/>
                    <a:gd name="connsiteY82" fmla="*/ 3276 h 10125"/>
                    <a:gd name="connsiteX83" fmla="*/ 7036 w 10000"/>
                    <a:gd name="connsiteY83" fmla="*/ 3163 h 10125"/>
                    <a:gd name="connsiteX84" fmla="*/ 7157 w 10000"/>
                    <a:gd name="connsiteY84" fmla="*/ 2974 h 10125"/>
                    <a:gd name="connsiteX0" fmla="*/ 7157 w 10000"/>
                    <a:gd name="connsiteY0" fmla="*/ 2974 h 10125"/>
                    <a:gd name="connsiteX1" fmla="*/ 6956 w 10000"/>
                    <a:gd name="connsiteY1" fmla="*/ 2842 h 10125"/>
                    <a:gd name="connsiteX2" fmla="*/ 6714 w 10000"/>
                    <a:gd name="connsiteY2" fmla="*/ 2842 h 10125"/>
                    <a:gd name="connsiteX3" fmla="*/ 6714 w 10000"/>
                    <a:gd name="connsiteY3" fmla="*/ 3087 h 10125"/>
                    <a:gd name="connsiteX4" fmla="*/ 6835 w 10000"/>
                    <a:gd name="connsiteY4" fmla="*/ 3616 h 10125"/>
                    <a:gd name="connsiteX5" fmla="*/ 5806 w 10000"/>
                    <a:gd name="connsiteY5" fmla="*/ 3389 h 10125"/>
                    <a:gd name="connsiteX6" fmla="*/ 5484 w 10000"/>
                    <a:gd name="connsiteY6" fmla="*/ 3087 h 10125"/>
                    <a:gd name="connsiteX7" fmla="*/ 4919 w 10000"/>
                    <a:gd name="connsiteY7" fmla="*/ 3163 h 10125"/>
                    <a:gd name="connsiteX8" fmla="*/ 4839 w 10000"/>
                    <a:gd name="connsiteY8" fmla="*/ 2974 h 10125"/>
                    <a:gd name="connsiteX9" fmla="*/ 3891 w 10000"/>
                    <a:gd name="connsiteY9" fmla="*/ 2729 h 10125"/>
                    <a:gd name="connsiteX10" fmla="*/ 3891 w 10000"/>
                    <a:gd name="connsiteY10" fmla="*/ 2012 h 10125"/>
                    <a:gd name="connsiteX11" fmla="*/ 3246 w 10000"/>
                    <a:gd name="connsiteY11" fmla="*/ 1578 h 10125"/>
                    <a:gd name="connsiteX12" fmla="*/ 3024 w 10000"/>
                    <a:gd name="connsiteY12" fmla="*/ 1389 h 10125"/>
                    <a:gd name="connsiteX13" fmla="*/ 3367 w 10000"/>
                    <a:gd name="connsiteY13" fmla="*/ 1163 h 10125"/>
                    <a:gd name="connsiteX14" fmla="*/ 3105 w 10000"/>
                    <a:gd name="connsiteY14" fmla="*/ 861 h 10125"/>
                    <a:gd name="connsiteX15" fmla="*/ 3367 w 10000"/>
                    <a:gd name="connsiteY15" fmla="*/ 634 h 10125"/>
                    <a:gd name="connsiteX16" fmla="*/ 3517 w 10000"/>
                    <a:gd name="connsiteY16" fmla="*/ 579 h 10125"/>
                    <a:gd name="connsiteX17" fmla="*/ 3527 w 10000"/>
                    <a:gd name="connsiteY17" fmla="*/ 323 h 10125"/>
                    <a:gd name="connsiteX18" fmla="*/ 3343 w 10000"/>
                    <a:gd name="connsiteY18" fmla="*/ 47 h 10125"/>
                    <a:gd name="connsiteX19" fmla="*/ 2278 w 10000"/>
                    <a:gd name="connsiteY19" fmla="*/ 193 h 10125"/>
                    <a:gd name="connsiteX20" fmla="*/ 1946 w 10000"/>
                    <a:gd name="connsiteY20" fmla="*/ 0 h 10125"/>
                    <a:gd name="connsiteX21" fmla="*/ 1672 w 10000"/>
                    <a:gd name="connsiteY21" fmla="*/ 167 h 10125"/>
                    <a:gd name="connsiteX22" fmla="*/ 1363 w 10000"/>
                    <a:gd name="connsiteY22" fmla="*/ 346 h 10125"/>
                    <a:gd name="connsiteX23" fmla="*/ 1194 w 10000"/>
                    <a:gd name="connsiteY23" fmla="*/ 626 h 10125"/>
                    <a:gd name="connsiteX24" fmla="*/ 1351 w 10000"/>
                    <a:gd name="connsiteY24" fmla="*/ 974 h 10125"/>
                    <a:gd name="connsiteX25" fmla="*/ 1895 w 10000"/>
                    <a:gd name="connsiteY25" fmla="*/ 1389 h 10125"/>
                    <a:gd name="connsiteX26" fmla="*/ 1673 w 10000"/>
                    <a:gd name="connsiteY26" fmla="*/ 1578 h 10125"/>
                    <a:gd name="connsiteX27" fmla="*/ 1673 w 10000"/>
                    <a:gd name="connsiteY27" fmla="*/ 1899 h 10125"/>
                    <a:gd name="connsiteX28" fmla="*/ 907 w 10000"/>
                    <a:gd name="connsiteY28" fmla="*/ 2974 h 10125"/>
                    <a:gd name="connsiteX29" fmla="*/ 323 w 10000"/>
                    <a:gd name="connsiteY29" fmla="*/ 3163 h 10125"/>
                    <a:gd name="connsiteX30" fmla="*/ 1028 w 10000"/>
                    <a:gd name="connsiteY30" fmla="*/ 3993 h 10125"/>
                    <a:gd name="connsiteX31" fmla="*/ 786 w 10000"/>
                    <a:gd name="connsiteY31" fmla="*/ 4238 h 10125"/>
                    <a:gd name="connsiteX32" fmla="*/ 0 w 10000"/>
                    <a:gd name="connsiteY32" fmla="*/ 4427 h 10125"/>
                    <a:gd name="connsiteX33" fmla="*/ 202 w 10000"/>
                    <a:gd name="connsiteY33" fmla="*/ 4767 h 10125"/>
                    <a:gd name="connsiteX34" fmla="*/ 665 w 10000"/>
                    <a:gd name="connsiteY34" fmla="*/ 4767 h 10125"/>
                    <a:gd name="connsiteX35" fmla="*/ 323 w 10000"/>
                    <a:gd name="connsiteY35" fmla="*/ 4955 h 10125"/>
                    <a:gd name="connsiteX36" fmla="*/ 786 w 10000"/>
                    <a:gd name="connsiteY36" fmla="*/ 5502 h 10125"/>
                    <a:gd name="connsiteX37" fmla="*/ 1109 w 10000"/>
                    <a:gd name="connsiteY37" fmla="*/ 5257 h 10125"/>
                    <a:gd name="connsiteX38" fmla="*/ 1431 w 10000"/>
                    <a:gd name="connsiteY38" fmla="*/ 4880 h 10125"/>
                    <a:gd name="connsiteX39" fmla="*/ 1552 w 10000"/>
                    <a:gd name="connsiteY39" fmla="*/ 5182 h 10125"/>
                    <a:gd name="connsiteX40" fmla="*/ 1794 w 10000"/>
                    <a:gd name="connsiteY40" fmla="*/ 5257 h 10125"/>
                    <a:gd name="connsiteX41" fmla="*/ 1794 w 10000"/>
                    <a:gd name="connsiteY41" fmla="*/ 6767 h 10125"/>
                    <a:gd name="connsiteX42" fmla="*/ 2339 w 10000"/>
                    <a:gd name="connsiteY42" fmla="*/ 7597 h 10125"/>
                    <a:gd name="connsiteX43" fmla="*/ 2581 w 10000"/>
                    <a:gd name="connsiteY43" fmla="*/ 8144 h 10125"/>
                    <a:gd name="connsiteX44" fmla="*/ 3488 w 10000"/>
                    <a:gd name="connsiteY44" fmla="*/ 9785 h 10125"/>
                    <a:gd name="connsiteX45" fmla="*/ 3810 w 10000"/>
                    <a:gd name="connsiteY45" fmla="*/ 10125 h 10125"/>
                    <a:gd name="connsiteX46" fmla="*/ 4375 w 10000"/>
                    <a:gd name="connsiteY46" fmla="*/ 9710 h 10125"/>
                    <a:gd name="connsiteX47" fmla="*/ 4254 w 10000"/>
                    <a:gd name="connsiteY47" fmla="*/ 9483 h 10125"/>
                    <a:gd name="connsiteX48" fmla="*/ 4456 w 10000"/>
                    <a:gd name="connsiteY48" fmla="*/ 9295 h 10125"/>
                    <a:gd name="connsiteX49" fmla="*/ 4456 w 10000"/>
                    <a:gd name="connsiteY49" fmla="*/ 8974 h 10125"/>
                    <a:gd name="connsiteX50" fmla="*/ 4375 w 10000"/>
                    <a:gd name="connsiteY50" fmla="*/ 8861 h 10125"/>
                    <a:gd name="connsiteX51" fmla="*/ 4718 w 10000"/>
                    <a:gd name="connsiteY51" fmla="*/ 8219 h 10125"/>
                    <a:gd name="connsiteX52" fmla="*/ 4597 w 10000"/>
                    <a:gd name="connsiteY52" fmla="*/ 8031 h 10125"/>
                    <a:gd name="connsiteX53" fmla="*/ 4597 w 10000"/>
                    <a:gd name="connsiteY53" fmla="*/ 7295 h 10125"/>
                    <a:gd name="connsiteX54" fmla="*/ 4919 w 10000"/>
                    <a:gd name="connsiteY54" fmla="*/ 7182 h 10125"/>
                    <a:gd name="connsiteX55" fmla="*/ 5806 w 10000"/>
                    <a:gd name="connsiteY55" fmla="*/ 6333 h 10125"/>
                    <a:gd name="connsiteX56" fmla="*/ 5806 w 10000"/>
                    <a:gd name="connsiteY56" fmla="*/ 6031 h 10125"/>
                    <a:gd name="connsiteX57" fmla="*/ 6714 w 10000"/>
                    <a:gd name="connsiteY57" fmla="*/ 5616 h 10125"/>
                    <a:gd name="connsiteX58" fmla="*/ 6593 w 10000"/>
                    <a:gd name="connsiteY58" fmla="*/ 5389 h 10125"/>
                    <a:gd name="connsiteX59" fmla="*/ 6956 w 10000"/>
                    <a:gd name="connsiteY59" fmla="*/ 5182 h 10125"/>
                    <a:gd name="connsiteX60" fmla="*/ 7500 w 10000"/>
                    <a:gd name="connsiteY60" fmla="*/ 5182 h 10125"/>
                    <a:gd name="connsiteX61" fmla="*/ 7379 w 10000"/>
                    <a:gd name="connsiteY61" fmla="*/ 4540 h 10125"/>
                    <a:gd name="connsiteX62" fmla="*/ 6956 w 10000"/>
                    <a:gd name="connsiteY62" fmla="*/ 4351 h 10125"/>
                    <a:gd name="connsiteX63" fmla="*/ 7157 w 10000"/>
                    <a:gd name="connsiteY63" fmla="*/ 3993 h 10125"/>
                    <a:gd name="connsiteX64" fmla="*/ 6956 w 10000"/>
                    <a:gd name="connsiteY64" fmla="*/ 3804 h 10125"/>
                    <a:gd name="connsiteX65" fmla="*/ 7036 w 10000"/>
                    <a:gd name="connsiteY65" fmla="*/ 3616 h 10125"/>
                    <a:gd name="connsiteX66" fmla="*/ 7379 w 10000"/>
                    <a:gd name="connsiteY66" fmla="*/ 3616 h 10125"/>
                    <a:gd name="connsiteX67" fmla="*/ 7621 w 10000"/>
                    <a:gd name="connsiteY67" fmla="*/ 3993 h 10125"/>
                    <a:gd name="connsiteX68" fmla="*/ 8387 w 10000"/>
                    <a:gd name="connsiteY68" fmla="*/ 3993 h 10125"/>
                    <a:gd name="connsiteX69" fmla="*/ 8185 w 10000"/>
                    <a:gd name="connsiteY69" fmla="*/ 4540 h 10125"/>
                    <a:gd name="connsiteX70" fmla="*/ 8387 w 10000"/>
                    <a:gd name="connsiteY70" fmla="*/ 4653 h 10125"/>
                    <a:gd name="connsiteX71" fmla="*/ 8508 w 10000"/>
                    <a:gd name="connsiteY71" fmla="*/ 4540 h 10125"/>
                    <a:gd name="connsiteX72" fmla="*/ 8730 w 10000"/>
                    <a:gd name="connsiteY72" fmla="*/ 5068 h 10125"/>
                    <a:gd name="connsiteX73" fmla="*/ 8972 w 10000"/>
                    <a:gd name="connsiteY73" fmla="*/ 4351 h 10125"/>
                    <a:gd name="connsiteX74" fmla="*/ 9294 w 10000"/>
                    <a:gd name="connsiteY74" fmla="*/ 4238 h 10125"/>
                    <a:gd name="connsiteX75" fmla="*/ 9415 w 10000"/>
                    <a:gd name="connsiteY75" fmla="*/ 3389 h 10125"/>
                    <a:gd name="connsiteX76" fmla="*/ 9738 w 10000"/>
                    <a:gd name="connsiteY76" fmla="*/ 3163 h 10125"/>
                    <a:gd name="connsiteX77" fmla="*/ 10000 w 10000"/>
                    <a:gd name="connsiteY77" fmla="*/ 2729 h 10125"/>
                    <a:gd name="connsiteX78" fmla="*/ 9617 w 10000"/>
                    <a:gd name="connsiteY78" fmla="*/ 2653 h 10125"/>
                    <a:gd name="connsiteX79" fmla="*/ 9294 w 10000"/>
                    <a:gd name="connsiteY79" fmla="*/ 2351 h 10125"/>
                    <a:gd name="connsiteX80" fmla="*/ 8065 w 10000"/>
                    <a:gd name="connsiteY80" fmla="*/ 2974 h 10125"/>
                    <a:gd name="connsiteX81" fmla="*/ 7823 w 10000"/>
                    <a:gd name="connsiteY81" fmla="*/ 3389 h 10125"/>
                    <a:gd name="connsiteX82" fmla="*/ 7621 w 10000"/>
                    <a:gd name="connsiteY82" fmla="*/ 3502 h 10125"/>
                    <a:gd name="connsiteX83" fmla="*/ 7500 w 10000"/>
                    <a:gd name="connsiteY83" fmla="*/ 3276 h 10125"/>
                    <a:gd name="connsiteX84" fmla="*/ 7036 w 10000"/>
                    <a:gd name="connsiteY84" fmla="*/ 3163 h 10125"/>
                    <a:gd name="connsiteX85" fmla="*/ 7157 w 10000"/>
                    <a:gd name="connsiteY85" fmla="*/ 2974 h 10125"/>
                    <a:gd name="connsiteX0" fmla="*/ 7157 w 10000"/>
                    <a:gd name="connsiteY0" fmla="*/ 3019 h 10170"/>
                    <a:gd name="connsiteX1" fmla="*/ 6956 w 10000"/>
                    <a:gd name="connsiteY1" fmla="*/ 2887 h 10170"/>
                    <a:gd name="connsiteX2" fmla="*/ 6714 w 10000"/>
                    <a:gd name="connsiteY2" fmla="*/ 2887 h 10170"/>
                    <a:gd name="connsiteX3" fmla="*/ 6714 w 10000"/>
                    <a:gd name="connsiteY3" fmla="*/ 3132 h 10170"/>
                    <a:gd name="connsiteX4" fmla="*/ 6835 w 10000"/>
                    <a:gd name="connsiteY4" fmla="*/ 3661 h 10170"/>
                    <a:gd name="connsiteX5" fmla="*/ 5806 w 10000"/>
                    <a:gd name="connsiteY5" fmla="*/ 3434 h 10170"/>
                    <a:gd name="connsiteX6" fmla="*/ 5484 w 10000"/>
                    <a:gd name="connsiteY6" fmla="*/ 3132 h 10170"/>
                    <a:gd name="connsiteX7" fmla="*/ 4919 w 10000"/>
                    <a:gd name="connsiteY7" fmla="*/ 3208 h 10170"/>
                    <a:gd name="connsiteX8" fmla="*/ 4839 w 10000"/>
                    <a:gd name="connsiteY8" fmla="*/ 3019 h 10170"/>
                    <a:gd name="connsiteX9" fmla="*/ 3891 w 10000"/>
                    <a:gd name="connsiteY9" fmla="*/ 2774 h 10170"/>
                    <a:gd name="connsiteX10" fmla="*/ 3891 w 10000"/>
                    <a:gd name="connsiteY10" fmla="*/ 2057 h 10170"/>
                    <a:gd name="connsiteX11" fmla="*/ 3246 w 10000"/>
                    <a:gd name="connsiteY11" fmla="*/ 1623 h 10170"/>
                    <a:gd name="connsiteX12" fmla="*/ 3024 w 10000"/>
                    <a:gd name="connsiteY12" fmla="*/ 1434 h 10170"/>
                    <a:gd name="connsiteX13" fmla="*/ 3367 w 10000"/>
                    <a:gd name="connsiteY13" fmla="*/ 1208 h 10170"/>
                    <a:gd name="connsiteX14" fmla="*/ 3105 w 10000"/>
                    <a:gd name="connsiteY14" fmla="*/ 906 h 10170"/>
                    <a:gd name="connsiteX15" fmla="*/ 3367 w 10000"/>
                    <a:gd name="connsiteY15" fmla="*/ 679 h 10170"/>
                    <a:gd name="connsiteX16" fmla="*/ 3517 w 10000"/>
                    <a:gd name="connsiteY16" fmla="*/ 624 h 10170"/>
                    <a:gd name="connsiteX17" fmla="*/ 3527 w 10000"/>
                    <a:gd name="connsiteY17" fmla="*/ 368 h 10170"/>
                    <a:gd name="connsiteX18" fmla="*/ 3343 w 10000"/>
                    <a:gd name="connsiteY18" fmla="*/ 92 h 10170"/>
                    <a:gd name="connsiteX19" fmla="*/ 2278 w 10000"/>
                    <a:gd name="connsiteY19" fmla="*/ 238 h 10170"/>
                    <a:gd name="connsiteX20" fmla="*/ 1946 w 10000"/>
                    <a:gd name="connsiteY20" fmla="*/ 45 h 10170"/>
                    <a:gd name="connsiteX21" fmla="*/ 1422 w 10000"/>
                    <a:gd name="connsiteY21" fmla="*/ 0 h 10170"/>
                    <a:gd name="connsiteX22" fmla="*/ 1363 w 10000"/>
                    <a:gd name="connsiteY22" fmla="*/ 391 h 10170"/>
                    <a:gd name="connsiteX23" fmla="*/ 1194 w 10000"/>
                    <a:gd name="connsiteY23" fmla="*/ 671 h 10170"/>
                    <a:gd name="connsiteX24" fmla="*/ 1351 w 10000"/>
                    <a:gd name="connsiteY24" fmla="*/ 1019 h 10170"/>
                    <a:gd name="connsiteX25" fmla="*/ 1895 w 10000"/>
                    <a:gd name="connsiteY25" fmla="*/ 1434 h 10170"/>
                    <a:gd name="connsiteX26" fmla="*/ 1673 w 10000"/>
                    <a:gd name="connsiteY26" fmla="*/ 1623 h 10170"/>
                    <a:gd name="connsiteX27" fmla="*/ 1673 w 10000"/>
                    <a:gd name="connsiteY27" fmla="*/ 1944 h 10170"/>
                    <a:gd name="connsiteX28" fmla="*/ 907 w 10000"/>
                    <a:gd name="connsiteY28" fmla="*/ 3019 h 10170"/>
                    <a:gd name="connsiteX29" fmla="*/ 323 w 10000"/>
                    <a:gd name="connsiteY29" fmla="*/ 3208 h 10170"/>
                    <a:gd name="connsiteX30" fmla="*/ 1028 w 10000"/>
                    <a:gd name="connsiteY30" fmla="*/ 4038 h 10170"/>
                    <a:gd name="connsiteX31" fmla="*/ 786 w 10000"/>
                    <a:gd name="connsiteY31" fmla="*/ 4283 h 10170"/>
                    <a:gd name="connsiteX32" fmla="*/ 0 w 10000"/>
                    <a:gd name="connsiteY32" fmla="*/ 4472 h 10170"/>
                    <a:gd name="connsiteX33" fmla="*/ 202 w 10000"/>
                    <a:gd name="connsiteY33" fmla="*/ 4812 h 10170"/>
                    <a:gd name="connsiteX34" fmla="*/ 665 w 10000"/>
                    <a:gd name="connsiteY34" fmla="*/ 4812 h 10170"/>
                    <a:gd name="connsiteX35" fmla="*/ 323 w 10000"/>
                    <a:gd name="connsiteY35" fmla="*/ 5000 h 10170"/>
                    <a:gd name="connsiteX36" fmla="*/ 786 w 10000"/>
                    <a:gd name="connsiteY36" fmla="*/ 5547 h 10170"/>
                    <a:gd name="connsiteX37" fmla="*/ 1109 w 10000"/>
                    <a:gd name="connsiteY37" fmla="*/ 5302 h 10170"/>
                    <a:gd name="connsiteX38" fmla="*/ 1431 w 10000"/>
                    <a:gd name="connsiteY38" fmla="*/ 4925 h 10170"/>
                    <a:gd name="connsiteX39" fmla="*/ 1552 w 10000"/>
                    <a:gd name="connsiteY39" fmla="*/ 5227 h 10170"/>
                    <a:gd name="connsiteX40" fmla="*/ 1794 w 10000"/>
                    <a:gd name="connsiteY40" fmla="*/ 5302 h 10170"/>
                    <a:gd name="connsiteX41" fmla="*/ 1794 w 10000"/>
                    <a:gd name="connsiteY41" fmla="*/ 6812 h 10170"/>
                    <a:gd name="connsiteX42" fmla="*/ 2339 w 10000"/>
                    <a:gd name="connsiteY42" fmla="*/ 7642 h 10170"/>
                    <a:gd name="connsiteX43" fmla="*/ 2581 w 10000"/>
                    <a:gd name="connsiteY43" fmla="*/ 8189 h 10170"/>
                    <a:gd name="connsiteX44" fmla="*/ 3488 w 10000"/>
                    <a:gd name="connsiteY44" fmla="*/ 9830 h 10170"/>
                    <a:gd name="connsiteX45" fmla="*/ 3810 w 10000"/>
                    <a:gd name="connsiteY45" fmla="*/ 10170 h 10170"/>
                    <a:gd name="connsiteX46" fmla="*/ 4375 w 10000"/>
                    <a:gd name="connsiteY46" fmla="*/ 9755 h 10170"/>
                    <a:gd name="connsiteX47" fmla="*/ 4254 w 10000"/>
                    <a:gd name="connsiteY47" fmla="*/ 9528 h 10170"/>
                    <a:gd name="connsiteX48" fmla="*/ 4456 w 10000"/>
                    <a:gd name="connsiteY48" fmla="*/ 9340 h 10170"/>
                    <a:gd name="connsiteX49" fmla="*/ 4456 w 10000"/>
                    <a:gd name="connsiteY49" fmla="*/ 9019 h 10170"/>
                    <a:gd name="connsiteX50" fmla="*/ 4375 w 10000"/>
                    <a:gd name="connsiteY50" fmla="*/ 8906 h 10170"/>
                    <a:gd name="connsiteX51" fmla="*/ 4718 w 10000"/>
                    <a:gd name="connsiteY51" fmla="*/ 8264 h 10170"/>
                    <a:gd name="connsiteX52" fmla="*/ 4597 w 10000"/>
                    <a:gd name="connsiteY52" fmla="*/ 8076 h 10170"/>
                    <a:gd name="connsiteX53" fmla="*/ 4597 w 10000"/>
                    <a:gd name="connsiteY53" fmla="*/ 7340 h 10170"/>
                    <a:gd name="connsiteX54" fmla="*/ 4919 w 10000"/>
                    <a:gd name="connsiteY54" fmla="*/ 7227 h 10170"/>
                    <a:gd name="connsiteX55" fmla="*/ 5806 w 10000"/>
                    <a:gd name="connsiteY55" fmla="*/ 6378 h 10170"/>
                    <a:gd name="connsiteX56" fmla="*/ 5806 w 10000"/>
                    <a:gd name="connsiteY56" fmla="*/ 6076 h 10170"/>
                    <a:gd name="connsiteX57" fmla="*/ 6714 w 10000"/>
                    <a:gd name="connsiteY57" fmla="*/ 5661 h 10170"/>
                    <a:gd name="connsiteX58" fmla="*/ 6593 w 10000"/>
                    <a:gd name="connsiteY58" fmla="*/ 5434 h 10170"/>
                    <a:gd name="connsiteX59" fmla="*/ 6956 w 10000"/>
                    <a:gd name="connsiteY59" fmla="*/ 5227 h 10170"/>
                    <a:gd name="connsiteX60" fmla="*/ 7500 w 10000"/>
                    <a:gd name="connsiteY60" fmla="*/ 5227 h 10170"/>
                    <a:gd name="connsiteX61" fmla="*/ 7379 w 10000"/>
                    <a:gd name="connsiteY61" fmla="*/ 4585 h 10170"/>
                    <a:gd name="connsiteX62" fmla="*/ 6956 w 10000"/>
                    <a:gd name="connsiteY62" fmla="*/ 4396 h 10170"/>
                    <a:gd name="connsiteX63" fmla="*/ 7157 w 10000"/>
                    <a:gd name="connsiteY63" fmla="*/ 4038 h 10170"/>
                    <a:gd name="connsiteX64" fmla="*/ 6956 w 10000"/>
                    <a:gd name="connsiteY64" fmla="*/ 3849 h 10170"/>
                    <a:gd name="connsiteX65" fmla="*/ 7036 w 10000"/>
                    <a:gd name="connsiteY65" fmla="*/ 3661 h 10170"/>
                    <a:gd name="connsiteX66" fmla="*/ 7379 w 10000"/>
                    <a:gd name="connsiteY66" fmla="*/ 3661 h 10170"/>
                    <a:gd name="connsiteX67" fmla="*/ 7621 w 10000"/>
                    <a:gd name="connsiteY67" fmla="*/ 4038 h 10170"/>
                    <a:gd name="connsiteX68" fmla="*/ 8387 w 10000"/>
                    <a:gd name="connsiteY68" fmla="*/ 4038 h 10170"/>
                    <a:gd name="connsiteX69" fmla="*/ 8185 w 10000"/>
                    <a:gd name="connsiteY69" fmla="*/ 4585 h 10170"/>
                    <a:gd name="connsiteX70" fmla="*/ 8387 w 10000"/>
                    <a:gd name="connsiteY70" fmla="*/ 4698 h 10170"/>
                    <a:gd name="connsiteX71" fmla="*/ 8508 w 10000"/>
                    <a:gd name="connsiteY71" fmla="*/ 4585 h 10170"/>
                    <a:gd name="connsiteX72" fmla="*/ 8730 w 10000"/>
                    <a:gd name="connsiteY72" fmla="*/ 5113 h 10170"/>
                    <a:gd name="connsiteX73" fmla="*/ 8972 w 10000"/>
                    <a:gd name="connsiteY73" fmla="*/ 4396 h 10170"/>
                    <a:gd name="connsiteX74" fmla="*/ 9294 w 10000"/>
                    <a:gd name="connsiteY74" fmla="*/ 4283 h 10170"/>
                    <a:gd name="connsiteX75" fmla="*/ 9415 w 10000"/>
                    <a:gd name="connsiteY75" fmla="*/ 3434 h 10170"/>
                    <a:gd name="connsiteX76" fmla="*/ 9738 w 10000"/>
                    <a:gd name="connsiteY76" fmla="*/ 3208 h 10170"/>
                    <a:gd name="connsiteX77" fmla="*/ 10000 w 10000"/>
                    <a:gd name="connsiteY77" fmla="*/ 2774 h 10170"/>
                    <a:gd name="connsiteX78" fmla="*/ 9617 w 10000"/>
                    <a:gd name="connsiteY78" fmla="*/ 2698 h 10170"/>
                    <a:gd name="connsiteX79" fmla="*/ 9294 w 10000"/>
                    <a:gd name="connsiteY79" fmla="*/ 2396 h 10170"/>
                    <a:gd name="connsiteX80" fmla="*/ 8065 w 10000"/>
                    <a:gd name="connsiteY80" fmla="*/ 3019 h 10170"/>
                    <a:gd name="connsiteX81" fmla="*/ 7823 w 10000"/>
                    <a:gd name="connsiteY81" fmla="*/ 3434 h 10170"/>
                    <a:gd name="connsiteX82" fmla="*/ 7621 w 10000"/>
                    <a:gd name="connsiteY82" fmla="*/ 3547 h 10170"/>
                    <a:gd name="connsiteX83" fmla="*/ 7500 w 10000"/>
                    <a:gd name="connsiteY83" fmla="*/ 3321 h 10170"/>
                    <a:gd name="connsiteX84" fmla="*/ 7036 w 10000"/>
                    <a:gd name="connsiteY84" fmla="*/ 3208 h 10170"/>
                    <a:gd name="connsiteX85" fmla="*/ 7157 w 10000"/>
                    <a:gd name="connsiteY85" fmla="*/ 3019 h 10170"/>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363 w 10000"/>
                    <a:gd name="connsiteY22" fmla="*/ 603 h 10382"/>
                    <a:gd name="connsiteX23" fmla="*/ 1194 w 10000"/>
                    <a:gd name="connsiteY23" fmla="*/ 883 h 10382"/>
                    <a:gd name="connsiteX24" fmla="*/ 1351 w 10000"/>
                    <a:gd name="connsiteY24" fmla="*/ 1231 h 10382"/>
                    <a:gd name="connsiteX25" fmla="*/ 1895 w 10000"/>
                    <a:gd name="connsiteY25" fmla="*/ 1646 h 10382"/>
                    <a:gd name="connsiteX26" fmla="*/ 1673 w 10000"/>
                    <a:gd name="connsiteY26" fmla="*/ 1835 h 10382"/>
                    <a:gd name="connsiteX27" fmla="*/ 1673 w 10000"/>
                    <a:gd name="connsiteY27" fmla="*/ 2156 h 10382"/>
                    <a:gd name="connsiteX28" fmla="*/ 907 w 10000"/>
                    <a:gd name="connsiteY28" fmla="*/ 3231 h 10382"/>
                    <a:gd name="connsiteX29" fmla="*/ 323 w 10000"/>
                    <a:gd name="connsiteY29" fmla="*/ 3420 h 10382"/>
                    <a:gd name="connsiteX30" fmla="*/ 1028 w 10000"/>
                    <a:gd name="connsiteY30" fmla="*/ 4250 h 10382"/>
                    <a:gd name="connsiteX31" fmla="*/ 786 w 10000"/>
                    <a:gd name="connsiteY31" fmla="*/ 4495 h 10382"/>
                    <a:gd name="connsiteX32" fmla="*/ 0 w 10000"/>
                    <a:gd name="connsiteY32" fmla="*/ 4684 h 10382"/>
                    <a:gd name="connsiteX33" fmla="*/ 202 w 10000"/>
                    <a:gd name="connsiteY33" fmla="*/ 5024 h 10382"/>
                    <a:gd name="connsiteX34" fmla="*/ 665 w 10000"/>
                    <a:gd name="connsiteY34" fmla="*/ 5024 h 10382"/>
                    <a:gd name="connsiteX35" fmla="*/ 323 w 10000"/>
                    <a:gd name="connsiteY35" fmla="*/ 5212 h 10382"/>
                    <a:gd name="connsiteX36" fmla="*/ 786 w 10000"/>
                    <a:gd name="connsiteY36" fmla="*/ 5759 h 10382"/>
                    <a:gd name="connsiteX37" fmla="*/ 1109 w 10000"/>
                    <a:gd name="connsiteY37" fmla="*/ 5514 h 10382"/>
                    <a:gd name="connsiteX38" fmla="*/ 1431 w 10000"/>
                    <a:gd name="connsiteY38" fmla="*/ 5137 h 10382"/>
                    <a:gd name="connsiteX39" fmla="*/ 1552 w 10000"/>
                    <a:gd name="connsiteY39" fmla="*/ 5439 h 10382"/>
                    <a:gd name="connsiteX40" fmla="*/ 1794 w 10000"/>
                    <a:gd name="connsiteY40" fmla="*/ 5514 h 10382"/>
                    <a:gd name="connsiteX41" fmla="*/ 1794 w 10000"/>
                    <a:gd name="connsiteY41" fmla="*/ 7024 h 10382"/>
                    <a:gd name="connsiteX42" fmla="*/ 2339 w 10000"/>
                    <a:gd name="connsiteY42" fmla="*/ 7854 h 10382"/>
                    <a:gd name="connsiteX43" fmla="*/ 2581 w 10000"/>
                    <a:gd name="connsiteY43" fmla="*/ 8401 h 10382"/>
                    <a:gd name="connsiteX44" fmla="*/ 3488 w 10000"/>
                    <a:gd name="connsiteY44" fmla="*/ 10042 h 10382"/>
                    <a:gd name="connsiteX45" fmla="*/ 3810 w 10000"/>
                    <a:gd name="connsiteY45" fmla="*/ 10382 h 10382"/>
                    <a:gd name="connsiteX46" fmla="*/ 4375 w 10000"/>
                    <a:gd name="connsiteY46" fmla="*/ 9967 h 10382"/>
                    <a:gd name="connsiteX47" fmla="*/ 4254 w 10000"/>
                    <a:gd name="connsiteY47" fmla="*/ 9740 h 10382"/>
                    <a:gd name="connsiteX48" fmla="*/ 4456 w 10000"/>
                    <a:gd name="connsiteY48" fmla="*/ 9552 h 10382"/>
                    <a:gd name="connsiteX49" fmla="*/ 4456 w 10000"/>
                    <a:gd name="connsiteY49" fmla="*/ 9231 h 10382"/>
                    <a:gd name="connsiteX50" fmla="*/ 4375 w 10000"/>
                    <a:gd name="connsiteY50" fmla="*/ 9118 h 10382"/>
                    <a:gd name="connsiteX51" fmla="*/ 4718 w 10000"/>
                    <a:gd name="connsiteY51" fmla="*/ 8476 h 10382"/>
                    <a:gd name="connsiteX52" fmla="*/ 4597 w 10000"/>
                    <a:gd name="connsiteY52" fmla="*/ 8288 h 10382"/>
                    <a:gd name="connsiteX53" fmla="*/ 4597 w 10000"/>
                    <a:gd name="connsiteY53" fmla="*/ 7552 h 10382"/>
                    <a:gd name="connsiteX54" fmla="*/ 4919 w 10000"/>
                    <a:gd name="connsiteY54" fmla="*/ 7439 h 10382"/>
                    <a:gd name="connsiteX55" fmla="*/ 5806 w 10000"/>
                    <a:gd name="connsiteY55" fmla="*/ 6590 h 10382"/>
                    <a:gd name="connsiteX56" fmla="*/ 5806 w 10000"/>
                    <a:gd name="connsiteY56" fmla="*/ 6288 h 10382"/>
                    <a:gd name="connsiteX57" fmla="*/ 6714 w 10000"/>
                    <a:gd name="connsiteY57" fmla="*/ 5873 h 10382"/>
                    <a:gd name="connsiteX58" fmla="*/ 6593 w 10000"/>
                    <a:gd name="connsiteY58" fmla="*/ 5646 h 10382"/>
                    <a:gd name="connsiteX59" fmla="*/ 6956 w 10000"/>
                    <a:gd name="connsiteY59" fmla="*/ 5439 h 10382"/>
                    <a:gd name="connsiteX60" fmla="*/ 7500 w 10000"/>
                    <a:gd name="connsiteY60" fmla="*/ 5439 h 10382"/>
                    <a:gd name="connsiteX61" fmla="*/ 7379 w 10000"/>
                    <a:gd name="connsiteY61" fmla="*/ 4797 h 10382"/>
                    <a:gd name="connsiteX62" fmla="*/ 6956 w 10000"/>
                    <a:gd name="connsiteY62" fmla="*/ 4608 h 10382"/>
                    <a:gd name="connsiteX63" fmla="*/ 7157 w 10000"/>
                    <a:gd name="connsiteY63" fmla="*/ 4250 h 10382"/>
                    <a:gd name="connsiteX64" fmla="*/ 6956 w 10000"/>
                    <a:gd name="connsiteY64" fmla="*/ 4061 h 10382"/>
                    <a:gd name="connsiteX65" fmla="*/ 7036 w 10000"/>
                    <a:gd name="connsiteY65" fmla="*/ 3873 h 10382"/>
                    <a:gd name="connsiteX66" fmla="*/ 7379 w 10000"/>
                    <a:gd name="connsiteY66" fmla="*/ 3873 h 10382"/>
                    <a:gd name="connsiteX67" fmla="*/ 7621 w 10000"/>
                    <a:gd name="connsiteY67" fmla="*/ 4250 h 10382"/>
                    <a:gd name="connsiteX68" fmla="*/ 8387 w 10000"/>
                    <a:gd name="connsiteY68" fmla="*/ 4250 h 10382"/>
                    <a:gd name="connsiteX69" fmla="*/ 8185 w 10000"/>
                    <a:gd name="connsiteY69" fmla="*/ 4797 h 10382"/>
                    <a:gd name="connsiteX70" fmla="*/ 8387 w 10000"/>
                    <a:gd name="connsiteY70" fmla="*/ 4910 h 10382"/>
                    <a:gd name="connsiteX71" fmla="*/ 8508 w 10000"/>
                    <a:gd name="connsiteY71" fmla="*/ 4797 h 10382"/>
                    <a:gd name="connsiteX72" fmla="*/ 8730 w 10000"/>
                    <a:gd name="connsiteY72" fmla="*/ 5325 h 10382"/>
                    <a:gd name="connsiteX73" fmla="*/ 8972 w 10000"/>
                    <a:gd name="connsiteY73" fmla="*/ 4608 h 10382"/>
                    <a:gd name="connsiteX74" fmla="*/ 9294 w 10000"/>
                    <a:gd name="connsiteY74" fmla="*/ 4495 h 10382"/>
                    <a:gd name="connsiteX75" fmla="*/ 9415 w 10000"/>
                    <a:gd name="connsiteY75" fmla="*/ 3646 h 10382"/>
                    <a:gd name="connsiteX76" fmla="*/ 9738 w 10000"/>
                    <a:gd name="connsiteY76" fmla="*/ 3420 h 10382"/>
                    <a:gd name="connsiteX77" fmla="*/ 10000 w 10000"/>
                    <a:gd name="connsiteY77" fmla="*/ 2986 h 10382"/>
                    <a:gd name="connsiteX78" fmla="*/ 9617 w 10000"/>
                    <a:gd name="connsiteY78" fmla="*/ 2910 h 10382"/>
                    <a:gd name="connsiteX79" fmla="*/ 9294 w 10000"/>
                    <a:gd name="connsiteY79" fmla="*/ 2608 h 10382"/>
                    <a:gd name="connsiteX80" fmla="*/ 8065 w 10000"/>
                    <a:gd name="connsiteY80" fmla="*/ 3231 h 10382"/>
                    <a:gd name="connsiteX81" fmla="*/ 7823 w 10000"/>
                    <a:gd name="connsiteY81" fmla="*/ 3646 h 10382"/>
                    <a:gd name="connsiteX82" fmla="*/ 7621 w 10000"/>
                    <a:gd name="connsiteY82" fmla="*/ 3759 h 10382"/>
                    <a:gd name="connsiteX83" fmla="*/ 7500 w 10000"/>
                    <a:gd name="connsiteY83" fmla="*/ 3533 h 10382"/>
                    <a:gd name="connsiteX84" fmla="*/ 7036 w 10000"/>
                    <a:gd name="connsiteY84" fmla="*/ 3420 h 10382"/>
                    <a:gd name="connsiteX85" fmla="*/ 7157 w 10000"/>
                    <a:gd name="connsiteY85"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434 w 10000"/>
                    <a:gd name="connsiteY22" fmla="*/ 290 h 10382"/>
                    <a:gd name="connsiteX23" fmla="*/ 1363 w 10000"/>
                    <a:gd name="connsiteY23" fmla="*/ 603 h 10382"/>
                    <a:gd name="connsiteX24" fmla="*/ 1194 w 10000"/>
                    <a:gd name="connsiteY24" fmla="*/ 883 h 10382"/>
                    <a:gd name="connsiteX25" fmla="*/ 1351 w 10000"/>
                    <a:gd name="connsiteY25" fmla="*/ 1231 h 10382"/>
                    <a:gd name="connsiteX26" fmla="*/ 1895 w 10000"/>
                    <a:gd name="connsiteY26" fmla="*/ 1646 h 10382"/>
                    <a:gd name="connsiteX27" fmla="*/ 1673 w 10000"/>
                    <a:gd name="connsiteY27" fmla="*/ 1835 h 10382"/>
                    <a:gd name="connsiteX28" fmla="*/ 1673 w 10000"/>
                    <a:gd name="connsiteY28" fmla="*/ 2156 h 10382"/>
                    <a:gd name="connsiteX29" fmla="*/ 907 w 10000"/>
                    <a:gd name="connsiteY29" fmla="*/ 3231 h 10382"/>
                    <a:gd name="connsiteX30" fmla="*/ 323 w 10000"/>
                    <a:gd name="connsiteY30" fmla="*/ 3420 h 10382"/>
                    <a:gd name="connsiteX31" fmla="*/ 1028 w 10000"/>
                    <a:gd name="connsiteY31" fmla="*/ 4250 h 10382"/>
                    <a:gd name="connsiteX32" fmla="*/ 786 w 10000"/>
                    <a:gd name="connsiteY32" fmla="*/ 4495 h 10382"/>
                    <a:gd name="connsiteX33" fmla="*/ 0 w 10000"/>
                    <a:gd name="connsiteY33" fmla="*/ 4684 h 10382"/>
                    <a:gd name="connsiteX34" fmla="*/ 202 w 10000"/>
                    <a:gd name="connsiteY34" fmla="*/ 5024 h 10382"/>
                    <a:gd name="connsiteX35" fmla="*/ 665 w 10000"/>
                    <a:gd name="connsiteY35" fmla="*/ 5024 h 10382"/>
                    <a:gd name="connsiteX36" fmla="*/ 323 w 10000"/>
                    <a:gd name="connsiteY36" fmla="*/ 5212 h 10382"/>
                    <a:gd name="connsiteX37" fmla="*/ 786 w 10000"/>
                    <a:gd name="connsiteY37" fmla="*/ 5759 h 10382"/>
                    <a:gd name="connsiteX38" fmla="*/ 1109 w 10000"/>
                    <a:gd name="connsiteY38" fmla="*/ 5514 h 10382"/>
                    <a:gd name="connsiteX39" fmla="*/ 1431 w 10000"/>
                    <a:gd name="connsiteY39" fmla="*/ 5137 h 10382"/>
                    <a:gd name="connsiteX40" fmla="*/ 1552 w 10000"/>
                    <a:gd name="connsiteY40" fmla="*/ 5439 h 10382"/>
                    <a:gd name="connsiteX41" fmla="*/ 1794 w 10000"/>
                    <a:gd name="connsiteY41" fmla="*/ 5514 h 10382"/>
                    <a:gd name="connsiteX42" fmla="*/ 1794 w 10000"/>
                    <a:gd name="connsiteY42" fmla="*/ 7024 h 10382"/>
                    <a:gd name="connsiteX43" fmla="*/ 2339 w 10000"/>
                    <a:gd name="connsiteY43" fmla="*/ 7854 h 10382"/>
                    <a:gd name="connsiteX44" fmla="*/ 2581 w 10000"/>
                    <a:gd name="connsiteY44" fmla="*/ 8401 h 10382"/>
                    <a:gd name="connsiteX45" fmla="*/ 3488 w 10000"/>
                    <a:gd name="connsiteY45" fmla="*/ 10042 h 10382"/>
                    <a:gd name="connsiteX46" fmla="*/ 3810 w 10000"/>
                    <a:gd name="connsiteY46" fmla="*/ 10382 h 10382"/>
                    <a:gd name="connsiteX47" fmla="*/ 4375 w 10000"/>
                    <a:gd name="connsiteY47" fmla="*/ 9967 h 10382"/>
                    <a:gd name="connsiteX48" fmla="*/ 4254 w 10000"/>
                    <a:gd name="connsiteY48" fmla="*/ 9740 h 10382"/>
                    <a:gd name="connsiteX49" fmla="*/ 4456 w 10000"/>
                    <a:gd name="connsiteY49" fmla="*/ 9552 h 10382"/>
                    <a:gd name="connsiteX50" fmla="*/ 4456 w 10000"/>
                    <a:gd name="connsiteY50" fmla="*/ 9231 h 10382"/>
                    <a:gd name="connsiteX51" fmla="*/ 4375 w 10000"/>
                    <a:gd name="connsiteY51" fmla="*/ 9118 h 10382"/>
                    <a:gd name="connsiteX52" fmla="*/ 4718 w 10000"/>
                    <a:gd name="connsiteY52" fmla="*/ 8476 h 10382"/>
                    <a:gd name="connsiteX53" fmla="*/ 4597 w 10000"/>
                    <a:gd name="connsiteY53" fmla="*/ 8288 h 10382"/>
                    <a:gd name="connsiteX54" fmla="*/ 4597 w 10000"/>
                    <a:gd name="connsiteY54" fmla="*/ 7552 h 10382"/>
                    <a:gd name="connsiteX55" fmla="*/ 4919 w 10000"/>
                    <a:gd name="connsiteY55" fmla="*/ 7439 h 10382"/>
                    <a:gd name="connsiteX56" fmla="*/ 5806 w 10000"/>
                    <a:gd name="connsiteY56" fmla="*/ 6590 h 10382"/>
                    <a:gd name="connsiteX57" fmla="*/ 5806 w 10000"/>
                    <a:gd name="connsiteY57" fmla="*/ 6288 h 10382"/>
                    <a:gd name="connsiteX58" fmla="*/ 6714 w 10000"/>
                    <a:gd name="connsiteY58" fmla="*/ 5873 h 10382"/>
                    <a:gd name="connsiteX59" fmla="*/ 6593 w 10000"/>
                    <a:gd name="connsiteY59" fmla="*/ 5646 h 10382"/>
                    <a:gd name="connsiteX60" fmla="*/ 6956 w 10000"/>
                    <a:gd name="connsiteY60" fmla="*/ 5439 h 10382"/>
                    <a:gd name="connsiteX61" fmla="*/ 7500 w 10000"/>
                    <a:gd name="connsiteY61" fmla="*/ 5439 h 10382"/>
                    <a:gd name="connsiteX62" fmla="*/ 7379 w 10000"/>
                    <a:gd name="connsiteY62" fmla="*/ 4797 h 10382"/>
                    <a:gd name="connsiteX63" fmla="*/ 6956 w 10000"/>
                    <a:gd name="connsiteY63" fmla="*/ 4608 h 10382"/>
                    <a:gd name="connsiteX64" fmla="*/ 7157 w 10000"/>
                    <a:gd name="connsiteY64" fmla="*/ 4250 h 10382"/>
                    <a:gd name="connsiteX65" fmla="*/ 6956 w 10000"/>
                    <a:gd name="connsiteY65" fmla="*/ 4061 h 10382"/>
                    <a:gd name="connsiteX66" fmla="*/ 7036 w 10000"/>
                    <a:gd name="connsiteY66" fmla="*/ 3873 h 10382"/>
                    <a:gd name="connsiteX67" fmla="*/ 7379 w 10000"/>
                    <a:gd name="connsiteY67" fmla="*/ 3873 h 10382"/>
                    <a:gd name="connsiteX68" fmla="*/ 7621 w 10000"/>
                    <a:gd name="connsiteY68" fmla="*/ 4250 h 10382"/>
                    <a:gd name="connsiteX69" fmla="*/ 8387 w 10000"/>
                    <a:gd name="connsiteY69" fmla="*/ 4250 h 10382"/>
                    <a:gd name="connsiteX70" fmla="*/ 8185 w 10000"/>
                    <a:gd name="connsiteY70" fmla="*/ 4797 h 10382"/>
                    <a:gd name="connsiteX71" fmla="*/ 8387 w 10000"/>
                    <a:gd name="connsiteY71" fmla="*/ 4910 h 10382"/>
                    <a:gd name="connsiteX72" fmla="*/ 8508 w 10000"/>
                    <a:gd name="connsiteY72" fmla="*/ 4797 h 10382"/>
                    <a:gd name="connsiteX73" fmla="*/ 8730 w 10000"/>
                    <a:gd name="connsiteY73" fmla="*/ 5325 h 10382"/>
                    <a:gd name="connsiteX74" fmla="*/ 8972 w 10000"/>
                    <a:gd name="connsiteY74" fmla="*/ 4608 h 10382"/>
                    <a:gd name="connsiteX75" fmla="*/ 9294 w 10000"/>
                    <a:gd name="connsiteY75" fmla="*/ 4495 h 10382"/>
                    <a:gd name="connsiteX76" fmla="*/ 9415 w 10000"/>
                    <a:gd name="connsiteY76" fmla="*/ 3646 h 10382"/>
                    <a:gd name="connsiteX77" fmla="*/ 9738 w 10000"/>
                    <a:gd name="connsiteY77" fmla="*/ 3420 h 10382"/>
                    <a:gd name="connsiteX78" fmla="*/ 10000 w 10000"/>
                    <a:gd name="connsiteY78" fmla="*/ 2986 h 10382"/>
                    <a:gd name="connsiteX79" fmla="*/ 9617 w 10000"/>
                    <a:gd name="connsiteY79" fmla="*/ 2910 h 10382"/>
                    <a:gd name="connsiteX80" fmla="*/ 9294 w 10000"/>
                    <a:gd name="connsiteY80" fmla="*/ 2608 h 10382"/>
                    <a:gd name="connsiteX81" fmla="*/ 8065 w 10000"/>
                    <a:gd name="connsiteY81" fmla="*/ 3231 h 10382"/>
                    <a:gd name="connsiteX82" fmla="*/ 7823 w 10000"/>
                    <a:gd name="connsiteY82" fmla="*/ 3646 h 10382"/>
                    <a:gd name="connsiteX83" fmla="*/ 7621 w 10000"/>
                    <a:gd name="connsiteY83" fmla="*/ 3759 h 10382"/>
                    <a:gd name="connsiteX84" fmla="*/ 7500 w 10000"/>
                    <a:gd name="connsiteY84" fmla="*/ 3533 h 10382"/>
                    <a:gd name="connsiteX85" fmla="*/ 7036 w 10000"/>
                    <a:gd name="connsiteY85" fmla="*/ 3420 h 10382"/>
                    <a:gd name="connsiteX86" fmla="*/ 7157 w 10000"/>
                    <a:gd name="connsiteY86"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363 w 10000"/>
                    <a:gd name="connsiteY23" fmla="*/ 603 h 10382"/>
                    <a:gd name="connsiteX24" fmla="*/ 1194 w 10000"/>
                    <a:gd name="connsiteY24" fmla="*/ 883 h 10382"/>
                    <a:gd name="connsiteX25" fmla="*/ 1351 w 10000"/>
                    <a:gd name="connsiteY25" fmla="*/ 1231 h 10382"/>
                    <a:gd name="connsiteX26" fmla="*/ 1895 w 10000"/>
                    <a:gd name="connsiteY26" fmla="*/ 1646 h 10382"/>
                    <a:gd name="connsiteX27" fmla="*/ 1673 w 10000"/>
                    <a:gd name="connsiteY27" fmla="*/ 1835 h 10382"/>
                    <a:gd name="connsiteX28" fmla="*/ 1673 w 10000"/>
                    <a:gd name="connsiteY28" fmla="*/ 2156 h 10382"/>
                    <a:gd name="connsiteX29" fmla="*/ 907 w 10000"/>
                    <a:gd name="connsiteY29" fmla="*/ 3231 h 10382"/>
                    <a:gd name="connsiteX30" fmla="*/ 323 w 10000"/>
                    <a:gd name="connsiteY30" fmla="*/ 3420 h 10382"/>
                    <a:gd name="connsiteX31" fmla="*/ 1028 w 10000"/>
                    <a:gd name="connsiteY31" fmla="*/ 4250 h 10382"/>
                    <a:gd name="connsiteX32" fmla="*/ 786 w 10000"/>
                    <a:gd name="connsiteY32" fmla="*/ 4495 h 10382"/>
                    <a:gd name="connsiteX33" fmla="*/ 0 w 10000"/>
                    <a:gd name="connsiteY33" fmla="*/ 4684 h 10382"/>
                    <a:gd name="connsiteX34" fmla="*/ 202 w 10000"/>
                    <a:gd name="connsiteY34" fmla="*/ 5024 h 10382"/>
                    <a:gd name="connsiteX35" fmla="*/ 665 w 10000"/>
                    <a:gd name="connsiteY35" fmla="*/ 5024 h 10382"/>
                    <a:gd name="connsiteX36" fmla="*/ 323 w 10000"/>
                    <a:gd name="connsiteY36" fmla="*/ 5212 h 10382"/>
                    <a:gd name="connsiteX37" fmla="*/ 786 w 10000"/>
                    <a:gd name="connsiteY37" fmla="*/ 5759 h 10382"/>
                    <a:gd name="connsiteX38" fmla="*/ 1109 w 10000"/>
                    <a:gd name="connsiteY38" fmla="*/ 5514 h 10382"/>
                    <a:gd name="connsiteX39" fmla="*/ 1431 w 10000"/>
                    <a:gd name="connsiteY39" fmla="*/ 5137 h 10382"/>
                    <a:gd name="connsiteX40" fmla="*/ 1552 w 10000"/>
                    <a:gd name="connsiteY40" fmla="*/ 5439 h 10382"/>
                    <a:gd name="connsiteX41" fmla="*/ 1794 w 10000"/>
                    <a:gd name="connsiteY41" fmla="*/ 5514 h 10382"/>
                    <a:gd name="connsiteX42" fmla="*/ 1794 w 10000"/>
                    <a:gd name="connsiteY42" fmla="*/ 7024 h 10382"/>
                    <a:gd name="connsiteX43" fmla="*/ 2339 w 10000"/>
                    <a:gd name="connsiteY43" fmla="*/ 7854 h 10382"/>
                    <a:gd name="connsiteX44" fmla="*/ 2581 w 10000"/>
                    <a:gd name="connsiteY44" fmla="*/ 8401 h 10382"/>
                    <a:gd name="connsiteX45" fmla="*/ 3488 w 10000"/>
                    <a:gd name="connsiteY45" fmla="*/ 10042 h 10382"/>
                    <a:gd name="connsiteX46" fmla="*/ 3810 w 10000"/>
                    <a:gd name="connsiteY46" fmla="*/ 10382 h 10382"/>
                    <a:gd name="connsiteX47" fmla="*/ 4375 w 10000"/>
                    <a:gd name="connsiteY47" fmla="*/ 9967 h 10382"/>
                    <a:gd name="connsiteX48" fmla="*/ 4254 w 10000"/>
                    <a:gd name="connsiteY48" fmla="*/ 9740 h 10382"/>
                    <a:gd name="connsiteX49" fmla="*/ 4456 w 10000"/>
                    <a:gd name="connsiteY49" fmla="*/ 9552 h 10382"/>
                    <a:gd name="connsiteX50" fmla="*/ 4456 w 10000"/>
                    <a:gd name="connsiteY50" fmla="*/ 9231 h 10382"/>
                    <a:gd name="connsiteX51" fmla="*/ 4375 w 10000"/>
                    <a:gd name="connsiteY51" fmla="*/ 9118 h 10382"/>
                    <a:gd name="connsiteX52" fmla="*/ 4718 w 10000"/>
                    <a:gd name="connsiteY52" fmla="*/ 8476 h 10382"/>
                    <a:gd name="connsiteX53" fmla="*/ 4597 w 10000"/>
                    <a:gd name="connsiteY53" fmla="*/ 8288 h 10382"/>
                    <a:gd name="connsiteX54" fmla="*/ 4597 w 10000"/>
                    <a:gd name="connsiteY54" fmla="*/ 7552 h 10382"/>
                    <a:gd name="connsiteX55" fmla="*/ 4919 w 10000"/>
                    <a:gd name="connsiteY55" fmla="*/ 7439 h 10382"/>
                    <a:gd name="connsiteX56" fmla="*/ 5806 w 10000"/>
                    <a:gd name="connsiteY56" fmla="*/ 6590 h 10382"/>
                    <a:gd name="connsiteX57" fmla="*/ 5806 w 10000"/>
                    <a:gd name="connsiteY57" fmla="*/ 6288 h 10382"/>
                    <a:gd name="connsiteX58" fmla="*/ 6714 w 10000"/>
                    <a:gd name="connsiteY58" fmla="*/ 5873 h 10382"/>
                    <a:gd name="connsiteX59" fmla="*/ 6593 w 10000"/>
                    <a:gd name="connsiteY59" fmla="*/ 5646 h 10382"/>
                    <a:gd name="connsiteX60" fmla="*/ 6956 w 10000"/>
                    <a:gd name="connsiteY60" fmla="*/ 5439 h 10382"/>
                    <a:gd name="connsiteX61" fmla="*/ 7500 w 10000"/>
                    <a:gd name="connsiteY61" fmla="*/ 5439 h 10382"/>
                    <a:gd name="connsiteX62" fmla="*/ 7379 w 10000"/>
                    <a:gd name="connsiteY62" fmla="*/ 4797 h 10382"/>
                    <a:gd name="connsiteX63" fmla="*/ 6956 w 10000"/>
                    <a:gd name="connsiteY63" fmla="*/ 4608 h 10382"/>
                    <a:gd name="connsiteX64" fmla="*/ 7157 w 10000"/>
                    <a:gd name="connsiteY64" fmla="*/ 4250 h 10382"/>
                    <a:gd name="connsiteX65" fmla="*/ 6956 w 10000"/>
                    <a:gd name="connsiteY65" fmla="*/ 4061 h 10382"/>
                    <a:gd name="connsiteX66" fmla="*/ 7036 w 10000"/>
                    <a:gd name="connsiteY66" fmla="*/ 3873 h 10382"/>
                    <a:gd name="connsiteX67" fmla="*/ 7379 w 10000"/>
                    <a:gd name="connsiteY67" fmla="*/ 3873 h 10382"/>
                    <a:gd name="connsiteX68" fmla="*/ 7621 w 10000"/>
                    <a:gd name="connsiteY68" fmla="*/ 4250 h 10382"/>
                    <a:gd name="connsiteX69" fmla="*/ 8387 w 10000"/>
                    <a:gd name="connsiteY69" fmla="*/ 4250 h 10382"/>
                    <a:gd name="connsiteX70" fmla="*/ 8185 w 10000"/>
                    <a:gd name="connsiteY70" fmla="*/ 4797 h 10382"/>
                    <a:gd name="connsiteX71" fmla="*/ 8387 w 10000"/>
                    <a:gd name="connsiteY71" fmla="*/ 4910 h 10382"/>
                    <a:gd name="connsiteX72" fmla="*/ 8508 w 10000"/>
                    <a:gd name="connsiteY72" fmla="*/ 4797 h 10382"/>
                    <a:gd name="connsiteX73" fmla="*/ 8730 w 10000"/>
                    <a:gd name="connsiteY73" fmla="*/ 5325 h 10382"/>
                    <a:gd name="connsiteX74" fmla="*/ 8972 w 10000"/>
                    <a:gd name="connsiteY74" fmla="*/ 4608 h 10382"/>
                    <a:gd name="connsiteX75" fmla="*/ 9294 w 10000"/>
                    <a:gd name="connsiteY75" fmla="*/ 4495 h 10382"/>
                    <a:gd name="connsiteX76" fmla="*/ 9415 w 10000"/>
                    <a:gd name="connsiteY76" fmla="*/ 3646 h 10382"/>
                    <a:gd name="connsiteX77" fmla="*/ 9738 w 10000"/>
                    <a:gd name="connsiteY77" fmla="*/ 3420 h 10382"/>
                    <a:gd name="connsiteX78" fmla="*/ 10000 w 10000"/>
                    <a:gd name="connsiteY78" fmla="*/ 2986 h 10382"/>
                    <a:gd name="connsiteX79" fmla="*/ 9617 w 10000"/>
                    <a:gd name="connsiteY79" fmla="*/ 2910 h 10382"/>
                    <a:gd name="connsiteX80" fmla="*/ 9294 w 10000"/>
                    <a:gd name="connsiteY80" fmla="*/ 2608 h 10382"/>
                    <a:gd name="connsiteX81" fmla="*/ 8065 w 10000"/>
                    <a:gd name="connsiteY81" fmla="*/ 3231 h 10382"/>
                    <a:gd name="connsiteX82" fmla="*/ 7823 w 10000"/>
                    <a:gd name="connsiteY82" fmla="*/ 3646 h 10382"/>
                    <a:gd name="connsiteX83" fmla="*/ 7621 w 10000"/>
                    <a:gd name="connsiteY83" fmla="*/ 3759 h 10382"/>
                    <a:gd name="connsiteX84" fmla="*/ 7500 w 10000"/>
                    <a:gd name="connsiteY84" fmla="*/ 3533 h 10382"/>
                    <a:gd name="connsiteX85" fmla="*/ 7036 w 10000"/>
                    <a:gd name="connsiteY85" fmla="*/ 3420 h 10382"/>
                    <a:gd name="connsiteX86" fmla="*/ 7157 w 10000"/>
                    <a:gd name="connsiteY86"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363 w 10000"/>
                    <a:gd name="connsiteY23" fmla="*/ 603 h 10382"/>
                    <a:gd name="connsiteX24" fmla="*/ 1194 w 10000"/>
                    <a:gd name="connsiteY24" fmla="*/ 883 h 10382"/>
                    <a:gd name="connsiteX25" fmla="*/ 1351 w 10000"/>
                    <a:gd name="connsiteY25" fmla="*/ 1231 h 10382"/>
                    <a:gd name="connsiteX26" fmla="*/ 1895 w 10000"/>
                    <a:gd name="connsiteY26" fmla="*/ 1646 h 10382"/>
                    <a:gd name="connsiteX27" fmla="*/ 1673 w 10000"/>
                    <a:gd name="connsiteY27" fmla="*/ 1835 h 10382"/>
                    <a:gd name="connsiteX28" fmla="*/ 1673 w 10000"/>
                    <a:gd name="connsiteY28" fmla="*/ 2156 h 10382"/>
                    <a:gd name="connsiteX29" fmla="*/ 907 w 10000"/>
                    <a:gd name="connsiteY29" fmla="*/ 3231 h 10382"/>
                    <a:gd name="connsiteX30" fmla="*/ 323 w 10000"/>
                    <a:gd name="connsiteY30" fmla="*/ 3420 h 10382"/>
                    <a:gd name="connsiteX31" fmla="*/ 1028 w 10000"/>
                    <a:gd name="connsiteY31" fmla="*/ 4250 h 10382"/>
                    <a:gd name="connsiteX32" fmla="*/ 786 w 10000"/>
                    <a:gd name="connsiteY32" fmla="*/ 4495 h 10382"/>
                    <a:gd name="connsiteX33" fmla="*/ 0 w 10000"/>
                    <a:gd name="connsiteY33" fmla="*/ 4684 h 10382"/>
                    <a:gd name="connsiteX34" fmla="*/ 202 w 10000"/>
                    <a:gd name="connsiteY34" fmla="*/ 5024 h 10382"/>
                    <a:gd name="connsiteX35" fmla="*/ 665 w 10000"/>
                    <a:gd name="connsiteY35" fmla="*/ 5024 h 10382"/>
                    <a:gd name="connsiteX36" fmla="*/ 323 w 10000"/>
                    <a:gd name="connsiteY36" fmla="*/ 5212 h 10382"/>
                    <a:gd name="connsiteX37" fmla="*/ 786 w 10000"/>
                    <a:gd name="connsiteY37" fmla="*/ 5759 h 10382"/>
                    <a:gd name="connsiteX38" fmla="*/ 1109 w 10000"/>
                    <a:gd name="connsiteY38" fmla="*/ 5514 h 10382"/>
                    <a:gd name="connsiteX39" fmla="*/ 1431 w 10000"/>
                    <a:gd name="connsiteY39" fmla="*/ 5137 h 10382"/>
                    <a:gd name="connsiteX40" fmla="*/ 1552 w 10000"/>
                    <a:gd name="connsiteY40" fmla="*/ 5439 h 10382"/>
                    <a:gd name="connsiteX41" fmla="*/ 1794 w 10000"/>
                    <a:gd name="connsiteY41" fmla="*/ 5514 h 10382"/>
                    <a:gd name="connsiteX42" fmla="*/ 1794 w 10000"/>
                    <a:gd name="connsiteY42" fmla="*/ 7024 h 10382"/>
                    <a:gd name="connsiteX43" fmla="*/ 2339 w 10000"/>
                    <a:gd name="connsiteY43" fmla="*/ 7854 h 10382"/>
                    <a:gd name="connsiteX44" fmla="*/ 2581 w 10000"/>
                    <a:gd name="connsiteY44" fmla="*/ 8401 h 10382"/>
                    <a:gd name="connsiteX45" fmla="*/ 3488 w 10000"/>
                    <a:gd name="connsiteY45" fmla="*/ 10042 h 10382"/>
                    <a:gd name="connsiteX46" fmla="*/ 3810 w 10000"/>
                    <a:gd name="connsiteY46" fmla="*/ 10382 h 10382"/>
                    <a:gd name="connsiteX47" fmla="*/ 4375 w 10000"/>
                    <a:gd name="connsiteY47" fmla="*/ 9967 h 10382"/>
                    <a:gd name="connsiteX48" fmla="*/ 4254 w 10000"/>
                    <a:gd name="connsiteY48" fmla="*/ 9740 h 10382"/>
                    <a:gd name="connsiteX49" fmla="*/ 4456 w 10000"/>
                    <a:gd name="connsiteY49" fmla="*/ 9552 h 10382"/>
                    <a:gd name="connsiteX50" fmla="*/ 4456 w 10000"/>
                    <a:gd name="connsiteY50" fmla="*/ 9231 h 10382"/>
                    <a:gd name="connsiteX51" fmla="*/ 4375 w 10000"/>
                    <a:gd name="connsiteY51" fmla="*/ 9118 h 10382"/>
                    <a:gd name="connsiteX52" fmla="*/ 4718 w 10000"/>
                    <a:gd name="connsiteY52" fmla="*/ 8476 h 10382"/>
                    <a:gd name="connsiteX53" fmla="*/ 4597 w 10000"/>
                    <a:gd name="connsiteY53" fmla="*/ 8288 h 10382"/>
                    <a:gd name="connsiteX54" fmla="*/ 4597 w 10000"/>
                    <a:gd name="connsiteY54" fmla="*/ 7552 h 10382"/>
                    <a:gd name="connsiteX55" fmla="*/ 4919 w 10000"/>
                    <a:gd name="connsiteY55" fmla="*/ 7439 h 10382"/>
                    <a:gd name="connsiteX56" fmla="*/ 5806 w 10000"/>
                    <a:gd name="connsiteY56" fmla="*/ 6590 h 10382"/>
                    <a:gd name="connsiteX57" fmla="*/ 5806 w 10000"/>
                    <a:gd name="connsiteY57" fmla="*/ 6288 h 10382"/>
                    <a:gd name="connsiteX58" fmla="*/ 6714 w 10000"/>
                    <a:gd name="connsiteY58" fmla="*/ 5873 h 10382"/>
                    <a:gd name="connsiteX59" fmla="*/ 6593 w 10000"/>
                    <a:gd name="connsiteY59" fmla="*/ 5646 h 10382"/>
                    <a:gd name="connsiteX60" fmla="*/ 6956 w 10000"/>
                    <a:gd name="connsiteY60" fmla="*/ 5439 h 10382"/>
                    <a:gd name="connsiteX61" fmla="*/ 7500 w 10000"/>
                    <a:gd name="connsiteY61" fmla="*/ 5439 h 10382"/>
                    <a:gd name="connsiteX62" fmla="*/ 7379 w 10000"/>
                    <a:gd name="connsiteY62" fmla="*/ 4797 h 10382"/>
                    <a:gd name="connsiteX63" fmla="*/ 6956 w 10000"/>
                    <a:gd name="connsiteY63" fmla="*/ 4608 h 10382"/>
                    <a:gd name="connsiteX64" fmla="*/ 7157 w 10000"/>
                    <a:gd name="connsiteY64" fmla="*/ 4250 h 10382"/>
                    <a:gd name="connsiteX65" fmla="*/ 6956 w 10000"/>
                    <a:gd name="connsiteY65" fmla="*/ 4061 h 10382"/>
                    <a:gd name="connsiteX66" fmla="*/ 7036 w 10000"/>
                    <a:gd name="connsiteY66" fmla="*/ 3873 h 10382"/>
                    <a:gd name="connsiteX67" fmla="*/ 7379 w 10000"/>
                    <a:gd name="connsiteY67" fmla="*/ 3873 h 10382"/>
                    <a:gd name="connsiteX68" fmla="*/ 7621 w 10000"/>
                    <a:gd name="connsiteY68" fmla="*/ 4250 h 10382"/>
                    <a:gd name="connsiteX69" fmla="*/ 8387 w 10000"/>
                    <a:gd name="connsiteY69" fmla="*/ 4250 h 10382"/>
                    <a:gd name="connsiteX70" fmla="*/ 8185 w 10000"/>
                    <a:gd name="connsiteY70" fmla="*/ 4797 h 10382"/>
                    <a:gd name="connsiteX71" fmla="*/ 8387 w 10000"/>
                    <a:gd name="connsiteY71" fmla="*/ 4910 h 10382"/>
                    <a:gd name="connsiteX72" fmla="*/ 8508 w 10000"/>
                    <a:gd name="connsiteY72" fmla="*/ 4797 h 10382"/>
                    <a:gd name="connsiteX73" fmla="*/ 8730 w 10000"/>
                    <a:gd name="connsiteY73" fmla="*/ 5325 h 10382"/>
                    <a:gd name="connsiteX74" fmla="*/ 8972 w 10000"/>
                    <a:gd name="connsiteY74" fmla="*/ 4608 h 10382"/>
                    <a:gd name="connsiteX75" fmla="*/ 9294 w 10000"/>
                    <a:gd name="connsiteY75" fmla="*/ 4495 h 10382"/>
                    <a:gd name="connsiteX76" fmla="*/ 9415 w 10000"/>
                    <a:gd name="connsiteY76" fmla="*/ 3646 h 10382"/>
                    <a:gd name="connsiteX77" fmla="*/ 9738 w 10000"/>
                    <a:gd name="connsiteY77" fmla="*/ 3420 h 10382"/>
                    <a:gd name="connsiteX78" fmla="*/ 10000 w 10000"/>
                    <a:gd name="connsiteY78" fmla="*/ 2986 h 10382"/>
                    <a:gd name="connsiteX79" fmla="*/ 9617 w 10000"/>
                    <a:gd name="connsiteY79" fmla="*/ 2910 h 10382"/>
                    <a:gd name="connsiteX80" fmla="*/ 9294 w 10000"/>
                    <a:gd name="connsiteY80" fmla="*/ 2608 h 10382"/>
                    <a:gd name="connsiteX81" fmla="*/ 8065 w 10000"/>
                    <a:gd name="connsiteY81" fmla="*/ 3231 h 10382"/>
                    <a:gd name="connsiteX82" fmla="*/ 7823 w 10000"/>
                    <a:gd name="connsiteY82" fmla="*/ 3646 h 10382"/>
                    <a:gd name="connsiteX83" fmla="*/ 7621 w 10000"/>
                    <a:gd name="connsiteY83" fmla="*/ 3759 h 10382"/>
                    <a:gd name="connsiteX84" fmla="*/ 7500 w 10000"/>
                    <a:gd name="connsiteY84" fmla="*/ 3533 h 10382"/>
                    <a:gd name="connsiteX85" fmla="*/ 7036 w 10000"/>
                    <a:gd name="connsiteY85" fmla="*/ 3420 h 10382"/>
                    <a:gd name="connsiteX86" fmla="*/ 7157 w 10000"/>
                    <a:gd name="connsiteY86"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363 w 10000"/>
                    <a:gd name="connsiteY23" fmla="*/ 603 h 10382"/>
                    <a:gd name="connsiteX24" fmla="*/ 1194 w 10000"/>
                    <a:gd name="connsiteY24" fmla="*/ 883 h 10382"/>
                    <a:gd name="connsiteX25" fmla="*/ 1351 w 10000"/>
                    <a:gd name="connsiteY25" fmla="*/ 1231 h 10382"/>
                    <a:gd name="connsiteX26" fmla="*/ 1895 w 10000"/>
                    <a:gd name="connsiteY26" fmla="*/ 1646 h 10382"/>
                    <a:gd name="connsiteX27" fmla="*/ 1673 w 10000"/>
                    <a:gd name="connsiteY27" fmla="*/ 1835 h 10382"/>
                    <a:gd name="connsiteX28" fmla="*/ 1673 w 10000"/>
                    <a:gd name="connsiteY28" fmla="*/ 2156 h 10382"/>
                    <a:gd name="connsiteX29" fmla="*/ 907 w 10000"/>
                    <a:gd name="connsiteY29" fmla="*/ 3231 h 10382"/>
                    <a:gd name="connsiteX30" fmla="*/ 323 w 10000"/>
                    <a:gd name="connsiteY30" fmla="*/ 3420 h 10382"/>
                    <a:gd name="connsiteX31" fmla="*/ 1028 w 10000"/>
                    <a:gd name="connsiteY31" fmla="*/ 4250 h 10382"/>
                    <a:gd name="connsiteX32" fmla="*/ 786 w 10000"/>
                    <a:gd name="connsiteY32" fmla="*/ 4495 h 10382"/>
                    <a:gd name="connsiteX33" fmla="*/ 0 w 10000"/>
                    <a:gd name="connsiteY33" fmla="*/ 4684 h 10382"/>
                    <a:gd name="connsiteX34" fmla="*/ 202 w 10000"/>
                    <a:gd name="connsiteY34" fmla="*/ 5024 h 10382"/>
                    <a:gd name="connsiteX35" fmla="*/ 665 w 10000"/>
                    <a:gd name="connsiteY35" fmla="*/ 5024 h 10382"/>
                    <a:gd name="connsiteX36" fmla="*/ 323 w 10000"/>
                    <a:gd name="connsiteY36" fmla="*/ 5212 h 10382"/>
                    <a:gd name="connsiteX37" fmla="*/ 786 w 10000"/>
                    <a:gd name="connsiteY37" fmla="*/ 5759 h 10382"/>
                    <a:gd name="connsiteX38" fmla="*/ 1109 w 10000"/>
                    <a:gd name="connsiteY38" fmla="*/ 5514 h 10382"/>
                    <a:gd name="connsiteX39" fmla="*/ 1431 w 10000"/>
                    <a:gd name="connsiteY39" fmla="*/ 5137 h 10382"/>
                    <a:gd name="connsiteX40" fmla="*/ 1552 w 10000"/>
                    <a:gd name="connsiteY40" fmla="*/ 5439 h 10382"/>
                    <a:gd name="connsiteX41" fmla="*/ 1794 w 10000"/>
                    <a:gd name="connsiteY41" fmla="*/ 5514 h 10382"/>
                    <a:gd name="connsiteX42" fmla="*/ 1794 w 10000"/>
                    <a:gd name="connsiteY42" fmla="*/ 7024 h 10382"/>
                    <a:gd name="connsiteX43" fmla="*/ 2339 w 10000"/>
                    <a:gd name="connsiteY43" fmla="*/ 7854 h 10382"/>
                    <a:gd name="connsiteX44" fmla="*/ 2581 w 10000"/>
                    <a:gd name="connsiteY44" fmla="*/ 8401 h 10382"/>
                    <a:gd name="connsiteX45" fmla="*/ 3488 w 10000"/>
                    <a:gd name="connsiteY45" fmla="*/ 10042 h 10382"/>
                    <a:gd name="connsiteX46" fmla="*/ 3810 w 10000"/>
                    <a:gd name="connsiteY46" fmla="*/ 10382 h 10382"/>
                    <a:gd name="connsiteX47" fmla="*/ 4375 w 10000"/>
                    <a:gd name="connsiteY47" fmla="*/ 9967 h 10382"/>
                    <a:gd name="connsiteX48" fmla="*/ 4254 w 10000"/>
                    <a:gd name="connsiteY48" fmla="*/ 9740 h 10382"/>
                    <a:gd name="connsiteX49" fmla="*/ 4456 w 10000"/>
                    <a:gd name="connsiteY49" fmla="*/ 9552 h 10382"/>
                    <a:gd name="connsiteX50" fmla="*/ 4456 w 10000"/>
                    <a:gd name="connsiteY50" fmla="*/ 9231 h 10382"/>
                    <a:gd name="connsiteX51" fmla="*/ 4375 w 10000"/>
                    <a:gd name="connsiteY51" fmla="*/ 9118 h 10382"/>
                    <a:gd name="connsiteX52" fmla="*/ 4718 w 10000"/>
                    <a:gd name="connsiteY52" fmla="*/ 8476 h 10382"/>
                    <a:gd name="connsiteX53" fmla="*/ 4597 w 10000"/>
                    <a:gd name="connsiteY53" fmla="*/ 8288 h 10382"/>
                    <a:gd name="connsiteX54" fmla="*/ 4597 w 10000"/>
                    <a:gd name="connsiteY54" fmla="*/ 7552 h 10382"/>
                    <a:gd name="connsiteX55" fmla="*/ 4919 w 10000"/>
                    <a:gd name="connsiteY55" fmla="*/ 7439 h 10382"/>
                    <a:gd name="connsiteX56" fmla="*/ 5806 w 10000"/>
                    <a:gd name="connsiteY56" fmla="*/ 6590 h 10382"/>
                    <a:gd name="connsiteX57" fmla="*/ 5806 w 10000"/>
                    <a:gd name="connsiteY57" fmla="*/ 6288 h 10382"/>
                    <a:gd name="connsiteX58" fmla="*/ 6714 w 10000"/>
                    <a:gd name="connsiteY58" fmla="*/ 5873 h 10382"/>
                    <a:gd name="connsiteX59" fmla="*/ 6593 w 10000"/>
                    <a:gd name="connsiteY59" fmla="*/ 5646 h 10382"/>
                    <a:gd name="connsiteX60" fmla="*/ 6956 w 10000"/>
                    <a:gd name="connsiteY60" fmla="*/ 5439 h 10382"/>
                    <a:gd name="connsiteX61" fmla="*/ 7500 w 10000"/>
                    <a:gd name="connsiteY61" fmla="*/ 5439 h 10382"/>
                    <a:gd name="connsiteX62" fmla="*/ 7379 w 10000"/>
                    <a:gd name="connsiteY62" fmla="*/ 4797 h 10382"/>
                    <a:gd name="connsiteX63" fmla="*/ 6956 w 10000"/>
                    <a:gd name="connsiteY63" fmla="*/ 4608 h 10382"/>
                    <a:gd name="connsiteX64" fmla="*/ 7157 w 10000"/>
                    <a:gd name="connsiteY64" fmla="*/ 4250 h 10382"/>
                    <a:gd name="connsiteX65" fmla="*/ 6956 w 10000"/>
                    <a:gd name="connsiteY65" fmla="*/ 4061 h 10382"/>
                    <a:gd name="connsiteX66" fmla="*/ 7036 w 10000"/>
                    <a:gd name="connsiteY66" fmla="*/ 3873 h 10382"/>
                    <a:gd name="connsiteX67" fmla="*/ 7379 w 10000"/>
                    <a:gd name="connsiteY67" fmla="*/ 3873 h 10382"/>
                    <a:gd name="connsiteX68" fmla="*/ 7621 w 10000"/>
                    <a:gd name="connsiteY68" fmla="*/ 4250 h 10382"/>
                    <a:gd name="connsiteX69" fmla="*/ 8387 w 10000"/>
                    <a:gd name="connsiteY69" fmla="*/ 4250 h 10382"/>
                    <a:gd name="connsiteX70" fmla="*/ 8185 w 10000"/>
                    <a:gd name="connsiteY70" fmla="*/ 4797 h 10382"/>
                    <a:gd name="connsiteX71" fmla="*/ 8387 w 10000"/>
                    <a:gd name="connsiteY71" fmla="*/ 4910 h 10382"/>
                    <a:gd name="connsiteX72" fmla="*/ 8508 w 10000"/>
                    <a:gd name="connsiteY72" fmla="*/ 4797 h 10382"/>
                    <a:gd name="connsiteX73" fmla="*/ 8730 w 10000"/>
                    <a:gd name="connsiteY73" fmla="*/ 5325 h 10382"/>
                    <a:gd name="connsiteX74" fmla="*/ 8972 w 10000"/>
                    <a:gd name="connsiteY74" fmla="*/ 4608 h 10382"/>
                    <a:gd name="connsiteX75" fmla="*/ 9294 w 10000"/>
                    <a:gd name="connsiteY75" fmla="*/ 4495 h 10382"/>
                    <a:gd name="connsiteX76" fmla="*/ 9415 w 10000"/>
                    <a:gd name="connsiteY76" fmla="*/ 3646 h 10382"/>
                    <a:gd name="connsiteX77" fmla="*/ 9738 w 10000"/>
                    <a:gd name="connsiteY77" fmla="*/ 3420 h 10382"/>
                    <a:gd name="connsiteX78" fmla="*/ 10000 w 10000"/>
                    <a:gd name="connsiteY78" fmla="*/ 2986 h 10382"/>
                    <a:gd name="connsiteX79" fmla="*/ 9617 w 10000"/>
                    <a:gd name="connsiteY79" fmla="*/ 2910 h 10382"/>
                    <a:gd name="connsiteX80" fmla="*/ 9294 w 10000"/>
                    <a:gd name="connsiteY80" fmla="*/ 2608 h 10382"/>
                    <a:gd name="connsiteX81" fmla="*/ 8065 w 10000"/>
                    <a:gd name="connsiteY81" fmla="*/ 3231 h 10382"/>
                    <a:gd name="connsiteX82" fmla="*/ 7823 w 10000"/>
                    <a:gd name="connsiteY82" fmla="*/ 3646 h 10382"/>
                    <a:gd name="connsiteX83" fmla="*/ 7621 w 10000"/>
                    <a:gd name="connsiteY83" fmla="*/ 3759 h 10382"/>
                    <a:gd name="connsiteX84" fmla="*/ 7500 w 10000"/>
                    <a:gd name="connsiteY84" fmla="*/ 3533 h 10382"/>
                    <a:gd name="connsiteX85" fmla="*/ 7036 w 10000"/>
                    <a:gd name="connsiteY85" fmla="*/ 3420 h 10382"/>
                    <a:gd name="connsiteX86" fmla="*/ 7157 w 10000"/>
                    <a:gd name="connsiteY86"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315 w 10000"/>
                    <a:gd name="connsiteY23" fmla="*/ 424 h 10382"/>
                    <a:gd name="connsiteX24" fmla="*/ 1363 w 10000"/>
                    <a:gd name="connsiteY24" fmla="*/ 603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553 w 10000"/>
                    <a:gd name="connsiteY23" fmla="*/ 680 h 10382"/>
                    <a:gd name="connsiteX24" fmla="*/ 1363 w 10000"/>
                    <a:gd name="connsiteY24" fmla="*/ 603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553 w 10000"/>
                    <a:gd name="connsiteY23" fmla="*/ 680 h 10382"/>
                    <a:gd name="connsiteX24" fmla="*/ 1363 w 10000"/>
                    <a:gd name="connsiteY24" fmla="*/ 603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553 w 10000"/>
                    <a:gd name="connsiteY23" fmla="*/ 680 h 10382"/>
                    <a:gd name="connsiteX24" fmla="*/ 1363 w 10000"/>
                    <a:gd name="connsiteY24" fmla="*/ 603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363 w 10000"/>
                    <a:gd name="connsiteY24" fmla="*/ 603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613 w 10000"/>
                    <a:gd name="connsiteY24" fmla="*/ 547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1315 w 10000"/>
                    <a:gd name="connsiteY26" fmla="*/ 1003 h 10382"/>
                    <a:gd name="connsiteX27" fmla="*/ 1351 w 10000"/>
                    <a:gd name="connsiteY27" fmla="*/ 1231 h 10382"/>
                    <a:gd name="connsiteX28" fmla="*/ 1895 w 10000"/>
                    <a:gd name="connsiteY28" fmla="*/ 1646 h 10382"/>
                    <a:gd name="connsiteX29" fmla="*/ 1673 w 10000"/>
                    <a:gd name="connsiteY29" fmla="*/ 1835 h 10382"/>
                    <a:gd name="connsiteX30" fmla="*/ 1673 w 10000"/>
                    <a:gd name="connsiteY30" fmla="*/ 2156 h 10382"/>
                    <a:gd name="connsiteX31" fmla="*/ 907 w 10000"/>
                    <a:gd name="connsiteY31" fmla="*/ 3231 h 10382"/>
                    <a:gd name="connsiteX32" fmla="*/ 323 w 10000"/>
                    <a:gd name="connsiteY32" fmla="*/ 3420 h 10382"/>
                    <a:gd name="connsiteX33" fmla="*/ 1028 w 10000"/>
                    <a:gd name="connsiteY33" fmla="*/ 4250 h 10382"/>
                    <a:gd name="connsiteX34" fmla="*/ 786 w 10000"/>
                    <a:gd name="connsiteY34" fmla="*/ 4495 h 10382"/>
                    <a:gd name="connsiteX35" fmla="*/ 0 w 10000"/>
                    <a:gd name="connsiteY35" fmla="*/ 4684 h 10382"/>
                    <a:gd name="connsiteX36" fmla="*/ 202 w 10000"/>
                    <a:gd name="connsiteY36" fmla="*/ 5024 h 10382"/>
                    <a:gd name="connsiteX37" fmla="*/ 665 w 10000"/>
                    <a:gd name="connsiteY37" fmla="*/ 5024 h 10382"/>
                    <a:gd name="connsiteX38" fmla="*/ 323 w 10000"/>
                    <a:gd name="connsiteY38" fmla="*/ 5212 h 10382"/>
                    <a:gd name="connsiteX39" fmla="*/ 786 w 10000"/>
                    <a:gd name="connsiteY39" fmla="*/ 5759 h 10382"/>
                    <a:gd name="connsiteX40" fmla="*/ 1109 w 10000"/>
                    <a:gd name="connsiteY40" fmla="*/ 5514 h 10382"/>
                    <a:gd name="connsiteX41" fmla="*/ 1431 w 10000"/>
                    <a:gd name="connsiteY41" fmla="*/ 5137 h 10382"/>
                    <a:gd name="connsiteX42" fmla="*/ 1552 w 10000"/>
                    <a:gd name="connsiteY42" fmla="*/ 5439 h 10382"/>
                    <a:gd name="connsiteX43" fmla="*/ 1794 w 10000"/>
                    <a:gd name="connsiteY43" fmla="*/ 5514 h 10382"/>
                    <a:gd name="connsiteX44" fmla="*/ 1794 w 10000"/>
                    <a:gd name="connsiteY44" fmla="*/ 7024 h 10382"/>
                    <a:gd name="connsiteX45" fmla="*/ 2339 w 10000"/>
                    <a:gd name="connsiteY45" fmla="*/ 7854 h 10382"/>
                    <a:gd name="connsiteX46" fmla="*/ 2581 w 10000"/>
                    <a:gd name="connsiteY46" fmla="*/ 8401 h 10382"/>
                    <a:gd name="connsiteX47" fmla="*/ 3488 w 10000"/>
                    <a:gd name="connsiteY47" fmla="*/ 10042 h 10382"/>
                    <a:gd name="connsiteX48" fmla="*/ 3810 w 10000"/>
                    <a:gd name="connsiteY48" fmla="*/ 10382 h 10382"/>
                    <a:gd name="connsiteX49" fmla="*/ 4375 w 10000"/>
                    <a:gd name="connsiteY49" fmla="*/ 9967 h 10382"/>
                    <a:gd name="connsiteX50" fmla="*/ 4254 w 10000"/>
                    <a:gd name="connsiteY50" fmla="*/ 9740 h 10382"/>
                    <a:gd name="connsiteX51" fmla="*/ 4456 w 10000"/>
                    <a:gd name="connsiteY51" fmla="*/ 9552 h 10382"/>
                    <a:gd name="connsiteX52" fmla="*/ 4456 w 10000"/>
                    <a:gd name="connsiteY52" fmla="*/ 9231 h 10382"/>
                    <a:gd name="connsiteX53" fmla="*/ 4375 w 10000"/>
                    <a:gd name="connsiteY53" fmla="*/ 9118 h 10382"/>
                    <a:gd name="connsiteX54" fmla="*/ 4718 w 10000"/>
                    <a:gd name="connsiteY54" fmla="*/ 8476 h 10382"/>
                    <a:gd name="connsiteX55" fmla="*/ 4597 w 10000"/>
                    <a:gd name="connsiteY55" fmla="*/ 8288 h 10382"/>
                    <a:gd name="connsiteX56" fmla="*/ 4597 w 10000"/>
                    <a:gd name="connsiteY56" fmla="*/ 7552 h 10382"/>
                    <a:gd name="connsiteX57" fmla="*/ 4919 w 10000"/>
                    <a:gd name="connsiteY57" fmla="*/ 7439 h 10382"/>
                    <a:gd name="connsiteX58" fmla="*/ 5806 w 10000"/>
                    <a:gd name="connsiteY58" fmla="*/ 6590 h 10382"/>
                    <a:gd name="connsiteX59" fmla="*/ 5806 w 10000"/>
                    <a:gd name="connsiteY59" fmla="*/ 6288 h 10382"/>
                    <a:gd name="connsiteX60" fmla="*/ 6714 w 10000"/>
                    <a:gd name="connsiteY60" fmla="*/ 5873 h 10382"/>
                    <a:gd name="connsiteX61" fmla="*/ 6593 w 10000"/>
                    <a:gd name="connsiteY61" fmla="*/ 5646 h 10382"/>
                    <a:gd name="connsiteX62" fmla="*/ 6956 w 10000"/>
                    <a:gd name="connsiteY62" fmla="*/ 5439 h 10382"/>
                    <a:gd name="connsiteX63" fmla="*/ 7500 w 10000"/>
                    <a:gd name="connsiteY63" fmla="*/ 5439 h 10382"/>
                    <a:gd name="connsiteX64" fmla="*/ 7379 w 10000"/>
                    <a:gd name="connsiteY64" fmla="*/ 4797 h 10382"/>
                    <a:gd name="connsiteX65" fmla="*/ 6956 w 10000"/>
                    <a:gd name="connsiteY65" fmla="*/ 4608 h 10382"/>
                    <a:gd name="connsiteX66" fmla="*/ 7157 w 10000"/>
                    <a:gd name="connsiteY66" fmla="*/ 4250 h 10382"/>
                    <a:gd name="connsiteX67" fmla="*/ 6956 w 10000"/>
                    <a:gd name="connsiteY67" fmla="*/ 4061 h 10382"/>
                    <a:gd name="connsiteX68" fmla="*/ 7036 w 10000"/>
                    <a:gd name="connsiteY68" fmla="*/ 3873 h 10382"/>
                    <a:gd name="connsiteX69" fmla="*/ 7379 w 10000"/>
                    <a:gd name="connsiteY69" fmla="*/ 3873 h 10382"/>
                    <a:gd name="connsiteX70" fmla="*/ 7621 w 10000"/>
                    <a:gd name="connsiteY70" fmla="*/ 4250 h 10382"/>
                    <a:gd name="connsiteX71" fmla="*/ 8387 w 10000"/>
                    <a:gd name="connsiteY71" fmla="*/ 4250 h 10382"/>
                    <a:gd name="connsiteX72" fmla="*/ 8185 w 10000"/>
                    <a:gd name="connsiteY72" fmla="*/ 4797 h 10382"/>
                    <a:gd name="connsiteX73" fmla="*/ 8387 w 10000"/>
                    <a:gd name="connsiteY73" fmla="*/ 4910 h 10382"/>
                    <a:gd name="connsiteX74" fmla="*/ 8508 w 10000"/>
                    <a:gd name="connsiteY74" fmla="*/ 4797 h 10382"/>
                    <a:gd name="connsiteX75" fmla="*/ 8730 w 10000"/>
                    <a:gd name="connsiteY75" fmla="*/ 5325 h 10382"/>
                    <a:gd name="connsiteX76" fmla="*/ 8972 w 10000"/>
                    <a:gd name="connsiteY76" fmla="*/ 4608 h 10382"/>
                    <a:gd name="connsiteX77" fmla="*/ 9294 w 10000"/>
                    <a:gd name="connsiteY77" fmla="*/ 4495 h 10382"/>
                    <a:gd name="connsiteX78" fmla="*/ 9415 w 10000"/>
                    <a:gd name="connsiteY78" fmla="*/ 3646 h 10382"/>
                    <a:gd name="connsiteX79" fmla="*/ 9738 w 10000"/>
                    <a:gd name="connsiteY79" fmla="*/ 3420 h 10382"/>
                    <a:gd name="connsiteX80" fmla="*/ 10000 w 10000"/>
                    <a:gd name="connsiteY80" fmla="*/ 2986 h 10382"/>
                    <a:gd name="connsiteX81" fmla="*/ 9617 w 10000"/>
                    <a:gd name="connsiteY81" fmla="*/ 2910 h 10382"/>
                    <a:gd name="connsiteX82" fmla="*/ 9294 w 10000"/>
                    <a:gd name="connsiteY82" fmla="*/ 2608 h 10382"/>
                    <a:gd name="connsiteX83" fmla="*/ 8065 w 10000"/>
                    <a:gd name="connsiteY83" fmla="*/ 3231 h 10382"/>
                    <a:gd name="connsiteX84" fmla="*/ 7823 w 10000"/>
                    <a:gd name="connsiteY84" fmla="*/ 3646 h 10382"/>
                    <a:gd name="connsiteX85" fmla="*/ 7621 w 10000"/>
                    <a:gd name="connsiteY85" fmla="*/ 3759 h 10382"/>
                    <a:gd name="connsiteX86" fmla="*/ 7500 w 10000"/>
                    <a:gd name="connsiteY86" fmla="*/ 3533 h 10382"/>
                    <a:gd name="connsiteX87" fmla="*/ 7036 w 10000"/>
                    <a:gd name="connsiteY87" fmla="*/ 3420 h 10382"/>
                    <a:gd name="connsiteX88" fmla="*/ 7157 w 10000"/>
                    <a:gd name="connsiteY88"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756 w 10000"/>
                    <a:gd name="connsiteY26" fmla="*/ 1170 h 10382"/>
                    <a:gd name="connsiteX27" fmla="*/ 1351 w 10000"/>
                    <a:gd name="connsiteY27" fmla="*/ 1231 h 10382"/>
                    <a:gd name="connsiteX28" fmla="*/ 1895 w 10000"/>
                    <a:gd name="connsiteY28" fmla="*/ 1646 h 10382"/>
                    <a:gd name="connsiteX29" fmla="*/ 1673 w 10000"/>
                    <a:gd name="connsiteY29" fmla="*/ 1835 h 10382"/>
                    <a:gd name="connsiteX30" fmla="*/ 1673 w 10000"/>
                    <a:gd name="connsiteY30" fmla="*/ 2156 h 10382"/>
                    <a:gd name="connsiteX31" fmla="*/ 907 w 10000"/>
                    <a:gd name="connsiteY31" fmla="*/ 3231 h 10382"/>
                    <a:gd name="connsiteX32" fmla="*/ 323 w 10000"/>
                    <a:gd name="connsiteY32" fmla="*/ 3420 h 10382"/>
                    <a:gd name="connsiteX33" fmla="*/ 1028 w 10000"/>
                    <a:gd name="connsiteY33" fmla="*/ 4250 h 10382"/>
                    <a:gd name="connsiteX34" fmla="*/ 786 w 10000"/>
                    <a:gd name="connsiteY34" fmla="*/ 4495 h 10382"/>
                    <a:gd name="connsiteX35" fmla="*/ 0 w 10000"/>
                    <a:gd name="connsiteY35" fmla="*/ 4684 h 10382"/>
                    <a:gd name="connsiteX36" fmla="*/ 202 w 10000"/>
                    <a:gd name="connsiteY36" fmla="*/ 5024 h 10382"/>
                    <a:gd name="connsiteX37" fmla="*/ 665 w 10000"/>
                    <a:gd name="connsiteY37" fmla="*/ 5024 h 10382"/>
                    <a:gd name="connsiteX38" fmla="*/ 323 w 10000"/>
                    <a:gd name="connsiteY38" fmla="*/ 5212 h 10382"/>
                    <a:gd name="connsiteX39" fmla="*/ 786 w 10000"/>
                    <a:gd name="connsiteY39" fmla="*/ 5759 h 10382"/>
                    <a:gd name="connsiteX40" fmla="*/ 1109 w 10000"/>
                    <a:gd name="connsiteY40" fmla="*/ 5514 h 10382"/>
                    <a:gd name="connsiteX41" fmla="*/ 1431 w 10000"/>
                    <a:gd name="connsiteY41" fmla="*/ 5137 h 10382"/>
                    <a:gd name="connsiteX42" fmla="*/ 1552 w 10000"/>
                    <a:gd name="connsiteY42" fmla="*/ 5439 h 10382"/>
                    <a:gd name="connsiteX43" fmla="*/ 1794 w 10000"/>
                    <a:gd name="connsiteY43" fmla="*/ 5514 h 10382"/>
                    <a:gd name="connsiteX44" fmla="*/ 1794 w 10000"/>
                    <a:gd name="connsiteY44" fmla="*/ 7024 h 10382"/>
                    <a:gd name="connsiteX45" fmla="*/ 2339 w 10000"/>
                    <a:gd name="connsiteY45" fmla="*/ 7854 h 10382"/>
                    <a:gd name="connsiteX46" fmla="*/ 2581 w 10000"/>
                    <a:gd name="connsiteY46" fmla="*/ 8401 h 10382"/>
                    <a:gd name="connsiteX47" fmla="*/ 3488 w 10000"/>
                    <a:gd name="connsiteY47" fmla="*/ 10042 h 10382"/>
                    <a:gd name="connsiteX48" fmla="*/ 3810 w 10000"/>
                    <a:gd name="connsiteY48" fmla="*/ 10382 h 10382"/>
                    <a:gd name="connsiteX49" fmla="*/ 4375 w 10000"/>
                    <a:gd name="connsiteY49" fmla="*/ 9967 h 10382"/>
                    <a:gd name="connsiteX50" fmla="*/ 4254 w 10000"/>
                    <a:gd name="connsiteY50" fmla="*/ 9740 h 10382"/>
                    <a:gd name="connsiteX51" fmla="*/ 4456 w 10000"/>
                    <a:gd name="connsiteY51" fmla="*/ 9552 h 10382"/>
                    <a:gd name="connsiteX52" fmla="*/ 4456 w 10000"/>
                    <a:gd name="connsiteY52" fmla="*/ 9231 h 10382"/>
                    <a:gd name="connsiteX53" fmla="*/ 4375 w 10000"/>
                    <a:gd name="connsiteY53" fmla="*/ 9118 h 10382"/>
                    <a:gd name="connsiteX54" fmla="*/ 4718 w 10000"/>
                    <a:gd name="connsiteY54" fmla="*/ 8476 h 10382"/>
                    <a:gd name="connsiteX55" fmla="*/ 4597 w 10000"/>
                    <a:gd name="connsiteY55" fmla="*/ 8288 h 10382"/>
                    <a:gd name="connsiteX56" fmla="*/ 4597 w 10000"/>
                    <a:gd name="connsiteY56" fmla="*/ 7552 h 10382"/>
                    <a:gd name="connsiteX57" fmla="*/ 4919 w 10000"/>
                    <a:gd name="connsiteY57" fmla="*/ 7439 h 10382"/>
                    <a:gd name="connsiteX58" fmla="*/ 5806 w 10000"/>
                    <a:gd name="connsiteY58" fmla="*/ 6590 h 10382"/>
                    <a:gd name="connsiteX59" fmla="*/ 5806 w 10000"/>
                    <a:gd name="connsiteY59" fmla="*/ 6288 h 10382"/>
                    <a:gd name="connsiteX60" fmla="*/ 6714 w 10000"/>
                    <a:gd name="connsiteY60" fmla="*/ 5873 h 10382"/>
                    <a:gd name="connsiteX61" fmla="*/ 6593 w 10000"/>
                    <a:gd name="connsiteY61" fmla="*/ 5646 h 10382"/>
                    <a:gd name="connsiteX62" fmla="*/ 6956 w 10000"/>
                    <a:gd name="connsiteY62" fmla="*/ 5439 h 10382"/>
                    <a:gd name="connsiteX63" fmla="*/ 7500 w 10000"/>
                    <a:gd name="connsiteY63" fmla="*/ 5439 h 10382"/>
                    <a:gd name="connsiteX64" fmla="*/ 7379 w 10000"/>
                    <a:gd name="connsiteY64" fmla="*/ 4797 h 10382"/>
                    <a:gd name="connsiteX65" fmla="*/ 6956 w 10000"/>
                    <a:gd name="connsiteY65" fmla="*/ 4608 h 10382"/>
                    <a:gd name="connsiteX66" fmla="*/ 7157 w 10000"/>
                    <a:gd name="connsiteY66" fmla="*/ 4250 h 10382"/>
                    <a:gd name="connsiteX67" fmla="*/ 6956 w 10000"/>
                    <a:gd name="connsiteY67" fmla="*/ 4061 h 10382"/>
                    <a:gd name="connsiteX68" fmla="*/ 7036 w 10000"/>
                    <a:gd name="connsiteY68" fmla="*/ 3873 h 10382"/>
                    <a:gd name="connsiteX69" fmla="*/ 7379 w 10000"/>
                    <a:gd name="connsiteY69" fmla="*/ 3873 h 10382"/>
                    <a:gd name="connsiteX70" fmla="*/ 7621 w 10000"/>
                    <a:gd name="connsiteY70" fmla="*/ 4250 h 10382"/>
                    <a:gd name="connsiteX71" fmla="*/ 8387 w 10000"/>
                    <a:gd name="connsiteY71" fmla="*/ 4250 h 10382"/>
                    <a:gd name="connsiteX72" fmla="*/ 8185 w 10000"/>
                    <a:gd name="connsiteY72" fmla="*/ 4797 h 10382"/>
                    <a:gd name="connsiteX73" fmla="*/ 8387 w 10000"/>
                    <a:gd name="connsiteY73" fmla="*/ 4910 h 10382"/>
                    <a:gd name="connsiteX74" fmla="*/ 8508 w 10000"/>
                    <a:gd name="connsiteY74" fmla="*/ 4797 h 10382"/>
                    <a:gd name="connsiteX75" fmla="*/ 8730 w 10000"/>
                    <a:gd name="connsiteY75" fmla="*/ 5325 h 10382"/>
                    <a:gd name="connsiteX76" fmla="*/ 8972 w 10000"/>
                    <a:gd name="connsiteY76" fmla="*/ 4608 h 10382"/>
                    <a:gd name="connsiteX77" fmla="*/ 9294 w 10000"/>
                    <a:gd name="connsiteY77" fmla="*/ 4495 h 10382"/>
                    <a:gd name="connsiteX78" fmla="*/ 9415 w 10000"/>
                    <a:gd name="connsiteY78" fmla="*/ 3646 h 10382"/>
                    <a:gd name="connsiteX79" fmla="*/ 9738 w 10000"/>
                    <a:gd name="connsiteY79" fmla="*/ 3420 h 10382"/>
                    <a:gd name="connsiteX80" fmla="*/ 10000 w 10000"/>
                    <a:gd name="connsiteY80" fmla="*/ 2986 h 10382"/>
                    <a:gd name="connsiteX81" fmla="*/ 9617 w 10000"/>
                    <a:gd name="connsiteY81" fmla="*/ 2910 h 10382"/>
                    <a:gd name="connsiteX82" fmla="*/ 9294 w 10000"/>
                    <a:gd name="connsiteY82" fmla="*/ 2608 h 10382"/>
                    <a:gd name="connsiteX83" fmla="*/ 8065 w 10000"/>
                    <a:gd name="connsiteY83" fmla="*/ 3231 h 10382"/>
                    <a:gd name="connsiteX84" fmla="*/ 7823 w 10000"/>
                    <a:gd name="connsiteY84" fmla="*/ 3646 h 10382"/>
                    <a:gd name="connsiteX85" fmla="*/ 7621 w 10000"/>
                    <a:gd name="connsiteY85" fmla="*/ 3759 h 10382"/>
                    <a:gd name="connsiteX86" fmla="*/ 7500 w 10000"/>
                    <a:gd name="connsiteY86" fmla="*/ 3533 h 10382"/>
                    <a:gd name="connsiteX87" fmla="*/ 7036 w 10000"/>
                    <a:gd name="connsiteY87" fmla="*/ 3420 h 10382"/>
                    <a:gd name="connsiteX88" fmla="*/ 7157 w 10000"/>
                    <a:gd name="connsiteY88"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756 w 10000"/>
                    <a:gd name="connsiteY26" fmla="*/ 1170 h 10382"/>
                    <a:gd name="connsiteX27" fmla="*/ 1351 w 10000"/>
                    <a:gd name="connsiteY27" fmla="*/ 1231 h 10382"/>
                    <a:gd name="connsiteX28" fmla="*/ 1895 w 10000"/>
                    <a:gd name="connsiteY28" fmla="*/ 1646 h 10382"/>
                    <a:gd name="connsiteX29" fmla="*/ 1673 w 10000"/>
                    <a:gd name="connsiteY29" fmla="*/ 1835 h 10382"/>
                    <a:gd name="connsiteX30" fmla="*/ 1673 w 10000"/>
                    <a:gd name="connsiteY30" fmla="*/ 2156 h 10382"/>
                    <a:gd name="connsiteX31" fmla="*/ 907 w 10000"/>
                    <a:gd name="connsiteY31" fmla="*/ 3231 h 10382"/>
                    <a:gd name="connsiteX32" fmla="*/ 323 w 10000"/>
                    <a:gd name="connsiteY32" fmla="*/ 3420 h 10382"/>
                    <a:gd name="connsiteX33" fmla="*/ 1028 w 10000"/>
                    <a:gd name="connsiteY33" fmla="*/ 4250 h 10382"/>
                    <a:gd name="connsiteX34" fmla="*/ 786 w 10000"/>
                    <a:gd name="connsiteY34" fmla="*/ 4495 h 10382"/>
                    <a:gd name="connsiteX35" fmla="*/ 0 w 10000"/>
                    <a:gd name="connsiteY35" fmla="*/ 4684 h 10382"/>
                    <a:gd name="connsiteX36" fmla="*/ 202 w 10000"/>
                    <a:gd name="connsiteY36" fmla="*/ 5024 h 10382"/>
                    <a:gd name="connsiteX37" fmla="*/ 665 w 10000"/>
                    <a:gd name="connsiteY37" fmla="*/ 5024 h 10382"/>
                    <a:gd name="connsiteX38" fmla="*/ 323 w 10000"/>
                    <a:gd name="connsiteY38" fmla="*/ 5212 h 10382"/>
                    <a:gd name="connsiteX39" fmla="*/ 786 w 10000"/>
                    <a:gd name="connsiteY39" fmla="*/ 5759 h 10382"/>
                    <a:gd name="connsiteX40" fmla="*/ 1109 w 10000"/>
                    <a:gd name="connsiteY40" fmla="*/ 5514 h 10382"/>
                    <a:gd name="connsiteX41" fmla="*/ 1431 w 10000"/>
                    <a:gd name="connsiteY41" fmla="*/ 5137 h 10382"/>
                    <a:gd name="connsiteX42" fmla="*/ 1552 w 10000"/>
                    <a:gd name="connsiteY42" fmla="*/ 5439 h 10382"/>
                    <a:gd name="connsiteX43" fmla="*/ 1794 w 10000"/>
                    <a:gd name="connsiteY43" fmla="*/ 5514 h 10382"/>
                    <a:gd name="connsiteX44" fmla="*/ 1794 w 10000"/>
                    <a:gd name="connsiteY44" fmla="*/ 7024 h 10382"/>
                    <a:gd name="connsiteX45" fmla="*/ 2339 w 10000"/>
                    <a:gd name="connsiteY45" fmla="*/ 7854 h 10382"/>
                    <a:gd name="connsiteX46" fmla="*/ 2581 w 10000"/>
                    <a:gd name="connsiteY46" fmla="*/ 8401 h 10382"/>
                    <a:gd name="connsiteX47" fmla="*/ 3488 w 10000"/>
                    <a:gd name="connsiteY47" fmla="*/ 10042 h 10382"/>
                    <a:gd name="connsiteX48" fmla="*/ 3810 w 10000"/>
                    <a:gd name="connsiteY48" fmla="*/ 10382 h 10382"/>
                    <a:gd name="connsiteX49" fmla="*/ 4375 w 10000"/>
                    <a:gd name="connsiteY49" fmla="*/ 9967 h 10382"/>
                    <a:gd name="connsiteX50" fmla="*/ 4254 w 10000"/>
                    <a:gd name="connsiteY50" fmla="*/ 9740 h 10382"/>
                    <a:gd name="connsiteX51" fmla="*/ 4456 w 10000"/>
                    <a:gd name="connsiteY51" fmla="*/ 9552 h 10382"/>
                    <a:gd name="connsiteX52" fmla="*/ 4456 w 10000"/>
                    <a:gd name="connsiteY52" fmla="*/ 9231 h 10382"/>
                    <a:gd name="connsiteX53" fmla="*/ 4375 w 10000"/>
                    <a:gd name="connsiteY53" fmla="*/ 9118 h 10382"/>
                    <a:gd name="connsiteX54" fmla="*/ 4718 w 10000"/>
                    <a:gd name="connsiteY54" fmla="*/ 8476 h 10382"/>
                    <a:gd name="connsiteX55" fmla="*/ 4597 w 10000"/>
                    <a:gd name="connsiteY55" fmla="*/ 8288 h 10382"/>
                    <a:gd name="connsiteX56" fmla="*/ 4597 w 10000"/>
                    <a:gd name="connsiteY56" fmla="*/ 7552 h 10382"/>
                    <a:gd name="connsiteX57" fmla="*/ 4919 w 10000"/>
                    <a:gd name="connsiteY57" fmla="*/ 7439 h 10382"/>
                    <a:gd name="connsiteX58" fmla="*/ 5806 w 10000"/>
                    <a:gd name="connsiteY58" fmla="*/ 6590 h 10382"/>
                    <a:gd name="connsiteX59" fmla="*/ 5806 w 10000"/>
                    <a:gd name="connsiteY59" fmla="*/ 6288 h 10382"/>
                    <a:gd name="connsiteX60" fmla="*/ 6714 w 10000"/>
                    <a:gd name="connsiteY60" fmla="*/ 5873 h 10382"/>
                    <a:gd name="connsiteX61" fmla="*/ 6593 w 10000"/>
                    <a:gd name="connsiteY61" fmla="*/ 5646 h 10382"/>
                    <a:gd name="connsiteX62" fmla="*/ 6956 w 10000"/>
                    <a:gd name="connsiteY62" fmla="*/ 5439 h 10382"/>
                    <a:gd name="connsiteX63" fmla="*/ 7500 w 10000"/>
                    <a:gd name="connsiteY63" fmla="*/ 5439 h 10382"/>
                    <a:gd name="connsiteX64" fmla="*/ 7379 w 10000"/>
                    <a:gd name="connsiteY64" fmla="*/ 4797 h 10382"/>
                    <a:gd name="connsiteX65" fmla="*/ 6956 w 10000"/>
                    <a:gd name="connsiteY65" fmla="*/ 4608 h 10382"/>
                    <a:gd name="connsiteX66" fmla="*/ 7157 w 10000"/>
                    <a:gd name="connsiteY66" fmla="*/ 4250 h 10382"/>
                    <a:gd name="connsiteX67" fmla="*/ 6956 w 10000"/>
                    <a:gd name="connsiteY67" fmla="*/ 4061 h 10382"/>
                    <a:gd name="connsiteX68" fmla="*/ 7036 w 10000"/>
                    <a:gd name="connsiteY68" fmla="*/ 3873 h 10382"/>
                    <a:gd name="connsiteX69" fmla="*/ 7379 w 10000"/>
                    <a:gd name="connsiteY69" fmla="*/ 3873 h 10382"/>
                    <a:gd name="connsiteX70" fmla="*/ 7621 w 10000"/>
                    <a:gd name="connsiteY70" fmla="*/ 4250 h 10382"/>
                    <a:gd name="connsiteX71" fmla="*/ 8387 w 10000"/>
                    <a:gd name="connsiteY71" fmla="*/ 4250 h 10382"/>
                    <a:gd name="connsiteX72" fmla="*/ 8185 w 10000"/>
                    <a:gd name="connsiteY72" fmla="*/ 4797 h 10382"/>
                    <a:gd name="connsiteX73" fmla="*/ 8387 w 10000"/>
                    <a:gd name="connsiteY73" fmla="*/ 4910 h 10382"/>
                    <a:gd name="connsiteX74" fmla="*/ 8508 w 10000"/>
                    <a:gd name="connsiteY74" fmla="*/ 4797 h 10382"/>
                    <a:gd name="connsiteX75" fmla="*/ 8730 w 10000"/>
                    <a:gd name="connsiteY75" fmla="*/ 5325 h 10382"/>
                    <a:gd name="connsiteX76" fmla="*/ 8972 w 10000"/>
                    <a:gd name="connsiteY76" fmla="*/ 4608 h 10382"/>
                    <a:gd name="connsiteX77" fmla="*/ 9294 w 10000"/>
                    <a:gd name="connsiteY77" fmla="*/ 4495 h 10382"/>
                    <a:gd name="connsiteX78" fmla="*/ 9415 w 10000"/>
                    <a:gd name="connsiteY78" fmla="*/ 3646 h 10382"/>
                    <a:gd name="connsiteX79" fmla="*/ 9738 w 10000"/>
                    <a:gd name="connsiteY79" fmla="*/ 3420 h 10382"/>
                    <a:gd name="connsiteX80" fmla="*/ 10000 w 10000"/>
                    <a:gd name="connsiteY80" fmla="*/ 2986 h 10382"/>
                    <a:gd name="connsiteX81" fmla="*/ 9617 w 10000"/>
                    <a:gd name="connsiteY81" fmla="*/ 2910 h 10382"/>
                    <a:gd name="connsiteX82" fmla="*/ 9294 w 10000"/>
                    <a:gd name="connsiteY82" fmla="*/ 2608 h 10382"/>
                    <a:gd name="connsiteX83" fmla="*/ 8065 w 10000"/>
                    <a:gd name="connsiteY83" fmla="*/ 3231 h 10382"/>
                    <a:gd name="connsiteX84" fmla="*/ 7823 w 10000"/>
                    <a:gd name="connsiteY84" fmla="*/ 3646 h 10382"/>
                    <a:gd name="connsiteX85" fmla="*/ 7621 w 10000"/>
                    <a:gd name="connsiteY85" fmla="*/ 3759 h 10382"/>
                    <a:gd name="connsiteX86" fmla="*/ 7500 w 10000"/>
                    <a:gd name="connsiteY86" fmla="*/ 3533 h 10382"/>
                    <a:gd name="connsiteX87" fmla="*/ 7036 w 10000"/>
                    <a:gd name="connsiteY87" fmla="*/ 3420 h 10382"/>
                    <a:gd name="connsiteX88" fmla="*/ 7157 w 10000"/>
                    <a:gd name="connsiteY88"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756 w 10000"/>
                    <a:gd name="connsiteY26" fmla="*/ 1170 h 10382"/>
                    <a:gd name="connsiteX27" fmla="*/ 1351 w 10000"/>
                    <a:gd name="connsiteY27" fmla="*/ 1231 h 10382"/>
                    <a:gd name="connsiteX28" fmla="*/ 1895 w 10000"/>
                    <a:gd name="connsiteY28" fmla="*/ 1646 h 10382"/>
                    <a:gd name="connsiteX29" fmla="*/ 1673 w 10000"/>
                    <a:gd name="connsiteY29" fmla="*/ 1835 h 10382"/>
                    <a:gd name="connsiteX30" fmla="*/ 1673 w 10000"/>
                    <a:gd name="connsiteY30" fmla="*/ 2156 h 10382"/>
                    <a:gd name="connsiteX31" fmla="*/ 907 w 10000"/>
                    <a:gd name="connsiteY31" fmla="*/ 3231 h 10382"/>
                    <a:gd name="connsiteX32" fmla="*/ 323 w 10000"/>
                    <a:gd name="connsiteY32" fmla="*/ 3420 h 10382"/>
                    <a:gd name="connsiteX33" fmla="*/ 1028 w 10000"/>
                    <a:gd name="connsiteY33" fmla="*/ 4250 h 10382"/>
                    <a:gd name="connsiteX34" fmla="*/ 786 w 10000"/>
                    <a:gd name="connsiteY34" fmla="*/ 4495 h 10382"/>
                    <a:gd name="connsiteX35" fmla="*/ 0 w 10000"/>
                    <a:gd name="connsiteY35" fmla="*/ 4684 h 10382"/>
                    <a:gd name="connsiteX36" fmla="*/ 202 w 10000"/>
                    <a:gd name="connsiteY36" fmla="*/ 5024 h 10382"/>
                    <a:gd name="connsiteX37" fmla="*/ 665 w 10000"/>
                    <a:gd name="connsiteY37" fmla="*/ 5024 h 10382"/>
                    <a:gd name="connsiteX38" fmla="*/ 323 w 10000"/>
                    <a:gd name="connsiteY38" fmla="*/ 5212 h 10382"/>
                    <a:gd name="connsiteX39" fmla="*/ 786 w 10000"/>
                    <a:gd name="connsiteY39" fmla="*/ 5759 h 10382"/>
                    <a:gd name="connsiteX40" fmla="*/ 1109 w 10000"/>
                    <a:gd name="connsiteY40" fmla="*/ 5514 h 10382"/>
                    <a:gd name="connsiteX41" fmla="*/ 1431 w 10000"/>
                    <a:gd name="connsiteY41" fmla="*/ 5137 h 10382"/>
                    <a:gd name="connsiteX42" fmla="*/ 1552 w 10000"/>
                    <a:gd name="connsiteY42" fmla="*/ 5439 h 10382"/>
                    <a:gd name="connsiteX43" fmla="*/ 1794 w 10000"/>
                    <a:gd name="connsiteY43" fmla="*/ 5514 h 10382"/>
                    <a:gd name="connsiteX44" fmla="*/ 1794 w 10000"/>
                    <a:gd name="connsiteY44" fmla="*/ 7024 h 10382"/>
                    <a:gd name="connsiteX45" fmla="*/ 2339 w 10000"/>
                    <a:gd name="connsiteY45" fmla="*/ 7854 h 10382"/>
                    <a:gd name="connsiteX46" fmla="*/ 2581 w 10000"/>
                    <a:gd name="connsiteY46" fmla="*/ 8401 h 10382"/>
                    <a:gd name="connsiteX47" fmla="*/ 3488 w 10000"/>
                    <a:gd name="connsiteY47" fmla="*/ 10042 h 10382"/>
                    <a:gd name="connsiteX48" fmla="*/ 3810 w 10000"/>
                    <a:gd name="connsiteY48" fmla="*/ 10382 h 10382"/>
                    <a:gd name="connsiteX49" fmla="*/ 4375 w 10000"/>
                    <a:gd name="connsiteY49" fmla="*/ 9967 h 10382"/>
                    <a:gd name="connsiteX50" fmla="*/ 4254 w 10000"/>
                    <a:gd name="connsiteY50" fmla="*/ 9740 h 10382"/>
                    <a:gd name="connsiteX51" fmla="*/ 4456 w 10000"/>
                    <a:gd name="connsiteY51" fmla="*/ 9552 h 10382"/>
                    <a:gd name="connsiteX52" fmla="*/ 4456 w 10000"/>
                    <a:gd name="connsiteY52" fmla="*/ 9231 h 10382"/>
                    <a:gd name="connsiteX53" fmla="*/ 4375 w 10000"/>
                    <a:gd name="connsiteY53" fmla="*/ 9118 h 10382"/>
                    <a:gd name="connsiteX54" fmla="*/ 4718 w 10000"/>
                    <a:gd name="connsiteY54" fmla="*/ 8476 h 10382"/>
                    <a:gd name="connsiteX55" fmla="*/ 4597 w 10000"/>
                    <a:gd name="connsiteY55" fmla="*/ 8288 h 10382"/>
                    <a:gd name="connsiteX56" fmla="*/ 4597 w 10000"/>
                    <a:gd name="connsiteY56" fmla="*/ 7552 h 10382"/>
                    <a:gd name="connsiteX57" fmla="*/ 4919 w 10000"/>
                    <a:gd name="connsiteY57" fmla="*/ 7439 h 10382"/>
                    <a:gd name="connsiteX58" fmla="*/ 5806 w 10000"/>
                    <a:gd name="connsiteY58" fmla="*/ 6590 h 10382"/>
                    <a:gd name="connsiteX59" fmla="*/ 5806 w 10000"/>
                    <a:gd name="connsiteY59" fmla="*/ 6288 h 10382"/>
                    <a:gd name="connsiteX60" fmla="*/ 6714 w 10000"/>
                    <a:gd name="connsiteY60" fmla="*/ 5873 h 10382"/>
                    <a:gd name="connsiteX61" fmla="*/ 6593 w 10000"/>
                    <a:gd name="connsiteY61" fmla="*/ 5646 h 10382"/>
                    <a:gd name="connsiteX62" fmla="*/ 6956 w 10000"/>
                    <a:gd name="connsiteY62" fmla="*/ 5439 h 10382"/>
                    <a:gd name="connsiteX63" fmla="*/ 7500 w 10000"/>
                    <a:gd name="connsiteY63" fmla="*/ 5439 h 10382"/>
                    <a:gd name="connsiteX64" fmla="*/ 7379 w 10000"/>
                    <a:gd name="connsiteY64" fmla="*/ 4797 h 10382"/>
                    <a:gd name="connsiteX65" fmla="*/ 6956 w 10000"/>
                    <a:gd name="connsiteY65" fmla="*/ 4608 h 10382"/>
                    <a:gd name="connsiteX66" fmla="*/ 7157 w 10000"/>
                    <a:gd name="connsiteY66" fmla="*/ 4250 h 10382"/>
                    <a:gd name="connsiteX67" fmla="*/ 6956 w 10000"/>
                    <a:gd name="connsiteY67" fmla="*/ 4061 h 10382"/>
                    <a:gd name="connsiteX68" fmla="*/ 7036 w 10000"/>
                    <a:gd name="connsiteY68" fmla="*/ 3873 h 10382"/>
                    <a:gd name="connsiteX69" fmla="*/ 7379 w 10000"/>
                    <a:gd name="connsiteY69" fmla="*/ 3873 h 10382"/>
                    <a:gd name="connsiteX70" fmla="*/ 7621 w 10000"/>
                    <a:gd name="connsiteY70" fmla="*/ 4250 h 10382"/>
                    <a:gd name="connsiteX71" fmla="*/ 8387 w 10000"/>
                    <a:gd name="connsiteY71" fmla="*/ 4250 h 10382"/>
                    <a:gd name="connsiteX72" fmla="*/ 8185 w 10000"/>
                    <a:gd name="connsiteY72" fmla="*/ 4797 h 10382"/>
                    <a:gd name="connsiteX73" fmla="*/ 8387 w 10000"/>
                    <a:gd name="connsiteY73" fmla="*/ 4910 h 10382"/>
                    <a:gd name="connsiteX74" fmla="*/ 8508 w 10000"/>
                    <a:gd name="connsiteY74" fmla="*/ 4797 h 10382"/>
                    <a:gd name="connsiteX75" fmla="*/ 8730 w 10000"/>
                    <a:gd name="connsiteY75" fmla="*/ 5325 h 10382"/>
                    <a:gd name="connsiteX76" fmla="*/ 8972 w 10000"/>
                    <a:gd name="connsiteY76" fmla="*/ 4608 h 10382"/>
                    <a:gd name="connsiteX77" fmla="*/ 9294 w 10000"/>
                    <a:gd name="connsiteY77" fmla="*/ 4495 h 10382"/>
                    <a:gd name="connsiteX78" fmla="*/ 9415 w 10000"/>
                    <a:gd name="connsiteY78" fmla="*/ 3646 h 10382"/>
                    <a:gd name="connsiteX79" fmla="*/ 9738 w 10000"/>
                    <a:gd name="connsiteY79" fmla="*/ 3420 h 10382"/>
                    <a:gd name="connsiteX80" fmla="*/ 10000 w 10000"/>
                    <a:gd name="connsiteY80" fmla="*/ 2986 h 10382"/>
                    <a:gd name="connsiteX81" fmla="*/ 9617 w 10000"/>
                    <a:gd name="connsiteY81" fmla="*/ 2910 h 10382"/>
                    <a:gd name="connsiteX82" fmla="*/ 9294 w 10000"/>
                    <a:gd name="connsiteY82" fmla="*/ 2608 h 10382"/>
                    <a:gd name="connsiteX83" fmla="*/ 8065 w 10000"/>
                    <a:gd name="connsiteY83" fmla="*/ 3231 h 10382"/>
                    <a:gd name="connsiteX84" fmla="*/ 7823 w 10000"/>
                    <a:gd name="connsiteY84" fmla="*/ 3646 h 10382"/>
                    <a:gd name="connsiteX85" fmla="*/ 7621 w 10000"/>
                    <a:gd name="connsiteY85" fmla="*/ 3759 h 10382"/>
                    <a:gd name="connsiteX86" fmla="*/ 7500 w 10000"/>
                    <a:gd name="connsiteY86" fmla="*/ 3533 h 10382"/>
                    <a:gd name="connsiteX87" fmla="*/ 7036 w 10000"/>
                    <a:gd name="connsiteY87" fmla="*/ 3420 h 10382"/>
                    <a:gd name="connsiteX88" fmla="*/ 7157 w 10000"/>
                    <a:gd name="connsiteY88"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1220 w 10000"/>
                    <a:gd name="connsiteY26" fmla="*/ 925 h 10382"/>
                    <a:gd name="connsiteX27" fmla="*/ 1351 w 10000"/>
                    <a:gd name="connsiteY27" fmla="*/ 1231 h 10382"/>
                    <a:gd name="connsiteX28" fmla="*/ 1895 w 10000"/>
                    <a:gd name="connsiteY28" fmla="*/ 1646 h 10382"/>
                    <a:gd name="connsiteX29" fmla="*/ 1673 w 10000"/>
                    <a:gd name="connsiteY29" fmla="*/ 1835 h 10382"/>
                    <a:gd name="connsiteX30" fmla="*/ 1673 w 10000"/>
                    <a:gd name="connsiteY30" fmla="*/ 2156 h 10382"/>
                    <a:gd name="connsiteX31" fmla="*/ 907 w 10000"/>
                    <a:gd name="connsiteY31" fmla="*/ 3231 h 10382"/>
                    <a:gd name="connsiteX32" fmla="*/ 323 w 10000"/>
                    <a:gd name="connsiteY32" fmla="*/ 3420 h 10382"/>
                    <a:gd name="connsiteX33" fmla="*/ 1028 w 10000"/>
                    <a:gd name="connsiteY33" fmla="*/ 4250 h 10382"/>
                    <a:gd name="connsiteX34" fmla="*/ 786 w 10000"/>
                    <a:gd name="connsiteY34" fmla="*/ 4495 h 10382"/>
                    <a:gd name="connsiteX35" fmla="*/ 0 w 10000"/>
                    <a:gd name="connsiteY35" fmla="*/ 4684 h 10382"/>
                    <a:gd name="connsiteX36" fmla="*/ 202 w 10000"/>
                    <a:gd name="connsiteY36" fmla="*/ 5024 h 10382"/>
                    <a:gd name="connsiteX37" fmla="*/ 665 w 10000"/>
                    <a:gd name="connsiteY37" fmla="*/ 5024 h 10382"/>
                    <a:gd name="connsiteX38" fmla="*/ 323 w 10000"/>
                    <a:gd name="connsiteY38" fmla="*/ 5212 h 10382"/>
                    <a:gd name="connsiteX39" fmla="*/ 786 w 10000"/>
                    <a:gd name="connsiteY39" fmla="*/ 5759 h 10382"/>
                    <a:gd name="connsiteX40" fmla="*/ 1109 w 10000"/>
                    <a:gd name="connsiteY40" fmla="*/ 5514 h 10382"/>
                    <a:gd name="connsiteX41" fmla="*/ 1431 w 10000"/>
                    <a:gd name="connsiteY41" fmla="*/ 5137 h 10382"/>
                    <a:gd name="connsiteX42" fmla="*/ 1552 w 10000"/>
                    <a:gd name="connsiteY42" fmla="*/ 5439 h 10382"/>
                    <a:gd name="connsiteX43" fmla="*/ 1794 w 10000"/>
                    <a:gd name="connsiteY43" fmla="*/ 5514 h 10382"/>
                    <a:gd name="connsiteX44" fmla="*/ 1794 w 10000"/>
                    <a:gd name="connsiteY44" fmla="*/ 7024 h 10382"/>
                    <a:gd name="connsiteX45" fmla="*/ 2339 w 10000"/>
                    <a:gd name="connsiteY45" fmla="*/ 7854 h 10382"/>
                    <a:gd name="connsiteX46" fmla="*/ 2581 w 10000"/>
                    <a:gd name="connsiteY46" fmla="*/ 8401 h 10382"/>
                    <a:gd name="connsiteX47" fmla="*/ 3488 w 10000"/>
                    <a:gd name="connsiteY47" fmla="*/ 10042 h 10382"/>
                    <a:gd name="connsiteX48" fmla="*/ 3810 w 10000"/>
                    <a:gd name="connsiteY48" fmla="*/ 10382 h 10382"/>
                    <a:gd name="connsiteX49" fmla="*/ 4375 w 10000"/>
                    <a:gd name="connsiteY49" fmla="*/ 9967 h 10382"/>
                    <a:gd name="connsiteX50" fmla="*/ 4254 w 10000"/>
                    <a:gd name="connsiteY50" fmla="*/ 9740 h 10382"/>
                    <a:gd name="connsiteX51" fmla="*/ 4456 w 10000"/>
                    <a:gd name="connsiteY51" fmla="*/ 9552 h 10382"/>
                    <a:gd name="connsiteX52" fmla="*/ 4456 w 10000"/>
                    <a:gd name="connsiteY52" fmla="*/ 9231 h 10382"/>
                    <a:gd name="connsiteX53" fmla="*/ 4375 w 10000"/>
                    <a:gd name="connsiteY53" fmla="*/ 9118 h 10382"/>
                    <a:gd name="connsiteX54" fmla="*/ 4718 w 10000"/>
                    <a:gd name="connsiteY54" fmla="*/ 8476 h 10382"/>
                    <a:gd name="connsiteX55" fmla="*/ 4597 w 10000"/>
                    <a:gd name="connsiteY55" fmla="*/ 8288 h 10382"/>
                    <a:gd name="connsiteX56" fmla="*/ 4597 w 10000"/>
                    <a:gd name="connsiteY56" fmla="*/ 7552 h 10382"/>
                    <a:gd name="connsiteX57" fmla="*/ 4919 w 10000"/>
                    <a:gd name="connsiteY57" fmla="*/ 7439 h 10382"/>
                    <a:gd name="connsiteX58" fmla="*/ 5806 w 10000"/>
                    <a:gd name="connsiteY58" fmla="*/ 6590 h 10382"/>
                    <a:gd name="connsiteX59" fmla="*/ 5806 w 10000"/>
                    <a:gd name="connsiteY59" fmla="*/ 6288 h 10382"/>
                    <a:gd name="connsiteX60" fmla="*/ 6714 w 10000"/>
                    <a:gd name="connsiteY60" fmla="*/ 5873 h 10382"/>
                    <a:gd name="connsiteX61" fmla="*/ 6593 w 10000"/>
                    <a:gd name="connsiteY61" fmla="*/ 5646 h 10382"/>
                    <a:gd name="connsiteX62" fmla="*/ 6956 w 10000"/>
                    <a:gd name="connsiteY62" fmla="*/ 5439 h 10382"/>
                    <a:gd name="connsiteX63" fmla="*/ 7500 w 10000"/>
                    <a:gd name="connsiteY63" fmla="*/ 5439 h 10382"/>
                    <a:gd name="connsiteX64" fmla="*/ 7379 w 10000"/>
                    <a:gd name="connsiteY64" fmla="*/ 4797 h 10382"/>
                    <a:gd name="connsiteX65" fmla="*/ 6956 w 10000"/>
                    <a:gd name="connsiteY65" fmla="*/ 4608 h 10382"/>
                    <a:gd name="connsiteX66" fmla="*/ 7157 w 10000"/>
                    <a:gd name="connsiteY66" fmla="*/ 4250 h 10382"/>
                    <a:gd name="connsiteX67" fmla="*/ 6956 w 10000"/>
                    <a:gd name="connsiteY67" fmla="*/ 4061 h 10382"/>
                    <a:gd name="connsiteX68" fmla="*/ 7036 w 10000"/>
                    <a:gd name="connsiteY68" fmla="*/ 3873 h 10382"/>
                    <a:gd name="connsiteX69" fmla="*/ 7379 w 10000"/>
                    <a:gd name="connsiteY69" fmla="*/ 3873 h 10382"/>
                    <a:gd name="connsiteX70" fmla="*/ 7621 w 10000"/>
                    <a:gd name="connsiteY70" fmla="*/ 4250 h 10382"/>
                    <a:gd name="connsiteX71" fmla="*/ 8387 w 10000"/>
                    <a:gd name="connsiteY71" fmla="*/ 4250 h 10382"/>
                    <a:gd name="connsiteX72" fmla="*/ 8185 w 10000"/>
                    <a:gd name="connsiteY72" fmla="*/ 4797 h 10382"/>
                    <a:gd name="connsiteX73" fmla="*/ 8387 w 10000"/>
                    <a:gd name="connsiteY73" fmla="*/ 4910 h 10382"/>
                    <a:gd name="connsiteX74" fmla="*/ 8508 w 10000"/>
                    <a:gd name="connsiteY74" fmla="*/ 4797 h 10382"/>
                    <a:gd name="connsiteX75" fmla="*/ 8730 w 10000"/>
                    <a:gd name="connsiteY75" fmla="*/ 5325 h 10382"/>
                    <a:gd name="connsiteX76" fmla="*/ 8972 w 10000"/>
                    <a:gd name="connsiteY76" fmla="*/ 4608 h 10382"/>
                    <a:gd name="connsiteX77" fmla="*/ 9294 w 10000"/>
                    <a:gd name="connsiteY77" fmla="*/ 4495 h 10382"/>
                    <a:gd name="connsiteX78" fmla="*/ 9415 w 10000"/>
                    <a:gd name="connsiteY78" fmla="*/ 3646 h 10382"/>
                    <a:gd name="connsiteX79" fmla="*/ 9738 w 10000"/>
                    <a:gd name="connsiteY79" fmla="*/ 3420 h 10382"/>
                    <a:gd name="connsiteX80" fmla="*/ 10000 w 10000"/>
                    <a:gd name="connsiteY80" fmla="*/ 2986 h 10382"/>
                    <a:gd name="connsiteX81" fmla="*/ 9617 w 10000"/>
                    <a:gd name="connsiteY81" fmla="*/ 2910 h 10382"/>
                    <a:gd name="connsiteX82" fmla="*/ 9294 w 10000"/>
                    <a:gd name="connsiteY82" fmla="*/ 2608 h 10382"/>
                    <a:gd name="connsiteX83" fmla="*/ 8065 w 10000"/>
                    <a:gd name="connsiteY83" fmla="*/ 3231 h 10382"/>
                    <a:gd name="connsiteX84" fmla="*/ 7823 w 10000"/>
                    <a:gd name="connsiteY84" fmla="*/ 3646 h 10382"/>
                    <a:gd name="connsiteX85" fmla="*/ 7621 w 10000"/>
                    <a:gd name="connsiteY85" fmla="*/ 3759 h 10382"/>
                    <a:gd name="connsiteX86" fmla="*/ 7500 w 10000"/>
                    <a:gd name="connsiteY86" fmla="*/ 3533 h 10382"/>
                    <a:gd name="connsiteX87" fmla="*/ 7036 w 10000"/>
                    <a:gd name="connsiteY87" fmla="*/ 3420 h 10382"/>
                    <a:gd name="connsiteX88" fmla="*/ 7157 w 10000"/>
                    <a:gd name="connsiteY88"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672 w 10000"/>
                    <a:gd name="connsiteY21" fmla="*/ 112 h 10382"/>
                    <a:gd name="connsiteX22" fmla="*/ 1482 w 10000"/>
                    <a:gd name="connsiteY22" fmla="*/ 0 h 10382"/>
                    <a:gd name="connsiteX23" fmla="*/ 1244 w 10000"/>
                    <a:gd name="connsiteY23" fmla="*/ 190 h 10382"/>
                    <a:gd name="connsiteX24" fmla="*/ 1184 w 10000"/>
                    <a:gd name="connsiteY24" fmla="*/ 357 h 10382"/>
                    <a:gd name="connsiteX25" fmla="*/ 1423 w 10000"/>
                    <a:gd name="connsiteY25" fmla="*/ 558 h 10382"/>
                    <a:gd name="connsiteX26" fmla="*/ 1230 w 10000"/>
                    <a:gd name="connsiteY26" fmla="*/ 760 h 10382"/>
                    <a:gd name="connsiteX27" fmla="*/ 1220 w 10000"/>
                    <a:gd name="connsiteY27" fmla="*/ 925 h 10382"/>
                    <a:gd name="connsiteX28" fmla="*/ 1351 w 10000"/>
                    <a:gd name="connsiteY28" fmla="*/ 1231 h 10382"/>
                    <a:gd name="connsiteX29" fmla="*/ 1895 w 10000"/>
                    <a:gd name="connsiteY29" fmla="*/ 1646 h 10382"/>
                    <a:gd name="connsiteX30" fmla="*/ 1673 w 10000"/>
                    <a:gd name="connsiteY30" fmla="*/ 1835 h 10382"/>
                    <a:gd name="connsiteX31" fmla="*/ 1673 w 10000"/>
                    <a:gd name="connsiteY31" fmla="*/ 2156 h 10382"/>
                    <a:gd name="connsiteX32" fmla="*/ 907 w 10000"/>
                    <a:gd name="connsiteY32" fmla="*/ 3231 h 10382"/>
                    <a:gd name="connsiteX33" fmla="*/ 323 w 10000"/>
                    <a:gd name="connsiteY33" fmla="*/ 3420 h 10382"/>
                    <a:gd name="connsiteX34" fmla="*/ 1028 w 10000"/>
                    <a:gd name="connsiteY34" fmla="*/ 4250 h 10382"/>
                    <a:gd name="connsiteX35" fmla="*/ 786 w 10000"/>
                    <a:gd name="connsiteY35" fmla="*/ 4495 h 10382"/>
                    <a:gd name="connsiteX36" fmla="*/ 0 w 10000"/>
                    <a:gd name="connsiteY36" fmla="*/ 4684 h 10382"/>
                    <a:gd name="connsiteX37" fmla="*/ 202 w 10000"/>
                    <a:gd name="connsiteY37" fmla="*/ 5024 h 10382"/>
                    <a:gd name="connsiteX38" fmla="*/ 665 w 10000"/>
                    <a:gd name="connsiteY38" fmla="*/ 5024 h 10382"/>
                    <a:gd name="connsiteX39" fmla="*/ 323 w 10000"/>
                    <a:gd name="connsiteY39" fmla="*/ 5212 h 10382"/>
                    <a:gd name="connsiteX40" fmla="*/ 786 w 10000"/>
                    <a:gd name="connsiteY40" fmla="*/ 5759 h 10382"/>
                    <a:gd name="connsiteX41" fmla="*/ 1109 w 10000"/>
                    <a:gd name="connsiteY41" fmla="*/ 5514 h 10382"/>
                    <a:gd name="connsiteX42" fmla="*/ 1431 w 10000"/>
                    <a:gd name="connsiteY42" fmla="*/ 5137 h 10382"/>
                    <a:gd name="connsiteX43" fmla="*/ 1552 w 10000"/>
                    <a:gd name="connsiteY43" fmla="*/ 5439 h 10382"/>
                    <a:gd name="connsiteX44" fmla="*/ 1794 w 10000"/>
                    <a:gd name="connsiteY44" fmla="*/ 5514 h 10382"/>
                    <a:gd name="connsiteX45" fmla="*/ 1794 w 10000"/>
                    <a:gd name="connsiteY45" fmla="*/ 7024 h 10382"/>
                    <a:gd name="connsiteX46" fmla="*/ 2339 w 10000"/>
                    <a:gd name="connsiteY46" fmla="*/ 7854 h 10382"/>
                    <a:gd name="connsiteX47" fmla="*/ 2581 w 10000"/>
                    <a:gd name="connsiteY47" fmla="*/ 8401 h 10382"/>
                    <a:gd name="connsiteX48" fmla="*/ 3488 w 10000"/>
                    <a:gd name="connsiteY48" fmla="*/ 10042 h 10382"/>
                    <a:gd name="connsiteX49" fmla="*/ 3810 w 10000"/>
                    <a:gd name="connsiteY49" fmla="*/ 10382 h 10382"/>
                    <a:gd name="connsiteX50" fmla="*/ 4375 w 10000"/>
                    <a:gd name="connsiteY50" fmla="*/ 9967 h 10382"/>
                    <a:gd name="connsiteX51" fmla="*/ 4254 w 10000"/>
                    <a:gd name="connsiteY51" fmla="*/ 9740 h 10382"/>
                    <a:gd name="connsiteX52" fmla="*/ 4456 w 10000"/>
                    <a:gd name="connsiteY52" fmla="*/ 9552 h 10382"/>
                    <a:gd name="connsiteX53" fmla="*/ 4456 w 10000"/>
                    <a:gd name="connsiteY53" fmla="*/ 9231 h 10382"/>
                    <a:gd name="connsiteX54" fmla="*/ 4375 w 10000"/>
                    <a:gd name="connsiteY54" fmla="*/ 9118 h 10382"/>
                    <a:gd name="connsiteX55" fmla="*/ 4718 w 10000"/>
                    <a:gd name="connsiteY55" fmla="*/ 8476 h 10382"/>
                    <a:gd name="connsiteX56" fmla="*/ 4597 w 10000"/>
                    <a:gd name="connsiteY56" fmla="*/ 8288 h 10382"/>
                    <a:gd name="connsiteX57" fmla="*/ 4597 w 10000"/>
                    <a:gd name="connsiteY57" fmla="*/ 7552 h 10382"/>
                    <a:gd name="connsiteX58" fmla="*/ 4919 w 10000"/>
                    <a:gd name="connsiteY58" fmla="*/ 7439 h 10382"/>
                    <a:gd name="connsiteX59" fmla="*/ 5806 w 10000"/>
                    <a:gd name="connsiteY59" fmla="*/ 6590 h 10382"/>
                    <a:gd name="connsiteX60" fmla="*/ 5806 w 10000"/>
                    <a:gd name="connsiteY60" fmla="*/ 6288 h 10382"/>
                    <a:gd name="connsiteX61" fmla="*/ 6714 w 10000"/>
                    <a:gd name="connsiteY61" fmla="*/ 5873 h 10382"/>
                    <a:gd name="connsiteX62" fmla="*/ 6593 w 10000"/>
                    <a:gd name="connsiteY62" fmla="*/ 5646 h 10382"/>
                    <a:gd name="connsiteX63" fmla="*/ 6956 w 10000"/>
                    <a:gd name="connsiteY63" fmla="*/ 5439 h 10382"/>
                    <a:gd name="connsiteX64" fmla="*/ 7500 w 10000"/>
                    <a:gd name="connsiteY64" fmla="*/ 5439 h 10382"/>
                    <a:gd name="connsiteX65" fmla="*/ 7379 w 10000"/>
                    <a:gd name="connsiteY65" fmla="*/ 4797 h 10382"/>
                    <a:gd name="connsiteX66" fmla="*/ 6956 w 10000"/>
                    <a:gd name="connsiteY66" fmla="*/ 4608 h 10382"/>
                    <a:gd name="connsiteX67" fmla="*/ 7157 w 10000"/>
                    <a:gd name="connsiteY67" fmla="*/ 4250 h 10382"/>
                    <a:gd name="connsiteX68" fmla="*/ 6956 w 10000"/>
                    <a:gd name="connsiteY68" fmla="*/ 4061 h 10382"/>
                    <a:gd name="connsiteX69" fmla="*/ 7036 w 10000"/>
                    <a:gd name="connsiteY69" fmla="*/ 3873 h 10382"/>
                    <a:gd name="connsiteX70" fmla="*/ 7379 w 10000"/>
                    <a:gd name="connsiteY70" fmla="*/ 3873 h 10382"/>
                    <a:gd name="connsiteX71" fmla="*/ 7621 w 10000"/>
                    <a:gd name="connsiteY71" fmla="*/ 4250 h 10382"/>
                    <a:gd name="connsiteX72" fmla="*/ 8387 w 10000"/>
                    <a:gd name="connsiteY72" fmla="*/ 4250 h 10382"/>
                    <a:gd name="connsiteX73" fmla="*/ 8185 w 10000"/>
                    <a:gd name="connsiteY73" fmla="*/ 4797 h 10382"/>
                    <a:gd name="connsiteX74" fmla="*/ 8387 w 10000"/>
                    <a:gd name="connsiteY74" fmla="*/ 4910 h 10382"/>
                    <a:gd name="connsiteX75" fmla="*/ 8508 w 10000"/>
                    <a:gd name="connsiteY75" fmla="*/ 4797 h 10382"/>
                    <a:gd name="connsiteX76" fmla="*/ 8730 w 10000"/>
                    <a:gd name="connsiteY76" fmla="*/ 5325 h 10382"/>
                    <a:gd name="connsiteX77" fmla="*/ 8972 w 10000"/>
                    <a:gd name="connsiteY77" fmla="*/ 4608 h 10382"/>
                    <a:gd name="connsiteX78" fmla="*/ 9294 w 10000"/>
                    <a:gd name="connsiteY78" fmla="*/ 4495 h 10382"/>
                    <a:gd name="connsiteX79" fmla="*/ 9415 w 10000"/>
                    <a:gd name="connsiteY79" fmla="*/ 3646 h 10382"/>
                    <a:gd name="connsiteX80" fmla="*/ 9738 w 10000"/>
                    <a:gd name="connsiteY80" fmla="*/ 3420 h 10382"/>
                    <a:gd name="connsiteX81" fmla="*/ 10000 w 10000"/>
                    <a:gd name="connsiteY81" fmla="*/ 2986 h 10382"/>
                    <a:gd name="connsiteX82" fmla="*/ 9617 w 10000"/>
                    <a:gd name="connsiteY82" fmla="*/ 2910 h 10382"/>
                    <a:gd name="connsiteX83" fmla="*/ 9294 w 10000"/>
                    <a:gd name="connsiteY83" fmla="*/ 2608 h 10382"/>
                    <a:gd name="connsiteX84" fmla="*/ 8065 w 10000"/>
                    <a:gd name="connsiteY84" fmla="*/ 3231 h 10382"/>
                    <a:gd name="connsiteX85" fmla="*/ 7823 w 10000"/>
                    <a:gd name="connsiteY85" fmla="*/ 3646 h 10382"/>
                    <a:gd name="connsiteX86" fmla="*/ 7621 w 10000"/>
                    <a:gd name="connsiteY86" fmla="*/ 3759 h 10382"/>
                    <a:gd name="connsiteX87" fmla="*/ 7500 w 10000"/>
                    <a:gd name="connsiteY87" fmla="*/ 3533 h 10382"/>
                    <a:gd name="connsiteX88" fmla="*/ 7036 w 10000"/>
                    <a:gd name="connsiteY88" fmla="*/ 3420 h 10382"/>
                    <a:gd name="connsiteX89" fmla="*/ 7157 w 10000"/>
                    <a:gd name="connsiteY89"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874 w 10000"/>
                    <a:gd name="connsiteY21" fmla="*/ 168 h 10382"/>
                    <a:gd name="connsiteX22" fmla="*/ 1482 w 10000"/>
                    <a:gd name="connsiteY22" fmla="*/ 0 h 10382"/>
                    <a:gd name="connsiteX23" fmla="*/ 1244 w 10000"/>
                    <a:gd name="connsiteY23" fmla="*/ 190 h 10382"/>
                    <a:gd name="connsiteX24" fmla="*/ 1184 w 10000"/>
                    <a:gd name="connsiteY24" fmla="*/ 357 h 10382"/>
                    <a:gd name="connsiteX25" fmla="*/ 1423 w 10000"/>
                    <a:gd name="connsiteY25" fmla="*/ 558 h 10382"/>
                    <a:gd name="connsiteX26" fmla="*/ 1230 w 10000"/>
                    <a:gd name="connsiteY26" fmla="*/ 760 h 10382"/>
                    <a:gd name="connsiteX27" fmla="*/ 1220 w 10000"/>
                    <a:gd name="connsiteY27" fmla="*/ 925 h 10382"/>
                    <a:gd name="connsiteX28" fmla="*/ 1351 w 10000"/>
                    <a:gd name="connsiteY28" fmla="*/ 1231 h 10382"/>
                    <a:gd name="connsiteX29" fmla="*/ 1895 w 10000"/>
                    <a:gd name="connsiteY29" fmla="*/ 1646 h 10382"/>
                    <a:gd name="connsiteX30" fmla="*/ 1673 w 10000"/>
                    <a:gd name="connsiteY30" fmla="*/ 1835 h 10382"/>
                    <a:gd name="connsiteX31" fmla="*/ 1673 w 10000"/>
                    <a:gd name="connsiteY31" fmla="*/ 2156 h 10382"/>
                    <a:gd name="connsiteX32" fmla="*/ 907 w 10000"/>
                    <a:gd name="connsiteY32" fmla="*/ 3231 h 10382"/>
                    <a:gd name="connsiteX33" fmla="*/ 323 w 10000"/>
                    <a:gd name="connsiteY33" fmla="*/ 3420 h 10382"/>
                    <a:gd name="connsiteX34" fmla="*/ 1028 w 10000"/>
                    <a:gd name="connsiteY34" fmla="*/ 4250 h 10382"/>
                    <a:gd name="connsiteX35" fmla="*/ 786 w 10000"/>
                    <a:gd name="connsiteY35" fmla="*/ 4495 h 10382"/>
                    <a:gd name="connsiteX36" fmla="*/ 0 w 10000"/>
                    <a:gd name="connsiteY36" fmla="*/ 4684 h 10382"/>
                    <a:gd name="connsiteX37" fmla="*/ 202 w 10000"/>
                    <a:gd name="connsiteY37" fmla="*/ 5024 h 10382"/>
                    <a:gd name="connsiteX38" fmla="*/ 665 w 10000"/>
                    <a:gd name="connsiteY38" fmla="*/ 5024 h 10382"/>
                    <a:gd name="connsiteX39" fmla="*/ 323 w 10000"/>
                    <a:gd name="connsiteY39" fmla="*/ 5212 h 10382"/>
                    <a:gd name="connsiteX40" fmla="*/ 786 w 10000"/>
                    <a:gd name="connsiteY40" fmla="*/ 5759 h 10382"/>
                    <a:gd name="connsiteX41" fmla="*/ 1109 w 10000"/>
                    <a:gd name="connsiteY41" fmla="*/ 5514 h 10382"/>
                    <a:gd name="connsiteX42" fmla="*/ 1431 w 10000"/>
                    <a:gd name="connsiteY42" fmla="*/ 5137 h 10382"/>
                    <a:gd name="connsiteX43" fmla="*/ 1552 w 10000"/>
                    <a:gd name="connsiteY43" fmla="*/ 5439 h 10382"/>
                    <a:gd name="connsiteX44" fmla="*/ 1794 w 10000"/>
                    <a:gd name="connsiteY44" fmla="*/ 5514 h 10382"/>
                    <a:gd name="connsiteX45" fmla="*/ 1794 w 10000"/>
                    <a:gd name="connsiteY45" fmla="*/ 7024 h 10382"/>
                    <a:gd name="connsiteX46" fmla="*/ 2339 w 10000"/>
                    <a:gd name="connsiteY46" fmla="*/ 7854 h 10382"/>
                    <a:gd name="connsiteX47" fmla="*/ 2581 w 10000"/>
                    <a:gd name="connsiteY47" fmla="*/ 8401 h 10382"/>
                    <a:gd name="connsiteX48" fmla="*/ 3488 w 10000"/>
                    <a:gd name="connsiteY48" fmla="*/ 10042 h 10382"/>
                    <a:gd name="connsiteX49" fmla="*/ 3810 w 10000"/>
                    <a:gd name="connsiteY49" fmla="*/ 10382 h 10382"/>
                    <a:gd name="connsiteX50" fmla="*/ 4375 w 10000"/>
                    <a:gd name="connsiteY50" fmla="*/ 9967 h 10382"/>
                    <a:gd name="connsiteX51" fmla="*/ 4254 w 10000"/>
                    <a:gd name="connsiteY51" fmla="*/ 9740 h 10382"/>
                    <a:gd name="connsiteX52" fmla="*/ 4456 w 10000"/>
                    <a:gd name="connsiteY52" fmla="*/ 9552 h 10382"/>
                    <a:gd name="connsiteX53" fmla="*/ 4456 w 10000"/>
                    <a:gd name="connsiteY53" fmla="*/ 9231 h 10382"/>
                    <a:gd name="connsiteX54" fmla="*/ 4375 w 10000"/>
                    <a:gd name="connsiteY54" fmla="*/ 9118 h 10382"/>
                    <a:gd name="connsiteX55" fmla="*/ 4718 w 10000"/>
                    <a:gd name="connsiteY55" fmla="*/ 8476 h 10382"/>
                    <a:gd name="connsiteX56" fmla="*/ 4597 w 10000"/>
                    <a:gd name="connsiteY56" fmla="*/ 8288 h 10382"/>
                    <a:gd name="connsiteX57" fmla="*/ 4597 w 10000"/>
                    <a:gd name="connsiteY57" fmla="*/ 7552 h 10382"/>
                    <a:gd name="connsiteX58" fmla="*/ 4919 w 10000"/>
                    <a:gd name="connsiteY58" fmla="*/ 7439 h 10382"/>
                    <a:gd name="connsiteX59" fmla="*/ 5806 w 10000"/>
                    <a:gd name="connsiteY59" fmla="*/ 6590 h 10382"/>
                    <a:gd name="connsiteX60" fmla="*/ 5806 w 10000"/>
                    <a:gd name="connsiteY60" fmla="*/ 6288 h 10382"/>
                    <a:gd name="connsiteX61" fmla="*/ 6714 w 10000"/>
                    <a:gd name="connsiteY61" fmla="*/ 5873 h 10382"/>
                    <a:gd name="connsiteX62" fmla="*/ 6593 w 10000"/>
                    <a:gd name="connsiteY62" fmla="*/ 5646 h 10382"/>
                    <a:gd name="connsiteX63" fmla="*/ 6956 w 10000"/>
                    <a:gd name="connsiteY63" fmla="*/ 5439 h 10382"/>
                    <a:gd name="connsiteX64" fmla="*/ 7500 w 10000"/>
                    <a:gd name="connsiteY64" fmla="*/ 5439 h 10382"/>
                    <a:gd name="connsiteX65" fmla="*/ 7379 w 10000"/>
                    <a:gd name="connsiteY65" fmla="*/ 4797 h 10382"/>
                    <a:gd name="connsiteX66" fmla="*/ 6956 w 10000"/>
                    <a:gd name="connsiteY66" fmla="*/ 4608 h 10382"/>
                    <a:gd name="connsiteX67" fmla="*/ 7157 w 10000"/>
                    <a:gd name="connsiteY67" fmla="*/ 4250 h 10382"/>
                    <a:gd name="connsiteX68" fmla="*/ 6956 w 10000"/>
                    <a:gd name="connsiteY68" fmla="*/ 4061 h 10382"/>
                    <a:gd name="connsiteX69" fmla="*/ 7036 w 10000"/>
                    <a:gd name="connsiteY69" fmla="*/ 3873 h 10382"/>
                    <a:gd name="connsiteX70" fmla="*/ 7379 w 10000"/>
                    <a:gd name="connsiteY70" fmla="*/ 3873 h 10382"/>
                    <a:gd name="connsiteX71" fmla="*/ 7621 w 10000"/>
                    <a:gd name="connsiteY71" fmla="*/ 4250 h 10382"/>
                    <a:gd name="connsiteX72" fmla="*/ 8387 w 10000"/>
                    <a:gd name="connsiteY72" fmla="*/ 4250 h 10382"/>
                    <a:gd name="connsiteX73" fmla="*/ 8185 w 10000"/>
                    <a:gd name="connsiteY73" fmla="*/ 4797 h 10382"/>
                    <a:gd name="connsiteX74" fmla="*/ 8387 w 10000"/>
                    <a:gd name="connsiteY74" fmla="*/ 4910 h 10382"/>
                    <a:gd name="connsiteX75" fmla="*/ 8508 w 10000"/>
                    <a:gd name="connsiteY75" fmla="*/ 4797 h 10382"/>
                    <a:gd name="connsiteX76" fmla="*/ 8730 w 10000"/>
                    <a:gd name="connsiteY76" fmla="*/ 5325 h 10382"/>
                    <a:gd name="connsiteX77" fmla="*/ 8972 w 10000"/>
                    <a:gd name="connsiteY77" fmla="*/ 4608 h 10382"/>
                    <a:gd name="connsiteX78" fmla="*/ 9294 w 10000"/>
                    <a:gd name="connsiteY78" fmla="*/ 4495 h 10382"/>
                    <a:gd name="connsiteX79" fmla="*/ 9415 w 10000"/>
                    <a:gd name="connsiteY79" fmla="*/ 3646 h 10382"/>
                    <a:gd name="connsiteX80" fmla="*/ 9738 w 10000"/>
                    <a:gd name="connsiteY80" fmla="*/ 3420 h 10382"/>
                    <a:gd name="connsiteX81" fmla="*/ 10000 w 10000"/>
                    <a:gd name="connsiteY81" fmla="*/ 2986 h 10382"/>
                    <a:gd name="connsiteX82" fmla="*/ 9617 w 10000"/>
                    <a:gd name="connsiteY82" fmla="*/ 2910 h 10382"/>
                    <a:gd name="connsiteX83" fmla="*/ 9294 w 10000"/>
                    <a:gd name="connsiteY83" fmla="*/ 2608 h 10382"/>
                    <a:gd name="connsiteX84" fmla="*/ 8065 w 10000"/>
                    <a:gd name="connsiteY84" fmla="*/ 3231 h 10382"/>
                    <a:gd name="connsiteX85" fmla="*/ 7823 w 10000"/>
                    <a:gd name="connsiteY85" fmla="*/ 3646 h 10382"/>
                    <a:gd name="connsiteX86" fmla="*/ 7621 w 10000"/>
                    <a:gd name="connsiteY86" fmla="*/ 3759 h 10382"/>
                    <a:gd name="connsiteX87" fmla="*/ 7500 w 10000"/>
                    <a:gd name="connsiteY87" fmla="*/ 3533 h 10382"/>
                    <a:gd name="connsiteX88" fmla="*/ 7036 w 10000"/>
                    <a:gd name="connsiteY88" fmla="*/ 3420 h 10382"/>
                    <a:gd name="connsiteX89" fmla="*/ 7157 w 10000"/>
                    <a:gd name="connsiteY89"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2112 w 10000"/>
                    <a:gd name="connsiteY20" fmla="*/ 357 h 10382"/>
                    <a:gd name="connsiteX21" fmla="*/ 1946 w 10000"/>
                    <a:gd name="connsiteY21" fmla="*/ 257 h 10382"/>
                    <a:gd name="connsiteX22" fmla="*/ 1874 w 10000"/>
                    <a:gd name="connsiteY22" fmla="*/ 168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2600 w 10000"/>
                    <a:gd name="connsiteY20" fmla="*/ 1 h 10382"/>
                    <a:gd name="connsiteX21" fmla="*/ 1946 w 10000"/>
                    <a:gd name="connsiteY21" fmla="*/ 257 h 10382"/>
                    <a:gd name="connsiteX22" fmla="*/ 1874 w 10000"/>
                    <a:gd name="connsiteY22" fmla="*/ 168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2148 w 10000"/>
                    <a:gd name="connsiteY20" fmla="*/ 291 h 10382"/>
                    <a:gd name="connsiteX21" fmla="*/ 1946 w 10000"/>
                    <a:gd name="connsiteY21" fmla="*/ 257 h 10382"/>
                    <a:gd name="connsiteX22" fmla="*/ 1874 w 10000"/>
                    <a:gd name="connsiteY22" fmla="*/ 168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520 h 10671"/>
                    <a:gd name="connsiteX1" fmla="*/ 6956 w 10000"/>
                    <a:gd name="connsiteY1" fmla="*/ 3388 h 10671"/>
                    <a:gd name="connsiteX2" fmla="*/ 6714 w 10000"/>
                    <a:gd name="connsiteY2" fmla="*/ 3388 h 10671"/>
                    <a:gd name="connsiteX3" fmla="*/ 6714 w 10000"/>
                    <a:gd name="connsiteY3" fmla="*/ 3633 h 10671"/>
                    <a:gd name="connsiteX4" fmla="*/ 6835 w 10000"/>
                    <a:gd name="connsiteY4" fmla="*/ 4162 h 10671"/>
                    <a:gd name="connsiteX5" fmla="*/ 5806 w 10000"/>
                    <a:gd name="connsiteY5" fmla="*/ 3935 h 10671"/>
                    <a:gd name="connsiteX6" fmla="*/ 5484 w 10000"/>
                    <a:gd name="connsiteY6" fmla="*/ 3633 h 10671"/>
                    <a:gd name="connsiteX7" fmla="*/ 4919 w 10000"/>
                    <a:gd name="connsiteY7" fmla="*/ 3709 h 10671"/>
                    <a:gd name="connsiteX8" fmla="*/ 4839 w 10000"/>
                    <a:gd name="connsiteY8" fmla="*/ 3520 h 10671"/>
                    <a:gd name="connsiteX9" fmla="*/ 3891 w 10000"/>
                    <a:gd name="connsiteY9" fmla="*/ 3275 h 10671"/>
                    <a:gd name="connsiteX10" fmla="*/ 3891 w 10000"/>
                    <a:gd name="connsiteY10" fmla="*/ 2558 h 10671"/>
                    <a:gd name="connsiteX11" fmla="*/ 3246 w 10000"/>
                    <a:gd name="connsiteY11" fmla="*/ 2124 h 10671"/>
                    <a:gd name="connsiteX12" fmla="*/ 3024 w 10000"/>
                    <a:gd name="connsiteY12" fmla="*/ 1935 h 10671"/>
                    <a:gd name="connsiteX13" fmla="*/ 3367 w 10000"/>
                    <a:gd name="connsiteY13" fmla="*/ 1709 h 10671"/>
                    <a:gd name="connsiteX14" fmla="*/ 3105 w 10000"/>
                    <a:gd name="connsiteY14" fmla="*/ 1407 h 10671"/>
                    <a:gd name="connsiteX15" fmla="*/ 3367 w 10000"/>
                    <a:gd name="connsiteY15" fmla="*/ 1180 h 10671"/>
                    <a:gd name="connsiteX16" fmla="*/ 3517 w 10000"/>
                    <a:gd name="connsiteY16" fmla="*/ 1125 h 10671"/>
                    <a:gd name="connsiteX17" fmla="*/ 3527 w 10000"/>
                    <a:gd name="connsiteY17" fmla="*/ 869 h 10671"/>
                    <a:gd name="connsiteX18" fmla="*/ 3343 w 10000"/>
                    <a:gd name="connsiteY18" fmla="*/ 593 h 10671"/>
                    <a:gd name="connsiteX19" fmla="*/ 2278 w 10000"/>
                    <a:gd name="connsiteY19" fmla="*/ 739 h 10671"/>
                    <a:gd name="connsiteX20" fmla="*/ 2148 w 10000"/>
                    <a:gd name="connsiteY20" fmla="*/ 580 h 10671"/>
                    <a:gd name="connsiteX21" fmla="*/ 1946 w 10000"/>
                    <a:gd name="connsiteY21" fmla="*/ 546 h 10671"/>
                    <a:gd name="connsiteX22" fmla="*/ 1791 w 10000"/>
                    <a:gd name="connsiteY22" fmla="*/ 0 h 10671"/>
                    <a:gd name="connsiteX23" fmla="*/ 1482 w 10000"/>
                    <a:gd name="connsiteY23" fmla="*/ 289 h 10671"/>
                    <a:gd name="connsiteX24" fmla="*/ 1244 w 10000"/>
                    <a:gd name="connsiteY24" fmla="*/ 479 h 10671"/>
                    <a:gd name="connsiteX25" fmla="*/ 1184 w 10000"/>
                    <a:gd name="connsiteY25" fmla="*/ 646 h 10671"/>
                    <a:gd name="connsiteX26" fmla="*/ 1423 w 10000"/>
                    <a:gd name="connsiteY26" fmla="*/ 847 h 10671"/>
                    <a:gd name="connsiteX27" fmla="*/ 1230 w 10000"/>
                    <a:gd name="connsiteY27" fmla="*/ 1049 h 10671"/>
                    <a:gd name="connsiteX28" fmla="*/ 1220 w 10000"/>
                    <a:gd name="connsiteY28" fmla="*/ 1214 h 10671"/>
                    <a:gd name="connsiteX29" fmla="*/ 1351 w 10000"/>
                    <a:gd name="connsiteY29" fmla="*/ 1520 h 10671"/>
                    <a:gd name="connsiteX30" fmla="*/ 1895 w 10000"/>
                    <a:gd name="connsiteY30" fmla="*/ 1935 h 10671"/>
                    <a:gd name="connsiteX31" fmla="*/ 1673 w 10000"/>
                    <a:gd name="connsiteY31" fmla="*/ 2124 h 10671"/>
                    <a:gd name="connsiteX32" fmla="*/ 1673 w 10000"/>
                    <a:gd name="connsiteY32" fmla="*/ 2445 h 10671"/>
                    <a:gd name="connsiteX33" fmla="*/ 907 w 10000"/>
                    <a:gd name="connsiteY33" fmla="*/ 3520 h 10671"/>
                    <a:gd name="connsiteX34" fmla="*/ 323 w 10000"/>
                    <a:gd name="connsiteY34" fmla="*/ 3709 h 10671"/>
                    <a:gd name="connsiteX35" fmla="*/ 1028 w 10000"/>
                    <a:gd name="connsiteY35" fmla="*/ 4539 h 10671"/>
                    <a:gd name="connsiteX36" fmla="*/ 786 w 10000"/>
                    <a:gd name="connsiteY36" fmla="*/ 4784 h 10671"/>
                    <a:gd name="connsiteX37" fmla="*/ 0 w 10000"/>
                    <a:gd name="connsiteY37" fmla="*/ 4973 h 10671"/>
                    <a:gd name="connsiteX38" fmla="*/ 202 w 10000"/>
                    <a:gd name="connsiteY38" fmla="*/ 5313 h 10671"/>
                    <a:gd name="connsiteX39" fmla="*/ 665 w 10000"/>
                    <a:gd name="connsiteY39" fmla="*/ 5313 h 10671"/>
                    <a:gd name="connsiteX40" fmla="*/ 323 w 10000"/>
                    <a:gd name="connsiteY40" fmla="*/ 5501 h 10671"/>
                    <a:gd name="connsiteX41" fmla="*/ 786 w 10000"/>
                    <a:gd name="connsiteY41" fmla="*/ 6048 h 10671"/>
                    <a:gd name="connsiteX42" fmla="*/ 1109 w 10000"/>
                    <a:gd name="connsiteY42" fmla="*/ 5803 h 10671"/>
                    <a:gd name="connsiteX43" fmla="*/ 1431 w 10000"/>
                    <a:gd name="connsiteY43" fmla="*/ 5426 h 10671"/>
                    <a:gd name="connsiteX44" fmla="*/ 1552 w 10000"/>
                    <a:gd name="connsiteY44" fmla="*/ 5728 h 10671"/>
                    <a:gd name="connsiteX45" fmla="*/ 1794 w 10000"/>
                    <a:gd name="connsiteY45" fmla="*/ 5803 h 10671"/>
                    <a:gd name="connsiteX46" fmla="*/ 1794 w 10000"/>
                    <a:gd name="connsiteY46" fmla="*/ 7313 h 10671"/>
                    <a:gd name="connsiteX47" fmla="*/ 2339 w 10000"/>
                    <a:gd name="connsiteY47" fmla="*/ 8143 h 10671"/>
                    <a:gd name="connsiteX48" fmla="*/ 2581 w 10000"/>
                    <a:gd name="connsiteY48" fmla="*/ 8690 h 10671"/>
                    <a:gd name="connsiteX49" fmla="*/ 3488 w 10000"/>
                    <a:gd name="connsiteY49" fmla="*/ 10331 h 10671"/>
                    <a:gd name="connsiteX50" fmla="*/ 3810 w 10000"/>
                    <a:gd name="connsiteY50" fmla="*/ 10671 h 10671"/>
                    <a:gd name="connsiteX51" fmla="*/ 4375 w 10000"/>
                    <a:gd name="connsiteY51" fmla="*/ 10256 h 10671"/>
                    <a:gd name="connsiteX52" fmla="*/ 4254 w 10000"/>
                    <a:gd name="connsiteY52" fmla="*/ 10029 h 10671"/>
                    <a:gd name="connsiteX53" fmla="*/ 4456 w 10000"/>
                    <a:gd name="connsiteY53" fmla="*/ 9841 h 10671"/>
                    <a:gd name="connsiteX54" fmla="*/ 4456 w 10000"/>
                    <a:gd name="connsiteY54" fmla="*/ 9520 h 10671"/>
                    <a:gd name="connsiteX55" fmla="*/ 4375 w 10000"/>
                    <a:gd name="connsiteY55" fmla="*/ 9407 h 10671"/>
                    <a:gd name="connsiteX56" fmla="*/ 4718 w 10000"/>
                    <a:gd name="connsiteY56" fmla="*/ 8765 h 10671"/>
                    <a:gd name="connsiteX57" fmla="*/ 4597 w 10000"/>
                    <a:gd name="connsiteY57" fmla="*/ 8577 h 10671"/>
                    <a:gd name="connsiteX58" fmla="*/ 4597 w 10000"/>
                    <a:gd name="connsiteY58" fmla="*/ 7841 h 10671"/>
                    <a:gd name="connsiteX59" fmla="*/ 4919 w 10000"/>
                    <a:gd name="connsiteY59" fmla="*/ 7728 h 10671"/>
                    <a:gd name="connsiteX60" fmla="*/ 5806 w 10000"/>
                    <a:gd name="connsiteY60" fmla="*/ 6879 h 10671"/>
                    <a:gd name="connsiteX61" fmla="*/ 5806 w 10000"/>
                    <a:gd name="connsiteY61" fmla="*/ 6577 h 10671"/>
                    <a:gd name="connsiteX62" fmla="*/ 6714 w 10000"/>
                    <a:gd name="connsiteY62" fmla="*/ 6162 h 10671"/>
                    <a:gd name="connsiteX63" fmla="*/ 6593 w 10000"/>
                    <a:gd name="connsiteY63" fmla="*/ 5935 h 10671"/>
                    <a:gd name="connsiteX64" fmla="*/ 6956 w 10000"/>
                    <a:gd name="connsiteY64" fmla="*/ 5728 h 10671"/>
                    <a:gd name="connsiteX65" fmla="*/ 7500 w 10000"/>
                    <a:gd name="connsiteY65" fmla="*/ 5728 h 10671"/>
                    <a:gd name="connsiteX66" fmla="*/ 7379 w 10000"/>
                    <a:gd name="connsiteY66" fmla="*/ 5086 h 10671"/>
                    <a:gd name="connsiteX67" fmla="*/ 6956 w 10000"/>
                    <a:gd name="connsiteY67" fmla="*/ 4897 h 10671"/>
                    <a:gd name="connsiteX68" fmla="*/ 7157 w 10000"/>
                    <a:gd name="connsiteY68" fmla="*/ 4539 h 10671"/>
                    <a:gd name="connsiteX69" fmla="*/ 6956 w 10000"/>
                    <a:gd name="connsiteY69" fmla="*/ 4350 h 10671"/>
                    <a:gd name="connsiteX70" fmla="*/ 7036 w 10000"/>
                    <a:gd name="connsiteY70" fmla="*/ 4162 h 10671"/>
                    <a:gd name="connsiteX71" fmla="*/ 7379 w 10000"/>
                    <a:gd name="connsiteY71" fmla="*/ 4162 h 10671"/>
                    <a:gd name="connsiteX72" fmla="*/ 7621 w 10000"/>
                    <a:gd name="connsiteY72" fmla="*/ 4539 h 10671"/>
                    <a:gd name="connsiteX73" fmla="*/ 8387 w 10000"/>
                    <a:gd name="connsiteY73" fmla="*/ 4539 h 10671"/>
                    <a:gd name="connsiteX74" fmla="*/ 8185 w 10000"/>
                    <a:gd name="connsiteY74" fmla="*/ 5086 h 10671"/>
                    <a:gd name="connsiteX75" fmla="*/ 8387 w 10000"/>
                    <a:gd name="connsiteY75" fmla="*/ 5199 h 10671"/>
                    <a:gd name="connsiteX76" fmla="*/ 8508 w 10000"/>
                    <a:gd name="connsiteY76" fmla="*/ 5086 h 10671"/>
                    <a:gd name="connsiteX77" fmla="*/ 8730 w 10000"/>
                    <a:gd name="connsiteY77" fmla="*/ 5614 h 10671"/>
                    <a:gd name="connsiteX78" fmla="*/ 8972 w 10000"/>
                    <a:gd name="connsiteY78" fmla="*/ 4897 h 10671"/>
                    <a:gd name="connsiteX79" fmla="*/ 9294 w 10000"/>
                    <a:gd name="connsiteY79" fmla="*/ 4784 h 10671"/>
                    <a:gd name="connsiteX80" fmla="*/ 9415 w 10000"/>
                    <a:gd name="connsiteY80" fmla="*/ 3935 h 10671"/>
                    <a:gd name="connsiteX81" fmla="*/ 9738 w 10000"/>
                    <a:gd name="connsiteY81" fmla="*/ 3709 h 10671"/>
                    <a:gd name="connsiteX82" fmla="*/ 10000 w 10000"/>
                    <a:gd name="connsiteY82" fmla="*/ 3275 h 10671"/>
                    <a:gd name="connsiteX83" fmla="*/ 9617 w 10000"/>
                    <a:gd name="connsiteY83" fmla="*/ 3199 h 10671"/>
                    <a:gd name="connsiteX84" fmla="*/ 9294 w 10000"/>
                    <a:gd name="connsiteY84" fmla="*/ 2897 h 10671"/>
                    <a:gd name="connsiteX85" fmla="*/ 8065 w 10000"/>
                    <a:gd name="connsiteY85" fmla="*/ 3520 h 10671"/>
                    <a:gd name="connsiteX86" fmla="*/ 7823 w 10000"/>
                    <a:gd name="connsiteY86" fmla="*/ 3935 h 10671"/>
                    <a:gd name="connsiteX87" fmla="*/ 7621 w 10000"/>
                    <a:gd name="connsiteY87" fmla="*/ 4048 h 10671"/>
                    <a:gd name="connsiteX88" fmla="*/ 7500 w 10000"/>
                    <a:gd name="connsiteY88" fmla="*/ 3822 h 10671"/>
                    <a:gd name="connsiteX89" fmla="*/ 7036 w 10000"/>
                    <a:gd name="connsiteY89" fmla="*/ 3709 h 10671"/>
                    <a:gd name="connsiteX90" fmla="*/ 7157 w 10000"/>
                    <a:gd name="connsiteY90" fmla="*/ 3520 h 10671"/>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2148 w 10000"/>
                    <a:gd name="connsiteY20" fmla="*/ 291 h 10382"/>
                    <a:gd name="connsiteX21" fmla="*/ 1946 w 10000"/>
                    <a:gd name="connsiteY21" fmla="*/ 257 h 10382"/>
                    <a:gd name="connsiteX22" fmla="*/ 1839 w 10000"/>
                    <a:gd name="connsiteY22" fmla="*/ 101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146 w 10000"/>
                    <a:gd name="connsiteY17" fmla="*/ 658 h 10382"/>
                    <a:gd name="connsiteX18" fmla="*/ 3343 w 10000"/>
                    <a:gd name="connsiteY18" fmla="*/ 304 h 10382"/>
                    <a:gd name="connsiteX19" fmla="*/ 2278 w 10000"/>
                    <a:gd name="connsiteY19" fmla="*/ 450 h 10382"/>
                    <a:gd name="connsiteX20" fmla="*/ 2148 w 10000"/>
                    <a:gd name="connsiteY20" fmla="*/ 291 h 10382"/>
                    <a:gd name="connsiteX21" fmla="*/ 1946 w 10000"/>
                    <a:gd name="connsiteY21" fmla="*/ 257 h 10382"/>
                    <a:gd name="connsiteX22" fmla="*/ 1839 w 10000"/>
                    <a:gd name="connsiteY22" fmla="*/ 101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491 w 10000"/>
                    <a:gd name="connsiteY17" fmla="*/ 591 h 10382"/>
                    <a:gd name="connsiteX18" fmla="*/ 3343 w 10000"/>
                    <a:gd name="connsiteY18" fmla="*/ 304 h 10382"/>
                    <a:gd name="connsiteX19" fmla="*/ 2278 w 10000"/>
                    <a:gd name="connsiteY19" fmla="*/ 450 h 10382"/>
                    <a:gd name="connsiteX20" fmla="*/ 2148 w 10000"/>
                    <a:gd name="connsiteY20" fmla="*/ 291 h 10382"/>
                    <a:gd name="connsiteX21" fmla="*/ 1946 w 10000"/>
                    <a:gd name="connsiteY21" fmla="*/ 257 h 10382"/>
                    <a:gd name="connsiteX22" fmla="*/ 1839 w 10000"/>
                    <a:gd name="connsiteY22" fmla="*/ 101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05 w 10000"/>
                    <a:gd name="connsiteY17" fmla="*/ 714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20 w 10000"/>
                    <a:gd name="connsiteY29" fmla="*/ 925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4552 w 10000"/>
                    <a:gd name="connsiteY17" fmla="*/ 647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20 w 10000"/>
                    <a:gd name="connsiteY29" fmla="*/ 925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124 w 10000"/>
                    <a:gd name="connsiteY17" fmla="*/ 758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20 w 10000"/>
                    <a:gd name="connsiteY29" fmla="*/ 925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20 w 10000"/>
                    <a:gd name="connsiteY29" fmla="*/ 925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768 w 10000"/>
                    <a:gd name="connsiteY29" fmla="*/ 1237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768 w 10000"/>
                    <a:gd name="connsiteY29" fmla="*/ 1237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875 w 10000"/>
                    <a:gd name="connsiteY29" fmla="*/ 959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09 w 10000"/>
                    <a:gd name="connsiteY29" fmla="*/ 970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09 w 10000"/>
                    <a:gd name="connsiteY29" fmla="*/ 970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88 w 10000"/>
                    <a:gd name="connsiteY16" fmla="*/ 959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09 w 10000"/>
                    <a:gd name="connsiteY29" fmla="*/ 970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88 w 10000"/>
                    <a:gd name="connsiteY16" fmla="*/ 959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09 w 10000"/>
                    <a:gd name="connsiteY29" fmla="*/ 970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40 w 10000"/>
                    <a:gd name="connsiteY16" fmla="*/ 870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09 w 10000"/>
                    <a:gd name="connsiteY29" fmla="*/ 970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40 w 10000"/>
                    <a:gd name="connsiteY16" fmla="*/ 870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40 w 10000"/>
                    <a:gd name="connsiteY16" fmla="*/ 870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0000" h="10382">
                      <a:moveTo>
                        <a:pt x="7157" y="3231"/>
                      </a:moveTo>
                      <a:lnTo>
                        <a:pt x="6956" y="3099"/>
                      </a:lnTo>
                      <a:lnTo>
                        <a:pt x="6714" y="3099"/>
                      </a:lnTo>
                      <a:lnTo>
                        <a:pt x="6714" y="3344"/>
                      </a:lnTo>
                      <a:cubicBezTo>
                        <a:pt x="6754" y="3520"/>
                        <a:pt x="6795" y="3697"/>
                        <a:pt x="6835" y="3873"/>
                      </a:cubicBezTo>
                      <a:lnTo>
                        <a:pt x="5806" y="3646"/>
                      </a:lnTo>
                      <a:lnTo>
                        <a:pt x="5484" y="3344"/>
                      </a:lnTo>
                      <a:lnTo>
                        <a:pt x="4919" y="3420"/>
                      </a:lnTo>
                      <a:cubicBezTo>
                        <a:pt x="4892" y="3357"/>
                        <a:pt x="4866" y="3294"/>
                        <a:pt x="4839" y="3231"/>
                      </a:cubicBezTo>
                      <a:lnTo>
                        <a:pt x="3891" y="2986"/>
                      </a:lnTo>
                      <a:lnTo>
                        <a:pt x="3891" y="2269"/>
                      </a:lnTo>
                      <a:lnTo>
                        <a:pt x="3246" y="1835"/>
                      </a:lnTo>
                      <a:lnTo>
                        <a:pt x="3024" y="1646"/>
                      </a:lnTo>
                      <a:lnTo>
                        <a:pt x="3367" y="1420"/>
                      </a:lnTo>
                      <a:lnTo>
                        <a:pt x="3105" y="1118"/>
                      </a:lnTo>
                      <a:lnTo>
                        <a:pt x="3367" y="891"/>
                      </a:lnTo>
                      <a:lnTo>
                        <a:pt x="3540" y="870"/>
                      </a:lnTo>
                      <a:cubicBezTo>
                        <a:pt x="3544" y="822"/>
                        <a:pt x="3548" y="773"/>
                        <a:pt x="3552" y="725"/>
                      </a:cubicBezTo>
                      <a:cubicBezTo>
                        <a:pt x="3536" y="664"/>
                        <a:pt x="3518" y="659"/>
                        <a:pt x="3491" y="591"/>
                      </a:cubicBezTo>
                      <a:cubicBezTo>
                        <a:pt x="3442" y="495"/>
                        <a:pt x="3392" y="400"/>
                        <a:pt x="3343" y="304"/>
                      </a:cubicBezTo>
                      <a:lnTo>
                        <a:pt x="2278" y="450"/>
                      </a:lnTo>
                      <a:lnTo>
                        <a:pt x="2148" y="291"/>
                      </a:lnTo>
                      <a:lnTo>
                        <a:pt x="1946" y="257"/>
                      </a:lnTo>
                      <a:cubicBezTo>
                        <a:pt x="1922" y="227"/>
                        <a:pt x="1863" y="131"/>
                        <a:pt x="1839" y="101"/>
                      </a:cubicBezTo>
                      <a:lnTo>
                        <a:pt x="1482" y="0"/>
                      </a:lnTo>
                      <a:lnTo>
                        <a:pt x="1244" y="190"/>
                      </a:lnTo>
                      <a:cubicBezTo>
                        <a:pt x="1224" y="246"/>
                        <a:pt x="1204" y="301"/>
                        <a:pt x="1184" y="357"/>
                      </a:cubicBezTo>
                      <a:lnTo>
                        <a:pt x="1423" y="558"/>
                      </a:lnTo>
                      <a:lnTo>
                        <a:pt x="1230" y="760"/>
                      </a:lnTo>
                      <a:cubicBezTo>
                        <a:pt x="1270" y="917"/>
                        <a:pt x="1311" y="1074"/>
                        <a:pt x="1351" y="1231"/>
                      </a:cubicBezTo>
                      <a:lnTo>
                        <a:pt x="1895" y="1646"/>
                      </a:lnTo>
                      <a:lnTo>
                        <a:pt x="1673" y="1835"/>
                      </a:lnTo>
                      <a:lnTo>
                        <a:pt x="1673" y="2156"/>
                      </a:lnTo>
                      <a:lnTo>
                        <a:pt x="907" y="3231"/>
                      </a:lnTo>
                      <a:lnTo>
                        <a:pt x="323" y="3420"/>
                      </a:lnTo>
                      <a:lnTo>
                        <a:pt x="1028" y="4250"/>
                      </a:lnTo>
                      <a:lnTo>
                        <a:pt x="786" y="4495"/>
                      </a:lnTo>
                      <a:lnTo>
                        <a:pt x="0" y="4684"/>
                      </a:lnTo>
                      <a:lnTo>
                        <a:pt x="202" y="5024"/>
                      </a:lnTo>
                      <a:lnTo>
                        <a:pt x="665" y="5024"/>
                      </a:lnTo>
                      <a:lnTo>
                        <a:pt x="323" y="5212"/>
                      </a:lnTo>
                      <a:lnTo>
                        <a:pt x="786" y="5759"/>
                      </a:lnTo>
                      <a:lnTo>
                        <a:pt x="1109" y="5514"/>
                      </a:lnTo>
                      <a:lnTo>
                        <a:pt x="1431" y="5137"/>
                      </a:lnTo>
                      <a:cubicBezTo>
                        <a:pt x="1471" y="5238"/>
                        <a:pt x="1512" y="5338"/>
                        <a:pt x="1552" y="5439"/>
                      </a:cubicBezTo>
                      <a:lnTo>
                        <a:pt x="1794" y="5514"/>
                      </a:lnTo>
                      <a:lnTo>
                        <a:pt x="1794" y="7024"/>
                      </a:lnTo>
                      <a:lnTo>
                        <a:pt x="2339" y="7854"/>
                      </a:lnTo>
                      <a:cubicBezTo>
                        <a:pt x="2420" y="8036"/>
                        <a:pt x="2500" y="8219"/>
                        <a:pt x="2581" y="8401"/>
                      </a:cubicBezTo>
                      <a:lnTo>
                        <a:pt x="3488" y="10042"/>
                      </a:lnTo>
                      <a:lnTo>
                        <a:pt x="3810" y="10382"/>
                      </a:lnTo>
                      <a:lnTo>
                        <a:pt x="4375" y="9967"/>
                      </a:lnTo>
                      <a:cubicBezTo>
                        <a:pt x="4335" y="9891"/>
                        <a:pt x="4294" y="9816"/>
                        <a:pt x="4254" y="9740"/>
                      </a:cubicBezTo>
                      <a:lnTo>
                        <a:pt x="4456" y="9552"/>
                      </a:lnTo>
                      <a:lnTo>
                        <a:pt x="4456" y="9231"/>
                      </a:lnTo>
                      <a:cubicBezTo>
                        <a:pt x="4429" y="9193"/>
                        <a:pt x="4402" y="9156"/>
                        <a:pt x="4375" y="9118"/>
                      </a:cubicBezTo>
                      <a:lnTo>
                        <a:pt x="4718" y="8476"/>
                      </a:lnTo>
                      <a:cubicBezTo>
                        <a:pt x="4678" y="8413"/>
                        <a:pt x="4637" y="8351"/>
                        <a:pt x="4597" y="8288"/>
                      </a:cubicBezTo>
                      <a:lnTo>
                        <a:pt x="4597" y="7552"/>
                      </a:lnTo>
                      <a:lnTo>
                        <a:pt x="4919" y="7439"/>
                      </a:lnTo>
                      <a:lnTo>
                        <a:pt x="5806" y="6590"/>
                      </a:lnTo>
                      <a:lnTo>
                        <a:pt x="5806" y="6288"/>
                      </a:lnTo>
                      <a:lnTo>
                        <a:pt x="6714" y="5873"/>
                      </a:lnTo>
                      <a:cubicBezTo>
                        <a:pt x="6674" y="5797"/>
                        <a:pt x="6633" y="5722"/>
                        <a:pt x="6593" y="5646"/>
                      </a:cubicBezTo>
                      <a:lnTo>
                        <a:pt x="6956" y="5439"/>
                      </a:lnTo>
                      <a:lnTo>
                        <a:pt x="7500" y="5439"/>
                      </a:lnTo>
                      <a:cubicBezTo>
                        <a:pt x="7460" y="5225"/>
                        <a:pt x="7419" y="5011"/>
                        <a:pt x="7379" y="4797"/>
                      </a:cubicBezTo>
                      <a:lnTo>
                        <a:pt x="6956" y="4608"/>
                      </a:lnTo>
                      <a:lnTo>
                        <a:pt x="7157" y="4250"/>
                      </a:lnTo>
                      <a:lnTo>
                        <a:pt x="6956" y="4061"/>
                      </a:lnTo>
                      <a:cubicBezTo>
                        <a:pt x="6983" y="3998"/>
                        <a:pt x="7009" y="3936"/>
                        <a:pt x="7036" y="3873"/>
                      </a:cubicBezTo>
                      <a:lnTo>
                        <a:pt x="7379" y="3873"/>
                      </a:lnTo>
                      <a:lnTo>
                        <a:pt x="7621" y="4250"/>
                      </a:lnTo>
                      <a:lnTo>
                        <a:pt x="8387" y="4250"/>
                      </a:lnTo>
                      <a:lnTo>
                        <a:pt x="8185" y="4797"/>
                      </a:lnTo>
                      <a:lnTo>
                        <a:pt x="8387" y="4910"/>
                      </a:lnTo>
                      <a:cubicBezTo>
                        <a:pt x="8427" y="4872"/>
                        <a:pt x="8468" y="4835"/>
                        <a:pt x="8508" y="4797"/>
                      </a:cubicBezTo>
                      <a:lnTo>
                        <a:pt x="8730" y="5325"/>
                      </a:lnTo>
                      <a:cubicBezTo>
                        <a:pt x="8811" y="5086"/>
                        <a:pt x="8891" y="4847"/>
                        <a:pt x="8972" y="4608"/>
                      </a:cubicBezTo>
                      <a:lnTo>
                        <a:pt x="9294" y="4495"/>
                      </a:lnTo>
                      <a:cubicBezTo>
                        <a:pt x="9334" y="4212"/>
                        <a:pt x="9375" y="3929"/>
                        <a:pt x="9415" y="3646"/>
                      </a:cubicBezTo>
                      <a:lnTo>
                        <a:pt x="9738" y="3420"/>
                      </a:lnTo>
                      <a:cubicBezTo>
                        <a:pt x="9825" y="3275"/>
                        <a:pt x="9913" y="3131"/>
                        <a:pt x="10000" y="2986"/>
                      </a:cubicBezTo>
                      <a:lnTo>
                        <a:pt x="9617" y="2910"/>
                      </a:lnTo>
                      <a:lnTo>
                        <a:pt x="9294" y="2608"/>
                      </a:lnTo>
                      <a:lnTo>
                        <a:pt x="8065" y="3231"/>
                      </a:lnTo>
                      <a:cubicBezTo>
                        <a:pt x="7984" y="3369"/>
                        <a:pt x="7904" y="3508"/>
                        <a:pt x="7823" y="3646"/>
                      </a:cubicBezTo>
                      <a:lnTo>
                        <a:pt x="7621" y="3759"/>
                      </a:lnTo>
                      <a:lnTo>
                        <a:pt x="7500" y="3533"/>
                      </a:lnTo>
                      <a:lnTo>
                        <a:pt x="7036" y="3420"/>
                      </a:lnTo>
                      <a:cubicBezTo>
                        <a:pt x="7076" y="3357"/>
                        <a:pt x="7117" y="3294"/>
                        <a:pt x="7157" y="3231"/>
                      </a:cubicBez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algn="ctr" defTabSz="1226579" rtl="0" eaLnBrk="0" fontAlgn="auto" latinLnBrk="0" hangingPunct="0">
                    <a:lnSpc>
                      <a:spcPct val="90000"/>
                    </a:lnSpc>
                    <a:spcBef>
                      <a:spcPct val="30000"/>
                    </a:spcBef>
                    <a:spcAft>
                      <a:spcPts val="0"/>
                    </a:spcAft>
                    <a:buClr>
                      <a:srgbClr val="FFCC00"/>
                    </a:buClr>
                    <a:buSzTx/>
                    <a:buFontTx/>
                    <a:buNone/>
                    <a:tabLst/>
                    <a:defRPr/>
                  </a:pPr>
                  <a:endParaRPr kumimoji="0" lang="en-US" sz="1879" b="0" i="0" u="none" strike="noStrike" kern="0" cap="none" spc="0" normalizeH="0" baseline="0" noProof="0">
                    <a:ln>
                      <a:noFill/>
                    </a:ln>
                    <a:solidFill>
                      <a:srgbClr val="B3B6BA"/>
                    </a:solidFill>
                    <a:effectLst/>
                    <a:uLnTx/>
                    <a:uFillTx/>
                    <a:latin typeface="Arial"/>
                    <a:ea typeface="ＭＳ Ｐゴシック"/>
                  </a:endParaRPr>
                </a:p>
              </p:txBody>
            </p:sp>
            <p:cxnSp>
              <p:nvCxnSpPr>
                <p:cNvPr id="574" name="Straight Connector 583">
                  <a:extLst>
                    <a:ext uri="{FF2B5EF4-FFF2-40B4-BE49-F238E27FC236}">
                      <a16:creationId xmlns:a16="http://schemas.microsoft.com/office/drawing/2014/main" id="{66DE6B4A-922D-43EC-9DAC-6D4320D79A88}"/>
                    </a:ext>
                  </a:extLst>
                </p:cNvPr>
                <p:cNvCxnSpPr/>
                <p:nvPr/>
              </p:nvCxnSpPr>
              <p:spPr>
                <a:xfrm>
                  <a:off x="6478857" y="2133679"/>
                  <a:ext cx="32558" cy="39513"/>
                </a:xfrm>
                <a:prstGeom prst="line">
                  <a:avLst/>
                </a:prstGeom>
                <a:grpFill/>
                <a:ln w="3175" cap="flat" cmpd="sng" algn="ctr">
                  <a:solidFill>
                    <a:srgbClr val="98A2AE">
                      <a:lumMod val="40000"/>
                      <a:lumOff val="60000"/>
                      <a:alpha val="29000"/>
                    </a:srgbClr>
                  </a:solidFill>
                  <a:prstDash val="sysDash"/>
                </a:ln>
                <a:effectLst/>
              </p:spPr>
            </p:cxnSp>
          </p:grpSp>
        </p:grpSp>
        <p:grpSp>
          <p:nvGrpSpPr>
            <p:cNvPr id="405" name="Group 325">
              <a:extLst>
                <a:ext uri="{FF2B5EF4-FFF2-40B4-BE49-F238E27FC236}">
                  <a16:creationId xmlns:a16="http://schemas.microsoft.com/office/drawing/2014/main" id="{2AEFB6BA-134B-440F-A6DE-7C34C7CA0B2E}"/>
                </a:ext>
              </a:extLst>
            </p:cNvPr>
            <p:cNvGrpSpPr/>
            <p:nvPr/>
          </p:nvGrpSpPr>
          <p:grpSpPr>
            <a:xfrm>
              <a:off x="995819" y="1141427"/>
              <a:ext cx="2365572" cy="1662419"/>
              <a:chOff x="417513" y="1034773"/>
              <a:chExt cx="2374308" cy="1603564"/>
            </a:xfrm>
            <a:grpFill/>
          </p:grpSpPr>
          <p:sp>
            <p:nvSpPr>
              <p:cNvPr id="529" name="Freeform 74">
                <a:extLst>
                  <a:ext uri="{FF2B5EF4-FFF2-40B4-BE49-F238E27FC236}">
                    <a16:creationId xmlns:a16="http://schemas.microsoft.com/office/drawing/2014/main" id="{D9BF2B00-FA67-42C8-9891-D57177048F7F}"/>
                  </a:ext>
                </a:extLst>
              </p:cNvPr>
              <p:cNvSpPr>
                <a:spLocks/>
              </p:cNvSpPr>
              <p:nvPr/>
            </p:nvSpPr>
            <p:spPr bwMode="auto">
              <a:xfrm>
                <a:off x="417513" y="1282608"/>
                <a:ext cx="853595" cy="380461"/>
              </a:xfrm>
              <a:custGeom>
                <a:avLst/>
                <a:gdLst>
                  <a:gd name="T0" fmla="*/ 305 w 650"/>
                  <a:gd name="T1" fmla="*/ 49 h 284"/>
                  <a:gd name="T2" fmla="*/ 305 w 650"/>
                  <a:gd name="T3" fmla="*/ 77 h 284"/>
                  <a:gd name="T4" fmla="*/ 228 w 650"/>
                  <a:gd name="T5" fmla="*/ 99 h 284"/>
                  <a:gd name="T6" fmla="*/ 278 w 650"/>
                  <a:gd name="T7" fmla="*/ 93 h 284"/>
                  <a:gd name="T8" fmla="*/ 218 w 650"/>
                  <a:gd name="T9" fmla="*/ 128 h 284"/>
                  <a:gd name="T10" fmla="*/ 122 w 650"/>
                  <a:gd name="T11" fmla="*/ 173 h 284"/>
                  <a:gd name="T12" fmla="*/ 167 w 650"/>
                  <a:gd name="T13" fmla="*/ 173 h 284"/>
                  <a:gd name="T14" fmla="*/ 173 w 650"/>
                  <a:gd name="T15" fmla="*/ 205 h 284"/>
                  <a:gd name="T16" fmla="*/ 201 w 650"/>
                  <a:gd name="T17" fmla="*/ 205 h 284"/>
                  <a:gd name="T18" fmla="*/ 100 w 650"/>
                  <a:gd name="T19" fmla="*/ 244 h 284"/>
                  <a:gd name="T20" fmla="*/ 49 w 650"/>
                  <a:gd name="T21" fmla="*/ 256 h 284"/>
                  <a:gd name="T22" fmla="*/ 16 w 650"/>
                  <a:gd name="T23" fmla="*/ 268 h 284"/>
                  <a:gd name="T24" fmla="*/ 23 w 650"/>
                  <a:gd name="T25" fmla="*/ 284 h 284"/>
                  <a:gd name="T26" fmla="*/ 45 w 650"/>
                  <a:gd name="T27" fmla="*/ 272 h 284"/>
                  <a:gd name="T28" fmla="*/ 77 w 650"/>
                  <a:gd name="T29" fmla="*/ 278 h 284"/>
                  <a:gd name="T30" fmla="*/ 211 w 650"/>
                  <a:gd name="T31" fmla="*/ 223 h 284"/>
                  <a:gd name="T32" fmla="*/ 260 w 650"/>
                  <a:gd name="T33" fmla="*/ 201 h 284"/>
                  <a:gd name="T34" fmla="*/ 343 w 650"/>
                  <a:gd name="T35" fmla="*/ 144 h 284"/>
                  <a:gd name="T36" fmla="*/ 305 w 650"/>
                  <a:gd name="T37" fmla="*/ 177 h 284"/>
                  <a:gd name="T38" fmla="*/ 368 w 650"/>
                  <a:gd name="T39" fmla="*/ 173 h 284"/>
                  <a:gd name="T40" fmla="*/ 390 w 650"/>
                  <a:gd name="T41" fmla="*/ 156 h 284"/>
                  <a:gd name="T42" fmla="*/ 484 w 650"/>
                  <a:gd name="T43" fmla="*/ 195 h 284"/>
                  <a:gd name="T44" fmla="*/ 506 w 650"/>
                  <a:gd name="T45" fmla="*/ 205 h 284"/>
                  <a:gd name="T46" fmla="*/ 522 w 650"/>
                  <a:gd name="T47" fmla="*/ 250 h 284"/>
                  <a:gd name="T48" fmla="*/ 551 w 650"/>
                  <a:gd name="T49" fmla="*/ 256 h 284"/>
                  <a:gd name="T50" fmla="*/ 544 w 650"/>
                  <a:gd name="T51" fmla="*/ 205 h 284"/>
                  <a:gd name="T52" fmla="*/ 500 w 650"/>
                  <a:gd name="T53" fmla="*/ 189 h 284"/>
                  <a:gd name="T54" fmla="*/ 477 w 650"/>
                  <a:gd name="T55" fmla="*/ 166 h 284"/>
                  <a:gd name="T56" fmla="*/ 634 w 650"/>
                  <a:gd name="T57" fmla="*/ 10 h 284"/>
                  <a:gd name="T58" fmla="*/ 583 w 650"/>
                  <a:gd name="T59" fmla="*/ 10 h 284"/>
                  <a:gd name="T60" fmla="*/ 390 w 650"/>
                  <a:gd name="T61" fmla="*/ 4 h 284"/>
                  <a:gd name="T62" fmla="*/ 323 w 650"/>
                  <a:gd name="T63" fmla="*/ 26 h 2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0"/>
                  <a:gd name="T97" fmla="*/ 0 h 284"/>
                  <a:gd name="T98" fmla="*/ 650 w 650"/>
                  <a:gd name="T99" fmla="*/ 284 h 2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0" h="284">
                    <a:moveTo>
                      <a:pt x="323" y="26"/>
                    </a:moveTo>
                    <a:lnTo>
                      <a:pt x="305" y="49"/>
                    </a:lnTo>
                    <a:lnTo>
                      <a:pt x="323" y="71"/>
                    </a:lnTo>
                    <a:lnTo>
                      <a:pt x="305" y="77"/>
                    </a:lnTo>
                    <a:lnTo>
                      <a:pt x="256" y="83"/>
                    </a:lnTo>
                    <a:lnTo>
                      <a:pt x="228" y="99"/>
                    </a:lnTo>
                    <a:lnTo>
                      <a:pt x="256" y="99"/>
                    </a:lnTo>
                    <a:lnTo>
                      <a:pt x="278" y="93"/>
                    </a:lnTo>
                    <a:lnTo>
                      <a:pt x="266" y="116"/>
                    </a:lnTo>
                    <a:lnTo>
                      <a:pt x="218" y="128"/>
                    </a:lnTo>
                    <a:lnTo>
                      <a:pt x="201" y="122"/>
                    </a:lnTo>
                    <a:lnTo>
                      <a:pt x="122" y="173"/>
                    </a:lnTo>
                    <a:lnTo>
                      <a:pt x="134" y="177"/>
                    </a:lnTo>
                    <a:lnTo>
                      <a:pt x="167" y="173"/>
                    </a:lnTo>
                    <a:lnTo>
                      <a:pt x="138" y="201"/>
                    </a:lnTo>
                    <a:lnTo>
                      <a:pt x="173" y="205"/>
                    </a:lnTo>
                    <a:lnTo>
                      <a:pt x="189" y="195"/>
                    </a:lnTo>
                    <a:lnTo>
                      <a:pt x="201" y="205"/>
                    </a:lnTo>
                    <a:lnTo>
                      <a:pt x="138" y="234"/>
                    </a:lnTo>
                    <a:lnTo>
                      <a:pt x="100" y="244"/>
                    </a:lnTo>
                    <a:lnTo>
                      <a:pt x="90" y="256"/>
                    </a:lnTo>
                    <a:lnTo>
                      <a:pt x="49" y="256"/>
                    </a:lnTo>
                    <a:lnTo>
                      <a:pt x="39" y="268"/>
                    </a:lnTo>
                    <a:lnTo>
                      <a:pt x="16" y="268"/>
                    </a:lnTo>
                    <a:lnTo>
                      <a:pt x="0" y="284"/>
                    </a:lnTo>
                    <a:lnTo>
                      <a:pt x="23" y="284"/>
                    </a:lnTo>
                    <a:lnTo>
                      <a:pt x="33" y="272"/>
                    </a:lnTo>
                    <a:lnTo>
                      <a:pt x="45" y="272"/>
                    </a:lnTo>
                    <a:lnTo>
                      <a:pt x="77" y="268"/>
                    </a:lnTo>
                    <a:lnTo>
                      <a:pt x="77" y="278"/>
                    </a:lnTo>
                    <a:lnTo>
                      <a:pt x="100" y="262"/>
                    </a:lnTo>
                    <a:lnTo>
                      <a:pt x="211" y="223"/>
                    </a:lnTo>
                    <a:lnTo>
                      <a:pt x="234" y="205"/>
                    </a:lnTo>
                    <a:lnTo>
                      <a:pt x="260" y="201"/>
                    </a:lnTo>
                    <a:lnTo>
                      <a:pt x="289" y="177"/>
                    </a:lnTo>
                    <a:lnTo>
                      <a:pt x="343" y="144"/>
                    </a:lnTo>
                    <a:lnTo>
                      <a:pt x="339" y="160"/>
                    </a:lnTo>
                    <a:lnTo>
                      <a:pt x="305" y="177"/>
                    </a:lnTo>
                    <a:lnTo>
                      <a:pt x="301" y="195"/>
                    </a:lnTo>
                    <a:lnTo>
                      <a:pt x="368" y="173"/>
                    </a:lnTo>
                    <a:lnTo>
                      <a:pt x="372" y="160"/>
                    </a:lnTo>
                    <a:lnTo>
                      <a:pt x="390" y="156"/>
                    </a:lnTo>
                    <a:lnTo>
                      <a:pt x="394" y="173"/>
                    </a:lnTo>
                    <a:lnTo>
                      <a:pt x="484" y="195"/>
                    </a:lnTo>
                    <a:lnTo>
                      <a:pt x="490" y="217"/>
                    </a:lnTo>
                    <a:lnTo>
                      <a:pt x="506" y="205"/>
                    </a:lnTo>
                    <a:lnTo>
                      <a:pt x="522" y="205"/>
                    </a:lnTo>
                    <a:lnTo>
                      <a:pt x="522" y="250"/>
                    </a:lnTo>
                    <a:lnTo>
                      <a:pt x="528" y="268"/>
                    </a:lnTo>
                    <a:lnTo>
                      <a:pt x="551" y="256"/>
                    </a:lnTo>
                    <a:lnTo>
                      <a:pt x="544" y="234"/>
                    </a:lnTo>
                    <a:lnTo>
                      <a:pt x="544" y="205"/>
                    </a:lnTo>
                    <a:lnTo>
                      <a:pt x="534" y="177"/>
                    </a:lnTo>
                    <a:lnTo>
                      <a:pt x="500" y="189"/>
                    </a:lnTo>
                    <a:lnTo>
                      <a:pt x="506" y="173"/>
                    </a:lnTo>
                    <a:lnTo>
                      <a:pt x="477" y="166"/>
                    </a:lnTo>
                    <a:lnTo>
                      <a:pt x="650" y="16"/>
                    </a:lnTo>
                    <a:lnTo>
                      <a:pt x="634" y="10"/>
                    </a:lnTo>
                    <a:lnTo>
                      <a:pt x="618" y="22"/>
                    </a:lnTo>
                    <a:lnTo>
                      <a:pt x="583" y="10"/>
                    </a:lnTo>
                    <a:lnTo>
                      <a:pt x="484" y="0"/>
                    </a:lnTo>
                    <a:lnTo>
                      <a:pt x="390" y="4"/>
                    </a:lnTo>
                    <a:lnTo>
                      <a:pt x="323" y="2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0" name="Freeform 75">
                <a:extLst>
                  <a:ext uri="{FF2B5EF4-FFF2-40B4-BE49-F238E27FC236}">
                    <a16:creationId xmlns:a16="http://schemas.microsoft.com/office/drawing/2014/main" id="{BFE41D94-45F9-40DF-AA1E-3836A2078A40}"/>
                  </a:ext>
                </a:extLst>
              </p:cNvPr>
              <p:cNvSpPr>
                <a:spLocks/>
              </p:cNvSpPr>
              <p:nvPr/>
            </p:nvSpPr>
            <p:spPr bwMode="auto">
              <a:xfrm>
                <a:off x="980886" y="1775600"/>
                <a:ext cx="1283019" cy="628297"/>
              </a:xfrm>
              <a:custGeom>
                <a:avLst/>
                <a:gdLst>
                  <a:gd name="T0" fmla="*/ 956 w 977"/>
                  <a:gd name="T1" fmla="*/ 38 h 469"/>
                  <a:gd name="T2" fmla="*/ 838 w 977"/>
                  <a:gd name="T3" fmla="*/ 83 h 469"/>
                  <a:gd name="T4" fmla="*/ 800 w 977"/>
                  <a:gd name="T5" fmla="*/ 117 h 469"/>
                  <a:gd name="T6" fmla="*/ 745 w 977"/>
                  <a:gd name="T7" fmla="*/ 128 h 469"/>
                  <a:gd name="T8" fmla="*/ 694 w 977"/>
                  <a:gd name="T9" fmla="*/ 156 h 469"/>
                  <a:gd name="T10" fmla="*/ 704 w 977"/>
                  <a:gd name="T11" fmla="*/ 134 h 469"/>
                  <a:gd name="T12" fmla="*/ 704 w 977"/>
                  <a:gd name="T13" fmla="*/ 105 h 469"/>
                  <a:gd name="T14" fmla="*/ 704 w 977"/>
                  <a:gd name="T15" fmla="*/ 89 h 469"/>
                  <a:gd name="T16" fmla="*/ 682 w 977"/>
                  <a:gd name="T17" fmla="*/ 77 h 469"/>
                  <a:gd name="T18" fmla="*/ 639 w 977"/>
                  <a:gd name="T19" fmla="*/ 140 h 469"/>
                  <a:gd name="T20" fmla="*/ 611 w 977"/>
                  <a:gd name="T21" fmla="*/ 140 h 469"/>
                  <a:gd name="T22" fmla="*/ 633 w 977"/>
                  <a:gd name="T23" fmla="*/ 95 h 469"/>
                  <a:gd name="T24" fmla="*/ 643 w 977"/>
                  <a:gd name="T25" fmla="*/ 83 h 469"/>
                  <a:gd name="T26" fmla="*/ 682 w 977"/>
                  <a:gd name="T27" fmla="*/ 67 h 469"/>
                  <a:gd name="T28" fmla="*/ 694 w 977"/>
                  <a:gd name="T29" fmla="*/ 57 h 469"/>
                  <a:gd name="T30" fmla="*/ 656 w 977"/>
                  <a:gd name="T31" fmla="*/ 38 h 469"/>
                  <a:gd name="T32" fmla="*/ 589 w 977"/>
                  <a:gd name="T33" fmla="*/ 50 h 469"/>
                  <a:gd name="T34" fmla="*/ 627 w 977"/>
                  <a:gd name="T35" fmla="*/ 34 h 469"/>
                  <a:gd name="T36" fmla="*/ 605 w 977"/>
                  <a:gd name="T37" fmla="*/ 22 h 469"/>
                  <a:gd name="T38" fmla="*/ 572 w 977"/>
                  <a:gd name="T39" fmla="*/ 0 h 469"/>
                  <a:gd name="T40" fmla="*/ 556 w 977"/>
                  <a:gd name="T41" fmla="*/ 10 h 469"/>
                  <a:gd name="T42" fmla="*/ 115 w 977"/>
                  <a:gd name="T43" fmla="*/ 44 h 469"/>
                  <a:gd name="T44" fmla="*/ 83 w 977"/>
                  <a:gd name="T45" fmla="*/ 28 h 469"/>
                  <a:gd name="T46" fmla="*/ 38 w 977"/>
                  <a:gd name="T47" fmla="*/ 111 h 469"/>
                  <a:gd name="T48" fmla="*/ 0 w 977"/>
                  <a:gd name="T49" fmla="*/ 172 h 469"/>
                  <a:gd name="T50" fmla="*/ 10 w 977"/>
                  <a:gd name="T51" fmla="*/ 207 h 469"/>
                  <a:gd name="T52" fmla="*/ 10 w 977"/>
                  <a:gd name="T53" fmla="*/ 274 h 469"/>
                  <a:gd name="T54" fmla="*/ 48 w 977"/>
                  <a:gd name="T55" fmla="*/ 306 h 469"/>
                  <a:gd name="T56" fmla="*/ 105 w 977"/>
                  <a:gd name="T57" fmla="*/ 325 h 469"/>
                  <a:gd name="T58" fmla="*/ 211 w 977"/>
                  <a:gd name="T59" fmla="*/ 335 h 469"/>
                  <a:gd name="T60" fmla="*/ 266 w 977"/>
                  <a:gd name="T61" fmla="*/ 390 h 469"/>
                  <a:gd name="T62" fmla="*/ 282 w 977"/>
                  <a:gd name="T63" fmla="*/ 380 h 469"/>
                  <a:gd name="T64" fmla="*/ 327 w 977"/>
                  <a:gd name="T65" fmla="*/ 402 h 469"/>
                  <a:gd name="T66" fmla="*/ 349 w 977"/>
                  <a:gd name="T67" fmla="*/ 453 h 469"/>
                  <a:gd name="T68" fmla="*/ 355 w 977"/>
                  <a:gd name="T69" fmla="*/ 418 h 469"/>
                  <a:gd name="T70" fmla="*/ 449 w 977"/>
                  <a:gd name="T71" fmla="*/ 386 h 469"/>
                  <a:gd name="T72" fmla="*/ 477 w 977"/>
                  <a:gd name="T73" fmla="*/ 396 h 469"/>
                  <a:gd name="T74" fmla="*/ 493 w 977"/>
                  <a:gd name="T75" fmla="*/ 363 h 469"/>
                  <a:gd name="T76" fmla="*/ 611 w 977"/>
                  <a:gd name="T77" fmla="*/ 396 h 469"/>
                  <a:gd name="T78" fmla="*/ 621 w 977"/>
                  <a:gd name="T79" fmla="*/ 436 h 469"/>
                  <a:gd name="T80" fmla="*/ 633 w 977"/>
                  <a:gd name="T81" fmla="*/ 469 h 469"/>
                  <a:gd name="T82" fmla="*/ 656 w 977"/>
                  <a:gd name="T83" fmla="*/ 430 h 469"/>
                  <a:gd name="T84" fmla="*/ 650 w 977"/>
                  <a:gd name="T85" fmla="*/ 351 h 469"/>
                  <a:gd name="T86" fmla="*/ 745 w 977"/>
                  <a:gd name="T87" fmla="*/ 284 h 469"/>
                  <a:gd name="T88" fmla="*/ 755 w 977"/>
                  <a:gd name="T89" fmla="*/ 235 h 469"/>
                  <a:gd name="T90" fmla="*/ 761 w 977"/>
                  <a:gd name="T91" fmla="*/ 207 h 469"/>
                  <a:gd name="T92" fmla="*/ 784 w 977"/>
                  <a:gd name="T93" fmla="*/ 217 h 469"/>
                  <a:gd name="T94" fmla="*/ 794 w 977"/>
                  <a:gd name="T95" fmla="*/ 185 h 469"/>
                  <a:gd name="T96" fmla="*/ 828 w 977"/>
                  <a:gd name="T97" fmla="*/ 172 h 469"/>
                  <a:gd name="T98" fmla="*/ 899 w 977"/>
                  <a:gd name="T99" fmla="*/ 144 h 469"/>
                  <a:gd name="T100" fmla="*/ 905 w 977"/>
                  <a:gd name="T101" fmla="*/ 111 h 469"/>
                  <a:gd name="T102" fmla="*/ 966 w 977"/>
                  <a:gd name="T103" fmla="*/ 57 h 469"/>
                  <a:gd name="T104" fmla="*/ 977 w 977"/>
                  <a:gd name="T105" fmla="*/ 38 h 46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77"/>
                  <a:gd name="T160" fmla="*/ 0 h 469"/>
                  <a:gd name="T161" fmla="*/ 977 w 977"/>
                  <a:gd name="T162" fmla="*/ 469 h 46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77" h="469">
                    <a:moveTo>
                      <a:pt x="977" y="38"/>
                    </a:moveTo>
                    <a:lnTo>
                      <a:pt x="956" y="38"/>
                    </a:lnTo>
                    <a:lnTo>
                      <a:pt x="922" y="73"/>
                    </a:lnTo>
                    <a:lnTo>
                      <a:pt x="838" y="83"/>
                    </a:lnTo>
                    <a:lnTo>
                      <a:pt x="810" y="105"/>
                    </a:lnTo>
                    <a:lnTo>
                      <a:pt x="800" y="117"/>
                    </a:lnTo>
                    <a:lnTo>
                      <a:pt x="755" y="124"/>
                    </a:lnTo>
                    <a:lnTo>
                      <a:pt x="745" y="128"/>
                    </a:lnTo>
                    <a:lnTo>
                      <a:pt x="739" y="134"/>
                    </a:lnTo>
                    <a:lnTo>
                      <a:pt x="694" y="156"/>
                    </a:lnTo>
                    <a:lnTo>
                      <a:pt x="678" y="144"/>
                    </a:lnTo>
                    <a:lnTo>
                      <a:pt x="704" y="134"/>
                    </a:lnTo>
                    <a:lnTo>
                      <a:pt x="710" y="124"/>
                    </a:lnTo>
                    <a:lnTo>
                      <a:pt x="704" y="105"/>
                    </a:lnTo>
                    <a:lnTo>
                      <a:pt x="688" y="105"/>
                    </a:lnTo>
                    <a:lnTo>
                      <a:pt x="704" y="89"/>
                    </a:lnTo>
                    <a:lnTo>
                      <a:pt x="700" y="73"/>
                    </a:lnTo>
                    <a:lnTo>
                      <a:pt x="682" y="77"/>
                    </a:lnTo>
                    <a:lnTo>
                      <a:pt x="650" y="101"/>
                    </a:lnTo>
                    <a:lnTo>
                      <a:pt x="639" y="140"/>
                    </a:lnTo>
                    <a:lnTo>
                      <a:pt x="621" y="144"/>
                    </a:lnTo>
                    <a:lnTo>
                      <a:pt x="611" y="140"/>
                    </a:lnTo>
                    <a:lnTo>
                      <a:pt x="615" y="117"/>
                    </a:lnTo>
                    <a:lnTo>
                      <a:pt x="633" y="95"/>
                    </a:lnTo>
                    <a:lnTo>
                      <a:pt x="633" y="83"/>
                    </a:lnTo>
                    <a:lnTo>
                      <a:pt x="643" y="83"/>
                    </a:lnTo>
                    <a:lnTo>
                      <a:pt x="666" y="67"/>
                    </a:lnTo>
                    <a:lnTo>
                      <a:pt x="682" y="67"/>
                    </a:lnTo>
                    <a:lnTo>
                      <a:pt x="700" y="61"/>
                    </a:lnTo>
                    <a:lnTo>
                      <a:pt x="694" y="57"/>
                    </a:lnTo>
                    <a:lnTo>
                      <a:pt x="650" y="57"/>
                    </a:lnTo>
                    <a:lnTo>
                      <a:pt x="656" y="38"/>
                    </a:lnTo>
                    <a:lnTo>
                      <a:pt x="615" y="57"/>
                    </a:lnTo>
                    <a:lnTo>
                      <a:pt x="589" y="50"/>
                    </a:lnTo>
                    <a:lnTo>
                      <a:pt x="589" y="38"/>
                    </a:lnTo>
                    <a:lnTo>
                      <a:pt x="627" y="34"/>
                    </a:lnTo>
                    <a:lnTo>
                      <a:pt x="615" y="16"/>
                    </a:lnTo>
                    <a:lnTo>
                      <a:pt x="605" y="22"/>
                    </a:lnTo>
                    <a:lnTo>
                      <a:pt x="578" y="16"/>
                    </a:lnTo>
                    <a:lnTo>
                      <a:pt x="572" y="0"/>
                    </a:lnTo>
                    <a:lnTo>
                      <a:pt x="556" y="0"/>
                    </a:lnTo>
                    <a:lnTo>
                      <a:pt x="556" y="10"/>
                    </a:lnTo>
                    <a:lnTo>
                      <a:pt x="122" y="6"/>
                    </a:lnTo>
                    <a:lnTo>
                      <a:pt x="115" y="44"/>
                    </a:lnTo>
                    <a:lnTo>
                      <a:pt x="109" y="28"/>
                    </a:lnTo>
                    <a:lnTo>
                      <a:pt x="83" y="28"/>
                    </a:lnTo>
                    <a:lnTo>
                      <a:pt x="83" y="50"/>
                    </a:lnTo>
                    <a:lnTo>
                      <a:pt x="38" y="111"/>
                    </a:lnTo>
                    <a:lnTo>
                      <a:pt x="16" y="156"/>
                    </a:lnTo>
                    <a:lnTo>
                      <a:pt x="0" y="172"/>
                    </a:lnTo>
                    <a:lnTo>
                      <a:pt x="0" y="207"/>
                    </a:lnTo>
                    <a:lnTo>
                      <a:pt x="10" y="207"/>
                    </a:lnTo>
                    <a:lnTo>
                      <a:pt x="4" y="217"/>
                    </a:lnTo>
                    <a:lnTo>
                      <a:pt x="10" y="274"/>
                    </a:lnTo>
                    <a:lnTo>
                      <a:pt x="0" y="284"/>
                    </a:lnTo>
                    <a:lnTo>
                      <a:pt x="48" y="306"/>
                    </a:lnTo>
                    <a:lnTo>
                      <a:pt x="55" y="325"/>
                    </a:lnTo>
                    <a:lnTo>
                      <a:pt x="105" y="325"/>
                    </a:lnTo>
                    <a:lnTo>
                      <a:pt x="176" y="345"/>
                    </a:lnTo>
                    <a:lnTo>
                      <a:pt x="211" y="335"/>
                    </a:lnTo>
                    <a:lnTo>
                      <a:pt x="233" y="335"/>
                    </a:lnTo>
                    <a:lnTo>
                      <a:pt x="266" y="390"/>
                    </a:lnTo>
                    <a:lnTo>
                      <a:pt x="278" y="390"/>
                    </a:lnTo>
                    <a:lnTo>
                      <a:pt x="282" y="380"/>
                    </a:lnTo>
                    <a:lnTo>
                      <a:pt x="304" y="373"/>
                    </a:lnTo>
                    <a:lnTo>
                      <a:pt x="327" y="402"/>
                    </a:lnTo>
                    <a:lnTo>
                      <a:pt x="333" y="440"/>
                    </a:lnTo>
                    <a:lnTo>
                      <a:pt x="349" y="453"/>
                    </a:lnTo>
                    <a:lnTo>
                      <a:pt x="355" y="440"/>
                    </a:lnTo>
                    <a:lnTo>
                      <a:pt x="355" y="418"/>
                    </a:lnTo>
                    <a:lnTo>
                      <a:pt x="438" y="373"/>
                    </a:lnTo>
                    <a:lnTo>
                      <a:pt x="449" y="386"/>
                    </a:lnTo>
                    <a:lnTo>
                      <a:pt x="467" y="380"/>
                    </a:lnTo>
                    <a:lnTo>
                      <a:pt x="477" y="396"/>
                    </a:lnTo>
                    <a:lnTo>
                      <a:pt x="499" y="380"/>
                    </a:lnTo>
                    <a:lnTo>
                      <a:pt x="493" y="363"/>
                    </a:lnTo>
                    <a:lnTo>
                      <a:pt x="599" y="373"/>
                    </a:lnTo>
                    <a:lnTo>
                      <a:pt x="611" y="396"/>
                    </a:lnTo>
                    <a:lnTo>
                      <a:pt x="611" y="424"/>
                    </a:lnTo>
                    <a:lnTo>
                      <a:pt x="621" y="436"/>
                    </a:lnTo>
                    <a:lnTo>
                      <a:pt x="621" y="453"/>
                    </a:lnTo>
                    <a:lnTo>
                      <a:pt x="633" y="469"/>
                    </a:lnTo>
                    <a:lnTo>
                      <a:pt x="643" y="469"/>
                    </a:lnTo>
                    <a:lnTo>
                      <a:pt x="656" y="430"/>
                    </a:lnTo>
                    <a:lnTo>
                      <a:pt x="656" y="396"/>
                    </a:lnTo>
                    <a:lnTo>
                      <a:pt x="650" y="351"/>
                    </a:lnTo>
                    <a:lnTo>
                      <a:pt x="723" y="296"/>
                    </a:lnTo>
                    <a:lnTo>
                      <a:pt x="745" y="284"/>
                    </a:lnTo>
                    <a:lnTo>
                      <a:pt x="771" y="252"/>
                    </a:lnTo>
                    <a:lnTo>
                      <a:pt x="755" y="235"/>
                    </a:lnTo>
                    <a:lnTo>
                      <a:pt x="778" y="229"/>
                    </a:lnTo>
                    <a:lnTo>
                      <a:pt x="761" y="207"/>
                    </a:lnTo>
                    <a:lnTo>
                      <a:pt x="778" y="195"/>
                    </a:lnTo>
                    <a:lnTo>
                      <a:pt x="784" y="217"/>
                    </a:lnTo>
                    <a:lnTo>
                      <a:pt x="794" y="211"/>
                    </a:lnTo>
                    <a:lnTo>
                      <a:pt x="794" y="185"/>
                    </a:lnTo>
                    <a:lnTo>
                      <a:pt x="806" y="195"/>
                    </a:lnTo>
                    <a:lnTo>
                      <a:pt x="828" y="172"/>
                    </a:lnTo>
                    <a:lnTo>
                      <a:pt x="828" y="162"/>
                    </a:lnTo>
                    <a:lnTo>
                      <a:pt x="899" y="144"/>
                    </a:lnTo>
                    <a:lnTo>
                      <a:pt x="889" y="134"/>
                    </a:lnTo>
                    <a:lnTo>
                      <a:pt x="905" y="111"/>
                    </a:lnTo>
                    <a:lnTo>
                      <a:pt x="972" y="89"/>
                    </a:lnTo>
                    <a:lnTo>
                      <a:pt x="966" y="57"/>
                    </a:lnTo>
                    <a:lnTo>
                      <a:pt x="977" y="3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1" name="Freeform 76">
                <a:extLst>
                  <a:ext uri="{FF2B5EF4-FFF2-40B4-BE49-F238E27FC236}">
                    <a16:creationId xmlns:a16="http://schemas.microsoft.com/office/drawing/2014/main" id="{492747DE-B8E2-4D66-97AC-BD7D890A83BA}"/>
                  </a:ext>
                </a:extLst>
              </p:cNvPr>
              <p:cNvSpPr>
                <a:spLocks/>
              </p:cNvSpPr>
              <p:nvPr/>
            </p:nvSpPr>
            <p:spPr bwMode="auto">
              <a:xfrm>
                <a:off x="2287543" y="1034773"/>
                <a:ext cx="504278" cy="142003"/>
              </a:xfrm>
              <a:custGeom>
                <a:avLst/>
                <a:gdLst>
                  <a:gd name="T0" fmla="*/ 317 w 384"/>
                  <a:gd name="T1" fmla="*/ 22 h 106"/>
                  <a:gd name="T2" fmla="*/ 384 w 384"/>
                  <a:gd name="T3" fmla="*/ 6 h 106"/>
                  <a:gd name="T4" fmla="*/ 304 w 384"/>
                  <a:gd name="T5" fmla="*/ 0 h 106"/>
                  <a:gd name="T6" fmla="*/ 272 w 384"/>
                  <a:gd name="T7" fmla="*/ 10 h 106"/>
                  <a:gd name="T8" fmla="*/ 256 w 384"/>
                  <a:gd name="T9" fmla="*/ 6 h 106"/>
                  <a:gd name="T10" fmla="*/ 243 w 384"/>
                  <a:gd name="T11" fmla="*/ 10 h 106"/>
                  <a:gd name="T12" fmla="*/ 205 w 384"/>
                  <a:gd name="T13" fmla="*/ 6 h 106"/>
                  <a:gd name="T14" fmla="*/ 176 w 384"/>
                  <a:gd name="T15" fmla="*/ 10 h 106"/>
                  <a:gd name="T16" fmla="*/ 160 w 384"/>
                  <a:gd name="T17" fmla="*/ 16 h 106"/>
                  <a:gd name="T18" fmla="*/ 132 w 384"/>
                  <a:gd name="T19" fmla="*/ 16 h 106"/>
                  <a:gd name="T20" fmla="*/ 67 w 384"/>
                  <a:gd name="T21" fmla="*/ 28 h 106"/>
                  <a:gd name="T22" fmla="*/ 111 w 384"/>
                  <a:gd name="T23" fmla="*/ 39 h 106"/>
                  <a:gd name="T24" fmla="*/ 199 w 384"/>
                  <a:gd name="T25" fmla="*/ 28 h 106"/>
                  <a:gd name="T26" fmla="*/ 195 w 384"/>
                  <a:gd name="T27" fmla="*/ 39 h 106"/>
                  <a:gd name="T28" fmla="*/ 138 w 384"/>
                  <a:gd name="T29" fmla="*/ 45 h 106"/>
                  <a:gd name="T30" fmla="*/ 144 w 384"/>
                  <a:gd name="T31" fmla="*/ 51 h 106"/>
                  <a:gd name="T32" fmla="*/ 99 w 384"/>
                  <a:gd name="T33" fmla="*/ 51 h 106"/>
                  <a:gd name="T34" fmla="*/ 116 w 384"/>
                  <a:gd name="T35" fmla="*/ 61 h 106"/>
                  <a:gd name="T36" fmla="*/ 83 w 384"/>
                  <a:gd name="T37" fmla="*/ 55 h 106"/>
                  <a:gd name="T38" fmla="*/ 55 w 384"/>
                  <a:gd name="T39" fmla="*/ 61 h 106"/>
                  <a:gd name="T40" fmla="*/ 77 w 384"/>
                  <a:gd name="T41" fmla="*/ 61 h 106"/>
                  <a:gd name="T42" fmla="*/ 77 w 384"/>
                  <a:gd name="T43" fmla="*/ 77 h 106"/>
                  <a:gd name="T44" fmla="*/ 49 w 384"/>
                  <a:gd name="T45" fmla="*/ 73 h 106"/>
                  <a:gd name="T46" fmla="*/ 16 w 384"/>
                  <a:gd name="T47" fmla="*/ 77 h 106"/>
                  <a:gd name="T48" fmla="*/ 0 w 384"/>
                  <a:gd name="T49" fmla="*/ 89 h 106"/>
                  <a:gd name="T50" fmla="*/ 77 w 384"/>
                  <a:gd name="T51" fmla="*/ 89 h 106"/>
                  <a:gd name="T52" fmla="*/ 105 w 384"/>
                  <a:gd name="T53" fmla="*/ 106 h 106"/>
                  <a:gd name="T54" fmla="*/ 128 w 384"/>
                  <a:gd name="T55" fmla="*/ 83 h 106"/>
                  <a:gd name="T56" fmla="*/ 105 w 384"/>
                  <a:gd name="T57" fmla="*/ 77 h 106"/>
                  <a:gd name="T58" fmla="*/ 128 w 384"/>
                  <a:gd name="T59" fmla="*/ 73 h 106"/>
                  <a:gd name="T60" fmla="*/ 160 w 384"/>
                  <a:gd name="T61" fmla="*/ 77 h 106"/>
                  <a:gd name="T62" fmla="*/ 183 w 384"/>
                  <a:gd name="T63" fmla="*/ 67 h 106"/>
                  <a:gd name="T64" fmla="*/ 160 w 384"/>
                  <a:gd name="T65" fmla="*/ 55 h 106"/>
                  <a:gd name="T66" fmla="*/ 183 w 384"/>
                  <a:gd name="T67" fmla="*/ 51 h 106"/>
                  <a:gd name="T68" fmla="*/ 189 w 384"/>
                  <a:gd name="T69" fmla="*/ 61 h 106"/>
                  <a:gd name="T70" fmla="*/ 217 w 384"/>
                  <a:gd name="T71" fmla="*/ 45 h 106"/>
                  <a:gd name="T72" fmla="*/ 278 w 384"/>
                  <a:gd name="T73" fmla="*/ 39 h 106"/>
                  <a:gd name="T74" fmla="*/ 288 w 384"/>
                  <a:gd name="T75" fmla="*/ 28 h 106"/>
                  <a:gd name="T76" fmla="*/ 304 w 384"/>
                  <a:gd name="T77" fmla="*/ 39 h 106"/>
                  <a:gd name="T78" fmla="*/ 317 w 384"/>
                  <a:gd name="T79" fmla="*/ 22 h 106"/>
                  <a:gd name="T80" fmla="*/ 317 w 384"/>
                  <a:gd name="T81" fmla="*/ 22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4"/>
                  <a:gd name="T124" fmla="*/ 0 h 106"/>
                  <a:gd name="T125" fmla="*/ 384 w 384"/>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4" h="106">
                    <a:moveTo>
                      <a:pt x="317" y="22"/>
                    </a:moveTo>
                    <a:lnTo>
                      <a:pt x="384" y="6"/>
                    </a:lnTo>
                    <a:lnTo>
                      <a:pt x="304" y="0"/>
                    </a:lnTo>
                    <a:lnTo>
                      <a:pt x="272" y="10"/>
                    </a:lnTo>
                    <a:lnTo>
                      <a:pt x="256" y="6"/>
                    </a:lnTo>
                    <a:lnTo>
                      <a:pt x="243" y="10"/>
                    </a:lnTo>
                    <a:lnTo>
                      <a:pt x="205" y="6"/>
                    </a:lnTo>
                    <a:lnTo>
                      <a:pt x="176" y="10"/>
                    </a:lnTo>
                    <a:lnTo>
                      <a:pt x="160" y="16"/>
                    </a:lnTo>
                    <a:lnTo>
                      <a:pt x="132" y="16"/>
                    </a:lnTo>
                    <a:lnTo>
                      <a:pt x="67" y="28"/>
                    </a:lnTo>
                    <a:lnTo>
                      <a:pt x="111" y="39"/>
                    </a:lnTo>
                    <a:lnTo>
                      <a:pt x="199" y="28"/>
                    </a:lnTo>
                    <a:lnTo>
                      <a:pt x="195" y="39"/>
                    </a:lnTo>
                    <a:lnTo>
                      <a:pt x="138" y="45"/>
                    </a:lnTo>
                    <a:lnTo>
                      <a:pt x="144" y="51"/>
                    </a:lnTo>
                    <a:lnTo>
                      <a:pt x="99" y="51"/>
                    </a:lnTo>
                    <a:lnTo>
                      <a:pt x="116" y="61"/>
                    </a:lnTo>
                    <a:lnTo>
                      <a:pt x="83" y="55"/>
                    </a:lnTo>
                    <a:lnTo>
                      <a:pt x="55" y="61"/>
                    </a:lnTo>
                    <a:lnTo>
                      <a:pt x="77" y="61"/>
                    </a:lnTo>
                    <a:lnTo>
                      <a:pt x="77" y="77"/>
                    </a:lnTo>
                    <a:lnTo>
                      <a:pt x="49" y="73"/>
                    </a:lnTo>
                    <a:lnTo>
                      <a:pt x="16" y="77"/>
                    </a:lnTo>
                    <a:lnTo>
                      <a:pt x="0" y="89"/>
                    </a:lnTo>
                    <a:lnTo>
                      <a:pt x="77" y="89"/>
                    </a:lnTo>
                    <a:lnTo>
                      <a:pt x="105" y="106"/>
                    </a:lnTo>
                    <a:lnTo>
                      <a:pt x="128" y="83"/>
                    </a:lnTo>
                    <a:lnTo>
                      <a:pt x="105" y="77"/>
                    </a:lnTo>
                    <a:lnTo>
                      <a:pt x="128" y="73"/>
                    </a:lnTo>
                    <a:lnTo>
                      <a:pt x="160" y="77"/>
                    </a:lnTo>
                    <a:lnTo>
                      <a:pt x="183" y="67"/>
                    </a:lnTo>
                    <a:lnTo>
                      <a:pt x="160" y="55"/>
                    </a:lnTo>
                    <a:lnTo>
                      <a:pt x="183" y="51"/>
                    </a:lnTo>
                    <a:lnTo>
                      <a:pt x="189" y="61"/>
                    </a:lnTo>
                    <a:lnTo>
                      <a:pt x="217" y="45"/>
                    </a:lnTo>
                    <a:lnTo>
                      <a:pt x="278" y="39"/>
                    </a:lnTo>
                    <a:lnTo>
                      <a:pt x="288" y="28"/>
                    </a:lnTo>
                    <a:lnTo>
                      <a:pt x="304" y="39"/>
                    </a:lnTo>
                    <a:lnTo>
                      <a:pt x="317"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2" name="Freeform 77">
                <a:extLst>
                  <a:ext uri="{FF2B5EF4-FFF2-40B4-BE49-F238E27FC236}">
                    <a16:creationId xmlns:a16="http://schemas.microsoft.com/office/drawing/2014/main" id="{D178F3BD-F3BB-4A79-85E8-BEE085AF3717}"/>
                  </a:ext>
                </a:extLst>
              </p:cNvPr>
              <p:cNvSpPr>
                <a:spLocks/>
              </p:cNvSpPr>
              <p:nvPr/>
            </p:nvSpPr>
            <p:spPr bwMode="auto">
              <a:xfrm>
                <a:off x="2263905" y="1064245"/>
                <a:ext cx="132636" cy="60285"/>
              </a:xfrm>
              <a:custGeom>
                <a:avLst/>
                <a:gdLst>
                  <a:gd name="T0" fmla="*/ 0 w 101"/>
                  <a:gd name="T1" fmla="*/ 17 h 45"/>
                  <a:gd name="T2" fmla="*/ 24 w 101"/>
                  <a:gd name="T3" fmla="*/ 29 h 45"/>
                  <a:gd name="T4" fmla="*/ 6 w 101"/>
                  <a:gd name="T5" fmla="*/ 39 h 45"/>
                  <a:gd name="T6" fmla="*/ 12 w 101"/>
                  <a:gd name="T7" fmla="*/ 45 h 45"/>
                  <a:gd name="T8" fmla="*/ 40 w 101"/>
                  <a:gd name="T9" fmla="*/ 45 h 45"/>
                  <a:gd name="T10" fmla="*/ 46 w 101"/>
                  <a:gd name="T11" fmla="*/ 33 h 45"/>
                  <a:gd name="T12" fmla="*/ 101 w 101"/>
                  <a:gd name="T13" fmla="*/ 23 h 45"/>
                  <a:gd name="T14" fmla="*/ 62 w 101"/>
                  <a:gd name="T15" fmla="*/ 17 h 45"/>
                  <a:gd name="T16" fmla="*/ 56 w 101"/>
                  <a:gd name="T17" fmla="*/ 6 h 45"/>
                  <a:gd name="T18" fmla="*/ 28 w 101"/>
                  <a:gd name="T19" fmla="*/ 0 h 45"/>
                  <a:gd name="T20" fmla="*/ 0 w 101"/>
                  <a:gd name="T21" fmla="*/ 17 h 45"/>
                  <a:gd name="T22" fmla="*/ 0 w 101"/>
                  <a:gd name="T23" fmla="*/ 1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1"/>
                  <a:gd name="T37" fmla="*/ 0 h 45"/>
                  <a:gd name="T38" fmla="*/ 101 w 101"/>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1" h="45">
                    <a:moveTo>
                      <a:pt x="0" y="17"/>
                    </a:moveTo>
                    <a:lnTo>
                      <a:pt x="24" y="29"/>
                    </a:lnTo>
                    <a:lnTo>
                      <a:pt x="6" y="39"/>
                    </a:lnTo>
                    <a:lnTo>
                      <a:pt x="12" y="45"/>
                    </a:lnTo>
                    <a:lnTo>
                      <a:pt x="40" y="45"/>
                    </a:lnTo>
                    <a:lnTo>
                      <a:pt x="46" y="33"/>
                    </a:lnTo>
                    <a:lnTo>
                      <a:pt x="101" y="23"/>
                    </a:lnTo>
                    <a:lnTo>
                      <a:pt x="62" y="17"/>
                    </a:lnTo>
                    <a:lnTo>
                      <a:pt x="56" y="6"/>
                    </a:lnTo>
                    <a:lnTo>
                      <a:pt x="28" y="0"/>
                    </a:lnTo>
                    <a:lnTo>
                      <a:pt x="0" y="1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3" name="Freeform 78">
                <a:extLst>
                  <a:ext uri="{FF2B5EF4-FFF2-40B4-BE49-F238E27FC236}">
                    <a16:creationId xmlns:a16="http://schemas.microsoft.com/office/drawing/2014/main" id="{C41D32EB-0FF6-4CA1-B130-3DACBBE73564}"/>
                  </a:ext>
                </a:extLst>
              </p:cNvPr>
              <p:cNvSpPr>
                <a:spLocks/>
              </p:cNvSpPr>
              <p:nvPr/>
            </p:nvSpPr>
            <p:spPr bwMode="auto">
              <a:xfrm>
                <a:off x="2090559" y="1103095"/>
                <a:ext cx="70914" cy="34831"/>
              </a:xfrm>
              <a:custGeom>
                <a:avLst/>
                <a:gdLst>
                  <a:gd name="T0" fmla="*/ 48 w 54"/>
                  <a:gd name="T1" fmla="*/ 22 h 26"/>
                  <a:gd name="T2" fmla="*/ 54 w 54"/>
                  <a:gd name="T3" fmla="*/ 10 h 26"/>
                  <a:gd name="T4" fmla="*/ 38 w 54"/>
                  <a:gd name="T5" fmla="*/ 0 h 26"/>
                  <a:gd name="T6" fmla="*/ 10 w 54"/>
                  <a:gd name="T7" fmla="*/ 0 h 26"/>
                  <a:gd name="T8" fmla="*/ 0 w 54"/>
                  <a:gd name="T9" fmla="*/ 16 h 26"/>
                  <a:gd name="T10" fmla="*/ 16 w 54"/>
                  <a:gd name="T11" fmla="*/ 16 h 26"/>
                  <a:gd name="T12" fmla="*/ 16 w 54"/>
                  <a:gd name="T13" fmla="*/ 26 h 26"/>
                  <a:gd name="T14" fmla="*/ 32 w 54"/>
                  <a:gd name="T15" fmla="*/ 22 h 26"/>
                  <a:gd name="T16" fmla="*/ 48 w 54"/>
                  <a:gd name="T17" fmla="*/ 22 h 26"/>
                  <a:gd name="T18" fmla="*/ 48 w 54"/>
                  <a:gd name="T19" fmla="*/ 22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26"/>
                  <a:gd name="T32" fmla="*/ 54 w 54"/>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26">
                    <a:moveTo>
                      <a:pt x="48" y="22"/>
                    </a:moveTo>
                    <a:lnTo>
                      <a:pt x="54" y="10"/>
                    </a:lnTo>
                    <a:lnTo>
                      <a:pt x="38" y="0"/>
                    </a:lnTo>
                    <a:lnTo>
                      <a:pt x="10" y="0"/>
                    </a:lnTo>
                    <a:lnTo>
                      <a:pt x="0" y="16"/>
                    </a:lnTo>
                    <a:lnTo>
                      <a:pt x="16" y="16"/>
                    </a:lnTo>
                    <a:lnTo>
                      <a:pt x="16" y="26"/>
                    </a:lnTo>
                    <a:lnTo>
                      <a:pt x="32" y="22"/>
                    </a:lnTo>
                    <a:lnTo>
                      <a:pt x="48"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4" name="Freeform 79">
                <a:extLst>
                  <a:ext uri="{FF2B5EF4-FFF2-40B4-BE49-F238E27FC236}">
                    <a16:creationId xmlns:a16="http://schemas.microsoft.com/office/drawing/2014/main" id="{4EFF44B5-6E33-4E17-ADDD-AF93547ACBEC}"/>
                  </a:ext>
                </a:extLst>
              </p:cNvPr>
              <p:cNvSpPr>
                <a:spLocks/>
              </p:cNvSpPr>
              <p:nvPr/>
            </p:nvSpPr>
            <p:spPr bwMode="auto">
              <a:xfrm>
                <a:off x="2186424" y="1108453"/>
                <a:ext cx="49903" cy="24114"/>
              </a:xfrm>
              <a:custGeom>
                <a:avLst/>
                <a:gdLst>
                  <a:gd name="T0" fmla="*/ 0 w 38"/>
                  <a:gd name="T1" fmla="*/ 0 h 18"/>
                  <a:gd name="T2" fmla="*/ 4 w 38"/>
                  <a:gd name="T3" fmla="*/ 18 h 18"/>
                  <a:gd name="T4" fmla="*/ 32 w 38"/>
                  <a:gd name="T5" fmla="*/ 18 h 18"/>
                  <a:gd name="T6" fmla="*/ 38 w 38"/>
                  <a:gd name="T7" fmla="*/ 6 h 18"/>
                  <a:gd name="T8" fmla="*/ 16 w 38"/>
                  <a:gd name="T9" fmla="*/ 0 h 18"/>
                  <a:gd name="T10" fmla="*/ 0 w 38"/>
                  <a:gd name="T11" fmla="*/ 0 h 18"/>
                  <a:gd name="T12" fmla="*/ 0 w 38"/>
                  <a:gd name="T13" fmla="*/ 0 h 18"/>
                  <a:gd name="T14" fmla="*/ 0 60000 65536"/>
                  <a:gd name="T15" fmla="*/ 0 60000 65536"/>
                  <a:gd name="T16" fmla="*/ 0 60000 65536"/>
                  <a:gd name="T17" fmla="*/ 0 60000 65536"/>
                  <a:gd name="T18" fmla="*/ 0 60000 65536"/>
                  <a:gd name="T19" fmla="*/ 0 60000 65536"/>
                  <a:gd name="T20" fmla="*/ 0 60000 65536"/>
                  <a:gd name="T21" fmla="*/ 0 w 38"/>
                  <a:gd name="T22" fmla="*/ 0 h 18"/>
                  <a:gd name="T23" fmla="*/ 38 w 3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18">
                    <a:moveTo>
                      <a:pt x="0" y="0"/>
                    </a:moveTo>
                    <a:lnTo>
                      <a:pt x="4" y="18"/>
                    </a:lnTo>
                    <a:lnTo>
                      <a:pt x="32" y="18"/>
                    </a:lnTo>
                    <a:lnTo>
                      <a:pt x="38" y="6"/>
                    </a:lnTo>
                    <a:lnTo>
                      <a:pt x="16" y="0"/>
                    </a:lnTo>
                    <a:lnTo>
                      <a:pt x="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5" name="Freeform 80">
                <a:extLst>
                  <a:ext uri="{FF2B5EF4-FFF2-40B4-BE49-F238E27FC236}">
                    <a16:creationId xmlns:a16="http://schemas.microsoft.com/office/drawing/2014/main" id="{7C116A95-556F-49AC-8E06-CD10CEAE435F}"/>
                  </a:ext>
                </a:extLst>
              </p:cNvPr>
              <p:cNvSpPr>
                <a:spLocks/>
              </p:cNvSpPr>
              <p:nvPr/>
            </p:nvSpPr>
            <p:spPr bwMode="auto">
              <a:xfrm>
                <a:off x="2207436" y="1163380"/>
                <a:ext cx="196984" cy="34831"/>
              </a:xfrm>
              <a:custGeom>
                <a:avLst/>
                <a:gdLst>
                  <a:gd name="T0" fmla="*/ 26 w 150"/>
                  <a:gd name="T1" fmla="*/ 0 h 26"/>
                  <a:gd name="T2" fmla="*/ 10 w 150"/>
                  <a:gd name="T3" fmla="*/ 0 h 26"/>
                  <a:gd name="T4" fmla="*/ 10 w 150"/>
                  <a:gd name="T5" fmla="*/ 10 h 26"/>
                  <a:gd name="T6" fmla="*/ 0 w 150"/>
                  <a:gd name="T7" fmla="*/ 22 h 26"/>
                  <a:gd name="T8" fmla="*/ 116 w 150"/>
                  <a:gd name="T9" fmla="*/ 26 h 26"/>
                  <a:gd name="T10" fmla="*/ 122 w 150"/>
                  <a:gd name="T11" fmla="*/ 16 h 26"/>
                  <a:gd name="T12" fmla="*/ 150 w 150"/>
                  <a:gd name="T13" fmla="*/ 22 h 26"/>
                  <a:gd name="T14" fmla="*/ 144 w 150"/>
                  <a:gd name="T15" fmla="*/ 10 h 26"/>
                  <a:gd name="T16" fmla="*/ 132 w 150"/>
                  <a:gd name="T17" fmla="*/ 0 h 26"/>
                  <a:gd name="T18" fmla="*/ 89 w 150"/>
                  <a:gd name="T19" fmla="*/ 10 h 26"/>
                  <a:gd name="T20" fmla="*/ 32 w 150"/>
                  <a:gd name="T21" fmla="*/ 10 h 26"/>
                  <a:gd name="T22" fmla="*/ 26 w 150"/>
                  <a:gd name="T23" fmla="*/ 0 h 26"/>
                  <a:gd name="T24" fmla="*/ 26 w 150"/>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
                  <a:gd name="T40" fmla="*/ 0 h 26"/>
                  <a:gd name="T41" fmla="*/ 150 w 150"/>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 h="26">
                    <a:moveTo>
                      <a:pt x="26" y="0"/>
                    </a:moveTo>
                    <a:lnTo>
                      <a:pt x="10" y="0"/>
                    </a:lnTo>
                    <a:lnTo>
                      <a:pt x="10" y="10"/>
                    </a:lnTo>
                    <a:lnTo>
                      <a:pt x="0" y="22"/>
                    </a:lnTo>
                    <a:lnTo>
                      <a:pt x="116" y="26"/>
                    </a:lnTo>
                    <a:lnTo>
                      <a:pt x="122" y="16"/>
                    </a:lnTo>
                    <a:lnTo>
                      <a:pt x="150" y="22"/>
                    </a:lnTo>
                    <a:lnTo>
                      <a:pt x="144" y="10"/>
                    </a:lnTo>
                    <a:lnTo>
                      <a:pt x="132" y="0"/>
                    </a:lnTo>
                    <a:lnTo>
                      <a:pt x="89" y="10"/>
                    </a:lnTo>
                    <a:lnTo>
                      <a:pt x="32" y="10"/>
                    </a:lnTo>
                    <a:lnTo>
                      <a:pt x="26"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6" name="Freeform 81">
                <a:extLst>
                  <a:ext uri="{FF2B5EF4-FFF2-40B4-BE49-F238E27FC236}">
                    <a16:creationId xmlns:a16="http://schemas.microsoft.com/office/drawing/2014/main" id="{2B102189-D779-4876-A0AF-F7910CBE76AC}"/>
                  </a:ext>
                </a:extLst>
              </p:cNvPr>
              <p:cNvSpPr>
                <a:spLocks/>
              </p:cNvSpPr>
              <p:nvPr/>
            </p:nvSpPr>
            <p:spPr bwMode="auto">
              <a:xfrm>
                <a:off x="2132582" y="1176776"/>
                <a:ext cx="45963" cy="21434"/>
              </a:xfrm>
              <a:custGeom>
                <a:avLst/>
                <a:gdLst>
                  <a:gd name="T0" fmla="*/ 35 w 35"/>
                  <a:gd name="T1" fmla="*/ 16 h 16"/>
                  <a:gd name="T2" fmla="*/ 35 w 35"/>
                  <a:gd name="T3" fmla="*/ 0 h 16"/>
                  <a:gd name="T4" fmla="*/ 28 w 35"/>
                  <a:gd name="T5" fmla="*/ 0 h 16"/>
                  <a:gd name="T6" fmla="*/ 0 w 35"/>
                  <a:gd name="T7" fmla="*/ 12 h 16"/>
                  <a:gd name="T8" fmla="*/ 35 w 35"/>
                  <a:gd name="T9" fmla="*/ 16 h 16"/>
                  <a:gd name="T10" fmla="*/ 35 w 35"/>
                  <a:gd name="T11" fmla="*/ 16 h 16"/>
                  <a:gd name="T12" fmla="*/ 0 60000 65536"/>
                  <a:gd name="T13" fmla="*/ 0 60000 65536"/>
                  <a:gd name="T14" fmla="*/ 0 60000 65536"/>
                  <a:gd name="T15" fmla="*/ 0 60000 65536"/>
                  <a:gd name="T16" fmla="*/ 0 60000 65536"/>
                  <a:gd name="T17" fmla="*/ 0 60000 65536"/>
                  <a:gd name="T18" fmla="*/ 0 w 35"/>
                  <a:gd name="T19" fmla="*/ 0 h 16"/>
                  <a:gd name="T20" fmla="*/ 35 w 3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5" h="16">
                    <a:moveTo>
                      <a:pt x="35" y="16"/>
                    </a:moveTo>
                    <a:lnTo>
                      <a:pt x="35" y="0"/>
                    </a:lnTo>
                    <a:lnTo>
                      <a:pt x="28" y="0"/>
                    </a:lnTo>
                    <a:lnTo>
                      <a:pt x="0" y="12"/>
                    </a:lnTo>
                    <a:lnTo>
                      <a:pt x="35"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7" name="Freeform 82">
                <a:extLst>
                  <a:ext uri="{FF2B5EF4-FFF2-40B4-BE49-F238E27FC236}">
                    <a16:creationId xmlns:a16="http://schemas.microsoft.com/office/drawing/2014/main" id="{4B53B9CF-A637-4CFE-8E9C-C7CAB3961FA6}"/>
                  </a:ext>
                </a:extLst>
              </p:cNvPr>
              <p:cNvSpPr>
                <a:spLocks/>
              </p:cNvSpPr>
              <p:nvPr/>
            </p:nvSpPr>
            <p:spPr bwMode="auto">
              <a:xfrm>
                <a:off x="2161473" y="1137926"/>
                <a:ext cx="45963" cy="30812"/>
              </a:xfrm>
              <a:custGeom>
                <a:avLst/>
                <a:gdLst>
                  <a:gd name="T0" fmla="*/ 0 w 35"/>
                  <a:gd name="T1" fmla="*/ 12 h 23"/>
                  <a:gd name="T2" fmla="*/ 23 w 35"/>
                  <a:gd name="T3" fmla="*/ 23 h 23"/>
                  <a:gd name="T4" fmla="*/ 35 w 35"/>
                  <a:gd name="T5" fmla="*/ 6 h 23"/>
                  <a:gd name="T6" fmla="*/ 19 w 35"/>
                  <a:gd name="T7" fmla="*/ 0 h 23"/>
                  <a:gd name="T8" fmla="*/ 0 w 35"/>
                  <a:gd name="T9" fmla="*/ 12 h 23"/>
                  <a:gd name="T10" fmla="*/ 0 w 35"/>
                  <a:gd name="T11" fmla="*/ 12 h 23"/>
                  <a:gd name="T12" fmla="*/ 0 60000 65536"/>
                  <a:gd name="T13" fmla="*/ 0 60000 65536"/>
                  <a:gd name="T14" fmla="*/ 0 60000 65536"/>
                  <a:gd name="T15" fmla="*/ 0 60000 65536"/>
                  <a:gd name="T16" fmla="*/ 0 60000 65536"/>
                  <a:gd name="T17" fmla="*/ 0 60000 65536"/>
                  <a:gd name="T18" fmla="*/ 0 w 35"/>
                  <a:gd name="T19" fmla="*/ 0 h 23"/>
                  <a:gd name="T20" fmla="*/ 35 w 35"/>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5" h="23">
                    <a:moveTo>
                      <a:pt x="0" y="12"/>
                    </a:moveTo>
                    <a:lnTo>
                      <a:pt x="23" y="23"/>
                    </a:lnTo>
                    <a:lnTo>
                      <a:pt x="35" y="6"/>
                    </a:lnTo>
                    <a:lnTo>
                      <a:pt x="19" y="0"/>
                    </a:lnTo>
                    <a:lnTo>
                      <a:pt x="0"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8" name="Freeform 83">
                <a:extLst>
                  <a:ext uri="{FF2B5EF4-FFF2-40B4-BE49-F238E27FC236}">
                    <a16:creationId xmlns:a16="http://schemas.microsoft.com/office/drawing/2014/main" id="{EEF79912-843A-4D11-9190-58AC6248CE1F}"/>
                  </a:ext>
                </a:extLst>
              </p:cNvPr>
              <p:cNvSpPr>
                <a:spLocks/>
              </p:cNvSpPr>
              <p:nvPr/>
            </p:nvSpPr>
            <p:spPr bwMode="auto">
              <a:xfrm>
                <a:off x="2098438" y="1206248"/>
                <a:ext cx="101118" cy="46888"/>
              </a:xfrm>
              <a:custGeom>
                <a:avLst/>
                <a:gdLst>
                  <a:gd name="T0" fmla="*/ 42 w 77"/>
                  <a:gd name="T1" fmla="*/ 22 h 35"/>
                  <a:gd name="T2" fmla="*/ 77 w 77"/>
                  <a:gd name="T3" fmla="*/ 0 h 35"/>
                  <a:gd name="T4" fmla="*/ 32 w 77"/>
                  <a:gd name="T5" fmla="*/ 0 h 35"/>
                  <a:gd name="T6" fmla="*/ 4 w 77"/>
                  <a:gd name="T7" fmla="*/ 12 h 35"/>
                  <a:gd name="T8" fmla="*/ 0 w 77"/>
                  <a:gd name="T9" fmla="*/ 28 h 35"/>
                  <a:gd name="T10" fmla="*/ 10 w 77"/>
                  <a:gd name="T11" fmla="*/ 35 h 35"/>
                  <a:gd name="T12" fmla="*/ 26 w 77"/>
                  <a:gd name="T13" fmla="*/ 22 h 35"/>
                  <a:gd name="T14" fmla="*/ 42 w 77"/>
                  <a:gd name="T15" fmla="*/ 22 h 35"/>
                  <a:gd name="T16" fmla="*/ 42 w 77"/>
                  <a:gd name="T17" fmla="*/ 22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35"/>
                  <a:gd name="T29" fmla="*/ 77 w 7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35">
                    <a:moveTo>
                      <a:pt x="42" y="22"/>
                    </a:moveTo>
                    <a:lnTo>
                      <a:pt x="77" y="0"/>
                    </a:lnTo>
                    <a:lnTo>
                      <a:pt x="32" y="0"/>
                    </a:lnTo>
                    <a:lnTo>
                      <a:pt x="4" y="12"/>
                    </a:lnTo>
                    <a:lnTo>
                      <a:pt x="0" y="28"/>
                    </a:lnTo>
                    <a:lnTo>
                      <a:pt x="10" y="35"/>
                    </a:lnTo>
                    <a:lnTo>
                      <a:pt x="26" y="22"/>
                    </a:lnTo>
                    <a:lnTo>
                      <a:pt x="42"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9" name="Freeform 84">
                <a:extLst>
                  <a:ext uri="{FF2B5EF4-FFF2-40B4-BE49-F238E27FC236}">
                    <a16:creationId xmlns:a16="http://schemas.microsoft.com/office/drawing/2014/main" id="{5186491F-AAE4-4094-B2A8-630D1E26A46F}"/>
                  </a:ext>
                </a:extLst>
              </p:cNvPr>
              <p:cNvSpPr>
                <a:spLocks noEditPoints="1"/>
              </p:cNvSpPr>
              <p:nvPr/>
            </p:nvSpPr>
            <p:spPr bwMode="auto">
              <a:xfrm>
                <a:off x="2169352" y="1206248"/>
                <a:ext cx="408412" cy="269270"/>
              </a:xfrm>
              <a:custGeom>
                <a:avLst/>
                <a:gdLst>
                  <a:gd name="T0" fmla="*/ 13 w 311"/>
                  <a:gd name="T1" fmla="*/ 22 h 201"/>
                  <a:gd name="T2" fmla="*/ 0 w 311"/>
                  <a:gd name="T3" fmla="*/ 45 h 201"/>
                  <a:gd name="T4" fmla="*/ 23 w 311"/>
                  <a:gd name="T5" fmla="*/ 45 h 201"/>
                  <a:gd name="T6" fmla="*/ 13 w 311"/>
                  <a:gd name="T7" fmla="*/ 57 h 201"/>
                  <a:gd name="T8" fmla="*/ 23 w 311"/>
                  <a:gd name="T9" fmla="*/ 61 h 201"/>
                  <a:gd name="T10" fmla="*/ 45 w 311"/>
                  <a:gd name="T11" fmla="*/ 51 h 201"/>
                  <a:gd name="T12" fmla="*/ 96 w 311"/>
                  <a:gd name="T13" fmla="*/ 61 h 201"/>
                  <a:gd name="T14" fmla="*/ 112 w 311"/>
                  <a:gd name="T15" fmla="*/ 67 h 201"/>
                  <a:gd name="T16" fmla="*/ 122 w 311"/>
                  <a:gd name="T17" fmla="*/ 57 h 201"/>
                  <a:gd name="T18" fmla="*/ 145 w 311"/>
                  <a:gd name="T19" fmla="*/ 67 h 201"/>
                  <a:gd name="T20" fmla="*/ 173 w 311"/>
                  <a:gd name="T21" fmla="*/ 96 h 201"/>
                  <a:gd name="T22" fmla="*/ 161 w 311"/>
                  <a:gd name="T23" fmla="*/ 112 h 201"/>
                  <a:gd name="T24" fmla="*/ 145 w 311"/>
                  <a:gd name="T25" fmla="*/ 128 h 201"/>
                  <a:gd name="T26" fmla="*/ 112 w 311"/>
                  <a:gd name="T27" fmla="*/ 140 h 201"/>
                  <a:gd name="T28" fmla="*/ 90 w 311"/>
                  <a:gd name="T29" fmla="*/ 134 h 201"/>
                  <a:gd name="T30" fmla="*/ 67 w 311"/>
                  <a:gd name="T31" fmla="*/ 146 h 201"/>
                  <a:gd name="T32" fmla="*/ 84 w 311"/>
                  <a:gd name="T33" fmla="*/ 163 h 201"/>
                  <a:gd name="T34" fmla="*/ 112 w 311"/>
                  <a:gd name="T35" fmla="*/ 150 h 201"/>
                  <a:gd name="T36" fmla="*/ 145 w 311"/>
                  <a:gd name="T37" fmla="*/ 156 h 201"/>
                  <a:gd name="T38" fmla="*/ 151 w 311"/>
                  <a:gd name="T39" fmla="*/ 179 h 201"/>
                  <a:gd name="T40" fmla="*/ 206 w 311"/>
                  <a:gd name="T41" fmla="*/ 201 h 201"/>
                  <a:gd name="T42" fmla="*/ 212 w 311"/>
                  <a:gd name="T43" fmla="*/ 191 h 201"/>
                  <a:gd name="T44" fmla="*/ 183 w 311"/>
                  <a:gd name="T45" fmla="*/ 163 h 201"/>
                  <a:gd name="T46" fmla="*/ 222 w 311"/>
                  <a:gd name="T47" fmla="*/ 173 h 201"/>
                  <a:gd name="T48" fmla="*/ 250 w 311"/>
                  <a:gd name="T49" fmla="*/ 169 h 201"/>
                  <a:gd name="T50" fmla="*/ 222 w 311"/>
                  <a:gd name="T51" fmla="*/ 134 h 201"/>
                  <a:gd name="T52" fmla="*/ 228 w 311"/>
                  <a:gd name="T53" fmla="*/ 118 h 201"/>
                  <a:gd name="T54" fmla="*/ 256 w 311"/>
                  <a:gd name="T55" fmla="*/ 124 h 201"/>
                  <a:gd name="T56" fmla="*/ 256 w 311"/>
                  <a:gd name="T57" fmla="*/ 134 h 201"/>
                  <a:gd name="T58" fmla="*/ 273 w 311"/>
                  <a:gd name="T59" fmla="*/ 146 h 201"/>
                  <a:gd name="T60" fmla="*/ 279 w 311"/>
                  <a:gd name="T61" fmla="*/ 134 h 201"/>
                  <a:gd name="T62" fmla="*/ 311 w 311"/>
                  <a:gd name="T63" fmla="*/ 118 h 201"/>
                  <a:gd name="T64" fmla="*/ 301 w 311"/>
                  <a:gd name="T65" fmla="*/ 106 h 201"/>
                  <a:gd name="T66" fmla="*/ 273 w 311"/>
                  <a:gd name="T67" fmla="*/ 112 h 201"/>
                  <a:gd name="T68" fmla="*/ 285 w 311"/>
                  <a:gd name="T69" fmla="*/ 102 h 201"/>
                  <a:gd name="T70" fmla="*/ 240 w 311"/>
                  <a:gd name="T71" fmla="*/ 83 h 201"/>
                  <a:gd name="T72" fmla="*/ 262 w 311"/>
                  <a:gd name="T73" fmla="*/ 79 h 201"/>
                  <a:gd name="T74" fmla="*/ 266 w 311"/>
                  <a:gd name="T75" fmla="*/ 61 h 201"/>
                  <a:gd name="T76" fmla="*/ 244 w 311"/>
                  <a:gd name="T77" fmla="*/ 57 h 201"/>
                  <a:gd name="T78" fmla="*/ 218 w 311"/>
                  <a:gd name="T79" fmla="*/ 61 h 201"/>
                  <a:gd name="T80" fmla="*/ 234 w 311"/>
                  <a:gd name="T81" fmla="*/ 45 h 201"/>
                  <a:gd name="T82" fmla="*/ 195 w 311"/>
                  <a:gd name="T83" fmla="*/ 35 h 201"/>
                  <a:gd name="T84" fmla="*/ 128 w 311"/>
                  <a:gd name="T85" fmla="*/ 28 h 201"/>
                  <a:gd name="T86" fmla="*/ 139 w 311"/>
                  <a:gd name="T87" fmla="*/ 16 h 201"/>
                  <a:gd name="T88" fmla="*/ 118 w 311"/>
                  <a:gd name="T89" fmla="*/ 6 h 201"/>
                  <a:gd name="T90" fmla="*/ 72 w 311"/>
                  <a:gd name="T91" fmla="*/ 22 h 201"/>
                  <a:gd name="T92" fmla="*/ 78 w 311"/>
                  <a:gd name="T93" fmla="*/ 35 h 201"/>
                  <a:gd name="T94" fmla="*/ 55 w 311"/>
                  <a:gd name="T95" fmla="*/ 39 h 201"/>
                  <a:gd name="T96" fmla="*/ 55 w 311"/>
                  <a:gd name="T97" fmla="*/ 28 h 201"/>
                  <a:gd name="T98" fmla="*/ 72 w 311"/>
                  <a:gd name="T99" fmla="*/ 12 h 201"/>
                  <a:gd name="T100" fmla="*/ 84 w 311"/>
                  <a:gd name="T101" fmla="*/ 6 h 201"/>
                  <a:gd name="T102" fmla="*/ 72 w 311"/>
                  <a:gd name="T103" fmla="*/ 0 h 201"/>
                  <a:gd name="T104" fmla="*/ 13 w 311"/>
                  <a:gd name="T105" fmla="*/ 22 h 201"/>
                  <a:gd name="T106" fmla="*/ 13 w 311"/>
                  <a:gd name="T107" fmla="*/ 22 h 201"/>
                  <a:gd name="T108" fmla="*/ 173 w 311"/>
                  <a:gd name="T109" fmla="*/ 128 h 201"/>
                  <a:gd name="T110" fmla="*/ 179 w 311"/>
                  <a:gd name="T111" fmla="*/ 112 h 201"/>
                  <a:gd name="T112" fmla="*/ 212 w 311"/>
                  <a:gd name="T113" fmla="*/ 118 h 201"/>
                  <a:gd name="T114" fmla="*/ 212 w 311"/>
                  <a:gd name="T115" fmla="*/ 128 h 201"/>
                  <a:gd name="T116" fmla="*/ 189 w 311"/>
                  <a:gd name="T117" fmla="*/ 134 h 201"/>
                  <a:gd name="T118" fmla="*/ 173 w 311"/>
                  <a:gd name="T119" fmla="*/ 128 h 201"/>
                  <a:gd name="T120" fmla="*/ 173 w 311"/>
                  <a:gd name="T121" fmla="*/ 128 h 2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1"/>
                  <a:gd name="T184" fmla="*/ 0 h 201"/>
                  <a:gd name="T185" fmla="*/ 311 w 311"/>
                  <a:gd name="T186" fmla="*/ 201 h 2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1" h="201">
                    <a:moveTo>
                      <a:pt x="13" y="22"/>
                    </a:moveTo>
                    <a:lnTo>
                      <a:pt x="0" y="45"/>
                    </a:lnTo>
                    <a:lnTo>
                      <a:pt x="23" y="45"/>
                    </a:lnTo>
                    <a:lnTo>
                      <a:pt x="13" y="57"/>
                    </a:lnTo>
                    <a:lnTo>
                      <a:pt x="23" y="61"/>
                    </a:lnTo>
                    <a:lnTo>
                      <a:pt x="45" y="51"/>
                    </a:lnTo>
                    <a:lnTo>
                      <a:pt x="96" y="61"/>
                    </a:lnTo>
                    <a:lnTo>
                      <a:pt x="112" y="67"/>
                    </a:lnTo>
                    <a:lnTo>
                      <a:pt x="122" y="57"/>
                    </a:lnTo>
                    <a:lnTo>
                      <a:pt x="145" y="67"/>
                    </a:lnTo>
                    <a:lnTo>
                      <a:pt x="173" y="96"/>
                    </a:lnTo>
                    <a:lnTo>
                      <a:pt x="161" y="112"/>
                    </a:lnTo>
                    <a:lnTo>
                      <a:pt x="145" y="128"/>
                    </a:lnTo>
                    <a:lnTo>
                      <a:pt x="112" y="140"/>
                    </a:lnTo>
                    <a:lnTo>
                      <a:pt x="90" y="134"/>
                    </a:lnTo>
                    <a:lnTo>
                      <a:pt x="67" y="146"/>
                    </a:lnTo>
                    <a:lnTo>
                      <a:pt x="84" y="163"/>
                    </a:lnTo>
                    <a:lnTo>
                      <a:pt x="112" y="150"/>
                    </a:lnTo>
                    <a:lnTo>
                      <a:pt x="145" y="156"/>
                    </a:lnTo>
                    <a:lnTo>
                      <a:pt x="151" y="179"/>
                    </a:lnTo>
                    <a:lnTo>
                      <a:pt x="206" y="201"/>
                    </a:lnTo>
                    <a:lnTo>
                      <a:pt x="212" y="191"/>
                    </a:lnTo>
                    <a:lnTo>
                      <a:pt x="183" y="163"/>
                    </a:lnTo>
                    <a:lnTo>
                      <a:pt x="222" y="173"/>
                    </a:lnTo>
                    <a:lnTo>
                      <a:pt x="250" y="169"/>
                    </a:lnTo>
                    <a:lnTo>
                      <a:pt x="222" y="134"/>
                    </a:lnTo>
                    <a:lnTo>
                      <a:pt x="228" y="118"/>
                    </a:lnTo>
                    <a:lnTo>
                      <a:pt x="256" y="124"/>
                    </a:lnTo>
                    <a:lnTo>
                      <a:pt x="256" y="134"/>
                    </a:lnTo>
                    <a:lnTo>
                      <a:pt x="273" y="146"/>
                    </a:lnTo>
                    <a:lnTo>
                      <a:pt x="279" y="134"/>
                    </a:lnTo>
                    <a:lnTo>
                      <a:pt x="311" y="118"/>
                    </a:lnTo>
                    <a:lnTo>
                      <a:pt x="301" y="106"/>
                    </a:lnTo>
                    <a:lnTo>
                      <a:pt x="273" y="112"/>
                    </a:lnTo>
                    <a:lnTo>
                      <a:pt x="285" y="102"/>
                    </a:lnTo>
                    <a:lnTo>
                      <a:pt x="240" y="83"/>
                    </a:lnTo>
                    <a:lnTo>
                      <a:pt x="262" y="79"/>
                    </a:lnTo>
                    <a:lnTo>
                      <a:pt x="266" y="61"/>
                    </a:lnTo>
                    <a:lnTo>
                      <a:pt x="244" y="57"/>
                    </a:lnTo>
                    <a:lnTo>
                      <a:pt x="218" y="61"/>
                    </a:lnTo>
                    <a:lnTo>
                      <a:pt x="234" y="45"/>
                    </a:lnTo>
                    <a:lnTo>
                      <a:pt x="195" y="35"/>
                    </a:lnTo>
                    <a:lnTo>
                      <a:pt x="128" y="28"/>
                    </a:lnTo>
                    <a:lnTo>
                      <a:pt x="139" y="16"/>
                    </a:lnTo>
                    <a:lnTo>
                      <a:pt x="118" y="6"/>
                    </a:lnTo>
                    <a:lnTo>
                      <a:pt x="72" y="22"/>
                    </a:lnTo>
                    <a:lnTo>
                      <a:pt x="78" y="35"/>
                    </a:lnTo>
                    <a:lnTo>
                      <a:pt x="55" y="39"/>
                    </a:lnTo>
                    <a:lnTo>
                      <a:pt x="55" y="28"/>
                    </a:lnTo>
                    <a:lnTo>
                      <a:pt x="72" y="12"/>
                    </a:lnTo>
                    <a:lnTo>
                      <a:pt x="84" y="6"/>
                    </a:lnTo>
                    <a:lnTo>
                      <a:pt x="72" y="0"/>
                    </a:lnTo>
                    <a:lnTo>
                      <a:pt x="13" y="22"/>
                    </a:lnTo>
                    <a:close/>
                    <a:moveTo>
                      <a:pt x="173" y="128"/>
                    </a:moveTo>
                    <a:lnTo>
                      <a:pt x="179" y="112"/>
                    </a:lnTo>
                    <a:lnTo>
                      <a:pt x="212" y="118"/>
                    </a:lnTo>
                    <a:lnTo>
                      <a:pt x="212" y="128"/>
                    </a:lnTo>
                    <a:lnTo>
                      <a:pt x="189" y="134"/>
                    </a:lnTo>
                    <a:lnTo>
                      <a:pt x="173" y="12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0" name="Freeform 85">
                <a:extLst>
                  <a:ext uri="{FF2B5EF4-FFF2-40B4-BE49-F238E27FC236}">
                    <a16:creationId xmlns:a16="http://schemas.microsoft.com/office/drawing/2014/main" id="{1F44669C-8298-4125-8862-24590D3D4C73}"/>
                  </a:ext>
                </a:extLst>
              </p:cNvPr>
              <p:cNvSpPr>
                <a:spLocks/>
              </p:cNvSpPr>
              <p:nvPr/>
            </p:nvSpPr>
            <p:spPr bwMode="auto">
              <a:xfrm>
                <a:off x="2359770" y="1206248"/>
                <a:ext cx="57782" cy="21434"/>
              </a:xfrm>
              <a:custGeom>
                <a:avLst/>
                <a:gdLst>
                  <a:gd name="T0" fmla="*/ 0 w 44"/>
                  <a:gd name="T1" fmla="*/ 0 h 16"/>
                  <a:gd name="T2" fmla="*/ 0 w 44"/>
                  <a:gd name="T3" fmla="*/ 12 h 16"/>
                  <a:gd name="T4" fmla="*/ 28 w 44"/>
                  <a:gd name="T5" fmla="*/ 16 h 16"/>
                  <a:gd name="T6" fmla="*/ 44 w 44"/>
                  <a:gd name="T7" fmla="*/ 16 h 16"/>
                  <a:gd name="T8" fmla="*/ 44 w 44"/>
                  <a:gd name="T9" fmla="*/ 0 h 16"/>
                  <a:gd name="T10" fmla="*/ 0 w 44"/>
                  <a:gd name="T11" fmla="*/ 0 h 16"/>
                  <a:gd name="T12" fmla="*/ 0 w 44"/>
                  <a:gd name="T13" fmla="*/ 0 h 16"/>
                  <a:gd name="T14" fmla="*/ 0 60000 65536"/>
                  <a:gd name="T15" fmla="*/ 0 60000 65536"/>
                  <a:gd name="T16" fmla="*/ 0 60000 65536"/>
                  <a:gd name="T17" fmla="*/ 0 60000 65536"/>
                  <a:gd name="T18" fmla="*/ 0 60000 65536"/>
                  <a:gd name="T19" fmla="*/ 0 60000 65536"/>
                  <a:gd name="T20" fmla="*/ 0 60000 65536"/>
                  <a:gd name="T21" fmla="*/ 0 w 44"/>
                  <a:gd name="T22" fmla="*/ 0 h 16"/>
                  <a:gd name="T23" fmla="*/ 44 w 4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16">
                    <a:moveTo>
                      <a:pt x="0" y="0"/>
                    </a:moveTo>
                    <a:lnTo>
                      <a:pt x="0" y="12"/>
                    </a:lnTo>
                    <a:lnTo>
                      <a:pt x="28" y="16"/>
                    </a:lnTo>
                    <a:lnTo>
                      <a:pt x="44" y="16"/>
                    </a:lnTo>
                    <a:lnTo>
                      <a:pt x="44" y="0"/>
                    </a:lnTo>
                    <a:lnTo>
                      <a:pt x="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1" name="Freeform 86">
                <a:extLst>
                  <a:ext uri="{FF2B5EF4-FFF2-40B4-BE49-F238E27FC236}">
                    <a16:creationId xmlns:a16="http://schemas.microsoft.com/office/drawing/2014/main" id="{31C87F1A-BD95-4734-84EE-D940E05053CD}"/>
                  </a:ext>
                </a:extLst>
              </p:cNvPr>
              <p:cNvSpPr>
                <a:spLocks/>
              </p:cNvSpPr>
              <p:nvPr/>
            </p:nvSpPr>
            <p:spPr bwMode="auto">
              <a:xfrm>
                <a:off x="2308554" y="1317439"/>
                <a:ext cx="59095" cy="30812"/>
              </a:xfrm>
              <a:custGeom>
                <a:avLst/>
                <a:gdLst>
                  <a:gd name="T0" fmla="*/ 39 w 45"/>
                  <a:gd name="T1" fmla="*/ 0 h 23"/>
                  <a:gd name="T2" fmla="*/ 16 w 45"/>
                  <a:gd name="T3" fmla="*/ 13 h 23"/>
                  <a:gd name="T4" fmla="*/ 0 w 45"/>
                  <a:gd name="T5" fmla="*/ 23 h 23"/>
                  <a:gd name="T6" fmla="*/ 28 w 45"/>
                  <a:gd name="T7" fmla="*/ 23 h 23"/>
                  <a:gd name="T8" fmla="*/ 45 w 45"/>
                  <a:gd name="T9" fmla="*/ 19 h 23"/>
                  <a:gd name="T10" fmla="*/ 39 w 45"/>
                  <a:gd name="T11" fmla="*/ 0 h 23"/>
                  <a:gd name="T12" fmla="*/ 39 w 45"/>
                  <a:gd name="T13" fmla="*/ 0 h 23"/>
                  <a:gd name="T14" fmla="*/ 0 60000 65536"/>
                  <a:gd name="T15" fmla="*/ 0 60000 65536"/>
                  <a:gd name="T16" fmla="*/ 0 60000 65536"/>
                  <a:gd name="T17" fmla="*/ 0 60000 65536"/>
                  <a:gd name="T18" fmla="*/ 0 60000 65536"/>
                  <a:gd name="T19" fmla="*/ 0 60000 65536"/>
                  <a:gd name="T20" fmla="*/ 0 60000 65536"/>
                  <a:gd name="T21" fmla="*/ 0 w 45"/>
                  <a:gd name="T22" fmla="*/ 0 h 23"/>
                  <a:gd name="T23" fmla="*/ 45 w 45"/>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3">
                    <a:moveTo>
                      <a:pt x="39" y="0"/>
                    </a:moveTo>
                    <a:lnTo>
                      <a:pt x="16" y="13"/>
                    </a:lnTo>
                    <a:lnTo>
                      <a:pt x="0" y="23"/>
                    </a:lnTo>
                    <a:lnTo>
                      <a:pt x="28" y="23"/>
                    </a:lnTo>
                    <a:lnTo>
                      <a:pt x="45" y="19"/>
                    </a:lnTo>
                    <a:lnTo>
                      <a:pt x="39"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2" name="Freeform 87">
                <a:extLst>
                  <a:ext uri="{FF2B5EF4-FFF2-40B4-BE49-F238E27FC236}">
                    <a16:creationId xmlns:a16="http://schemas.microsoft.com/office/drawing/2014/main" id="{B83C7653-6FD5-40F3-A017-192E845AD76C}"/>
                  </a:ext>
                </a:extLst>
              </p:cNvPr>
              <p:cNvSpPr>
                <a:spLocks/>
              </p:cNvSpPr>
              <p:nvPr/>
            </p:nvSpPr>
            <p:spPr bwMode="auto">
              <a:xfrm>
                <a:off x="1043921" y="1258495"/>
                <a:ext cx="1504954" cy="696620"/>
              </a:xfrm>
              <a:custGeom>
                <a:avLst/>
                <a:gdLst>
                  <a:gd name="T0" fmla="*/ 890 w 1146"/>
                  <a:gd name="T1" fmla="*/ 85 h 520"/>
                  <a:gd name="T2" fmla="*/ 896 w 1146"/>
                  <a:gd name="T3" fmla="*/ 28 h 520"/>
                  <a:gd name="T4" fmla="*/ 829 w 1146"/>
                  <a:gd name="T5" fmla="*/ 67 h 520"/>
                  <a:gd name="T6" fmla="*/ 807 w 1146"/>
                  <a:gd name="T7" fmla="*/ 50 h 520"/>
                  <a:gd name="T8" fmla="*/ 803 w 1146"/>
                  <a:gd name="T9" fmla="*/ 0 h 520"/>
                  <a:gd name="T10" fmla="*/ 752 w 1146"/>
                  <a:gd name="T11" fmla="*/ 57 h 520"/>
                  <a:gd name="T12" fmla="*/ 675 w 1146"/>
                  <a:gd name="T13" fmla="*/ 63 h 520"/>
                  <a:gd name="T14" fmla="*/ 567 w 1146"/>
                  <a:gd name="T15" fmla="*/ 79 h 520"/>
                  <a:gd name="T16" fmla="*/ 484 w 1146"/>
                  <a:gd name="T17" fmla="*/ 63 h 520"/>
                  <a:gd name="T18" fmla="*/ 384 w 1146"/>
                  <a:gd name="T19" fmla="*/ 34 h 520"/>
                  <a:gd name="T20" fmla="*/ 336 w 1146"/>
                  <a:gd name="T21" fmla="*/ 34 h 520"/>
                  <a:gd name="T22" fmla="*/ 189 w 1146"/>
                  <a:gd name="T23" fmla="*/ 34 h 520"/>
                  <a:gd name="T24" fmla="*/ 29 w 1146"/>
                  <a:gd name="T25" fmla="*/ 191 h 520"/>
                  <a:gd name="T26" fmla="*/ 67 w 1146"/>
                  <a:gd name="T27" fmla="*/ 223 h 520"/>
                  <a:gd name="T28" fmla="*/ 51 w 1146"/>
                  <a:gd name="T29" fmla="*/ 286 h 520"/>
                  <a:gd name="T30" fmla="*/ 45 w 1146"/>
                  <a:gd name="T31" fmla="*/ 319 h 520"/>
                  <a:gd name="T32" fmla="*/ 29 w 1146"/>
                  <a:gd name="T33" fmla="*/ 353 h 520"/>
                  <a:gd name="T34" fmla="*/ 508 w 1146"/>
                  <a:gd name="T35" fmla="*/ 396 h 520"/>
                  <a:gd name="T36" fmla="*/ 530 w 1146"/>
                  <a:gd name="T37" fmla="*/ 402 h 520"/>
                  <a:gd name="T38" fmla="*/ 579 w 1146"/>
                  <a:gd name="T39" fmla="*/ 420 h 520"/>
                  <a:gd name="T40" fmla="*/ 634 w 1146"/>
                  <a:gd name="T41" fmla="*/ 396 h 520"/>
                  <a:gd name="T42" fmla="*/ 697 w 1146"/>
                  <a:gd name="T43" fmla="*/ 447 h 520"/>
                  <a:gd name="T44" fmla="*/ 691 w 1146"/>
                  <a:gd name="T45" fmla="*/ 463 h 520"/>
                  <a:gd name="T46" fmla="*/ 685 w 1146"/>
                  <a:gd name="T47" fmla="*/ 510 h 520"/>
                  <a:gd name="T48" fmla="*/ 707 w 1146"/>
                  <a:gd name="T49" fmla="*/ 497 h 520"/>
                  <a:gd name="T50" fmla="*/ 790 w 1146"/>
                  <a:gd name="T51" fmla="*/ 469 h 520"/>
                  <a:gd name="T52" fmla="*/ 929 w 1146"/>
                  <a:gd name="T53" fmla="*/ 424 h 520"/>
                  <a:gd name="T54" fmla="*/ 941 w 1146"/>
                  <a:gd name="T55" fmla="*/ 463 h 520"/>
                  <a:gd name="T56" fmla="*/ 953 w 1146"/>
                  <a:gd name="T57" fmla="*/ 469 h 520"/>
                  <a:gd name="T58" fmla="*/ 953 w 1146"/>
                  <a:gd name="T59" fmla="*/ 491 h 520"/>
                  <a:gd name="T60" fmla="*/ 1008 w 1146"/>
                  <a:gd name="T61" fmla="*/ 453 h 520"/>
                  <a:gd name="T62" fmla="*/ 957 w 1146"/>
                  <a:gd name="T63" fmla="*/ 436 h 520"/>
                  <a:gd name="T64" fmla="*/ 941 w 1146"/>
                  <a:gd name="T65" fmla="*/ 402 h 520"/>
                  <a:gd name="T66" fmla="*/ 969 w 1146"/>
                  <a:gd name="T67" fmla="*/ 380 h 520"/>
                  <a:gd name="T68" fmla="*/ 864 w 1146"/>
                  <a:gd name="T69" fmla="*/ 443 h 520"/>
                  <a:gd name="T70" fmla="*/ 947 w 1146"/>
                  <a:gd name="T71" fmla="*/ 363 h 520"/>
                  <a:gd name="T72" fmla="*/ 1079 w 1146"/>
                  <a:gd name="T73" fmla="*/ 353 h 520"/>
                  <a:gd name="T74" fmla="*/ 1142 w 1146"/>
                  <a:gd name="T75" fmla="*/ 335 h 520"/>
                  <a:gd name="T76" fmla="*/ 1146 w 1146"/>
                  <a:gd name="T77" fmla="*/ 302 h 520"/>
                  <a:gd name="T78" fmla="*/ 1075 w 1146"/>
                  <a:gd name="T79" fmla="*/ 262 h 520"/>
                  <a:gd name="T80" fmla="*/ 1079 w 1146"/>
                  <a:gd name="T81" fmla="*/ 213 h 520"/>
                  <a:gd name="T82" fmla="*/ 996 w 1146"/>
                  <a:gd name="T83" fmla="*/ 229 h 520"/>
                  <a:gd name="T84" fmla="*/ 991 w 1146"/>
                  <a:gd name="T85" fmla="*/ 213 h 520"/>
                  <a:gd name="T86" fmla="*/ 979 w 1146"/>
                  <a:gd name="T87" fmla="*/ 156 h 520"/>
                  <a:gd name="T88" fmla="*/ 918 w 1146"/>
                  <a:gd name="T89" fmla="*/ 146 h 520"/>
                  <a:gd name="T90" fmla="*/ 880 w 1146"/>
                  <a:gd name="T91" fmla="*/ 184 h 520"/>
                  <a:gd name="T92" fmla="*/ 870 w 1146"/>
                  <a:gd name="T93" fmla="*/ 245 h 520"/>
                  <a:gd name="T94" fmla="*/ 797 w 1146"/>
                  <a:gd name="T95" fmla="*/ 319 h 520"/>
                  <a:gd name="T96" fmla="*/ 758 w 1146"/>
                  <a:gd name="T97" fmla="*/ 286 h 520"/>
                  <a:gd name="T98" fmla="*/ 675 w 1146"/>
                  <a:gd name="T99" fmla="*/ 245 h 520"/>
                  <a:gd name="T100" fmla="*/ 630 w 1146"/>
                  <a:gd name="T101" fmla="*/ 213 h 520"/>
                  <a:gd name="T102" fmla="*/ 685 w 1146"/>
                  <a:gd name="T103" fmla="*/ 152 h 520"/>
                  <a:gd name="T104" fmla="*/ 740 w 1146"/>
                  <a:gd name="T105" fmla="*/ 130 h 520"/>
                  <a:gd name="T106" fmla="*/ 807 w 1146"/>
                  <a:gd name="T107" fmla="*/ 95 h 520"/>
                  <a:gd name="T108" fmla="*/ 857 w 1146"/>
                  <a:gd name="T109" fmla="*/ 89 h 5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6"/>
                  <a:gd name="T166" fmla="*/ 0 h 520"/>
                  <a:gd name="T167" fmla="*/ 1146 w 1146"/>
                  <a:gd name="T168" fmla="*/ 520 h 5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6" h="520">
                    <a:moveTo>
                      <a:pt x="857" y="89"/>
                    </a:moveTo>
                    <a:lnTo>
                      <a:pt x="870" y="79"/>
                    </a:lnTo>
                    <a:lnTo>
                      <a:pt x="890" y="85"/>
                    </a:lnTo>
                    <a:lnTo>
                      <a:pt x="918" y="57"/>
                    </a:lnTo>
                    <a:lnTo>
                      <a:pt x="929" y="34"/>
                    </a:lnTo>
                    <a:lnTo>
                      <a:pt x="896" y="28"/>
                    </a:lnTo>
                    <a:lnTo>
                      <a:pt x="880" y="44"/>
                    </a:lnTo>
                    <a:lnTo>
                      <a:pt x="845" y="63"/>
                    </a:lnTo>
                    <a:lnTo>
                      <a:pt x="829" y="67"/>
                    </a:lnTo>
                    <a:lnTo>
                      <a:pt x="845" y="40"/>
                    </a:lnTo>
                    <a:lnTo>
                      <a:pt x="823" y="40"/>
                    </a:lnTo>
                    <a:lnTo>
                      <a:pt x="807" y="50"/>
                    </a:lnTo>
                    <a:lnTo>
                      <a:pt x="803" y="34"/>
                    </a:lnTo>
                    <a:lnTo>
                      <a:pt x="819" y="28"/>
                    </a:lnTo>
                    <a:lnTo>
                      <a:pt x="803" y="0"/>
                    </a:lnTo>
                    <a:lnTo>
                      <a:pt x="752" y="22"/>
                    </a:lnTo>
                    <a:lnTo>
                      <a:pt x="774" y="40"/>
                    </a:lnTo>
                    <a:lnTo>
                      <a:pt x="752" y="57"/>
                    </a:lnTo>
                    <a:lnTo>
                      <a:pt x="730" y="57"/>
                    </a:lnTo>
                    <a:lnTo>
                      <a:pt x="713" y="63"/>
                    </a:lnTo>
                    <a:lnTo>
                      <a:pt x="675" y="63"/>
                    </a:lnTo>
                    <a:lnTo>
                      <a:pt x="618" y="57"/>
                    </a:lnTo>
                    <a:lnTo>
                      <a:pt x="573" y="57"/>
                    </a:lnTo>
                    <a:lnTo>
                      <a:pt x="567" y="79"/>
                    </a:lnTo>
                    <a:lnTo>
                      <a:pt x="551" y="63"/>
                    </a:lnTo>
                    <a:lnTo>
                      <a:pt x="508" y="73"/>
                    </a:lnTo>
                    <a:lnTo>
                      <a:pt x="484" y="63"/>
                    </a:lnTo>
                    <a:lnTo>
                      <a:pt x="496" y="50"/>
                    </a:lnTo>
                    <a:lnTo>
                      <a:pt x="419" y="28"/>
                    </a:lnTo>
                    <a:lnTo>
                      <a:pt x="384" y="34"/>
                    </a:lnTo>
                    <a:lnTo>
                      <a:pt x="368" y="44"/>
                    </a:lnTo>
                    <a:lnTo>
                      <a:pt x="362" y="28"/>
                    </a:lnTo>
                    <a:lnTo>
                      <a:pt x="336" y="34"/>
                    </a:lnTo>
                    <a:lnTo>
                      <a:pt x="291" y="28"/>
                    </a:lnTo>
                    <a:lnTo>
                      <a:pt x="230" y="50"/>
                    </a:lnTo>
                    <a:lnTo>
                      <a:pt x="189" y="34"/>
                    </a:lnTo>
                    <a:lnTo>
                      <a:pt x="173" y="34"/>
                    </a:lnTo>
                    <a:lnTo>
                      <a:pt x="0" y="184"/>
                    </a:lnTo>
                    <a:lnTo>
                      <a:pt x="29" y="191"/>
                    </a:lnTo>
                    <a:lnTo>
                      <a:pt x="23" y="207"/>
                    </a:lnTo>
                    <a:lnTo>
                      <a:pt x="57" y="195"/>
                    </a:lnTo>
                    <a:lnTo>
                      <a:pt x="67" y="223"/>
                    </a:lnTo>
                    <a:lnTo>
                      <a:pt x="67" y="252"/>
                    </a:lnTo>
                    <a:lnTo>
                      <a:pt x="74" y="274"/>
                    </a:lnTo>
                    <a:lnTo>
                      <a:pt x="51" y="286"/>
                    </a:lnTo>
                    <a:lnTo>
                      <a:pt x="29" y="302"/>
                    </a:lnTo>
                    <a:lnTo>
                      <a:pt x="29" y="319"/>
                    </a:lnTo>
                    <a:lnTo>
                      <a:pt x="45" y="319"/>
                    </a:lnTo>
                    <a:lnTo>
                      <a:pt x="35" y="335"/>
                    </a:lnTo>
                    <a:lnTo>
                      <a:pt x="51" y="329"/>
                    </a:lnTo>
                    <a:lnTo>
                      <a:pt x="29" y="353"/>
                    </a:lnTo>
                    <a:lnTo>
                      <a:pt x="51" y="363"/>
                    </a:lnTo>
                    <a:lnTo>
                      <a:pt x="80" y="392"/>
                    </a:lnTo>
                    <a:lnTo>
                      <a:pt x="508" y="396"/>
                    </a:lnTo>
                    <a:lnTo>
                      <a:pt x="508" y="386"/>
                    </a:lnTo>
                    <a:lnTo>
                      <a:pt x="524" y="386"/>
                    </a:lnTo>
                    <a:lnTo>
                      <a:pt x="530" y="402"/>
                    </a:lnTo>
                    <a:lnTo>
                      <a:pt x="557" y="408"/>
                    </a:lnTo>
                    <a:lnTo>
                      <a:pt x="567" y="402"/>
                    </a:lnTo>
                    <a:lnTo>
                      <a:pt x="579" y="420"/>
                    </a:lnTo>
                    <a:lnTo>
                      <a:pt x="602" y="414"/>
                    </a:lnTo>
                    <a:lnTo>
                      <a:pt x="608" y="402"/>
                    </a:lnTo>
                    <a:lnTo>
                      <a:pt x="634" y="396"/>
                    </a:lnTo>
                    <a:lnTo>
                      <a:pt x="656" y="424"/>
                    </a:lnTo>
                    <a:lnTo>
                      <a:pt x="662" y="443"/>
                    </a:lnTo>
                    <a:lnTo>
                      <a:pt x="697" y="447"/>
                    </a:lnTo>
                    <a:lnTo>
                      <a:pt x="719" y="469"/>
                    </a:lnTo>
                    <a:lnTo>
                      <a:pt x="701" y="475"/>
                    </a:lnTo>
                    <a:lnTo>
                      <a:pt x="691" y="463"/>
                    </a:lnTo>
                    <a:lnTo>
                      <a:pt x="679" y="475"/>
                    </a:lnTo>
                    <a:lnTo>
                      <a:pt x="656" y="520"/>
                    </a:lnTo>
                    <a:lnTo>
                      <a:pt x="685" y="510"/>
                    </a:lnTo>
                    <a:lnTo>
                      <a:pt x="697" y="514"/>
                    </a:lnTo>
                    <a:lnTo>
                      <a:pt x="707" y="510"/>
                    </a:lnTo>
                    <a:lnTo>
                      <a:pt x="707" y="497"/>
                    </a:lnTo>
                    <a:lnTo>
                      <a:pt x="752" y="487"/>
                    </a:lnTo>
                    <a:lnTo>
                      <a:pt x="768" y="487"/>
                    </a:lnTo>
                    <a:lnTo>
                      <a:pt x="790" y="469"/>
                    </a:lnTo>
                    <a:lnTo>
                      <a:pt x="874" y="459"/>
                    </a:lnTo>
                    <a:lnTo>
                      <a:pt x="908" y="424"/>
                    </a:lnTo>
                    <a:lnTo>
                      <a:pt x="929" y="424"/>
                    </a:lnTo>
                    <a:lnTo>
                      <a:pt x="918" y="443"/>
                    </a:lnTo>
                    <a:lnTo>
                      <a:pt x="924" y="475"/>
                    </a:lnTo>
                    <a:lnTo>
                      <a:pt x="941" y="463"/>
                    </a:lnTo>
                    <a:lnTo>
                      <a:pt x="953" y="453"/>
                    </a:lnTo>
                    <a:lnTo>
                      <a:pt x="969" y="463"/>
                    </a:lnTo>
                    <a:lnTo>
                      <a:pt x="953" y="469"/>
                    </a:lnTo>
                    <a:lnTo>
                      <a:pt x="924" y="487"/>
                    </a:lnTo>
                    <a:lnTo>
                      <a:pt x="929" y="497"/>
                    </a:lnTo>
                    <a:lnTo>
                      <a:pt x="953" y="491"/>
                    </a:lnTo>
                    <a:lnTo>
                      <a:pt x="979" y="469"/>
                    </a:lnTo>
                    <a:lnTo>
                      <a:pt x="1008" y="463"/>
                    </a:lnTo>
                    <a:lnTo>
                      <a:pt x="1008" y="453"/>
                    </a:lnTo>
                    <a:lnTo>
                      <a:pt x="985" y="453"/>
                    </a:lnTo>
                    <a:lnTo>
                      <a:pt x="963" y="447"/>
                    </a:lnTo>
                    <a:lnTo>
                      <a:pt x="957" y="436"/>
                    </a:lnTo>
                    <a:lnTo>
                      <a:pt x="963" y="424"/>
                    </a:lnTo>
                    <a:lnTo>
                      <a:pt x="941" y="414"/>
                    </a:lnTo>
                    <a:lnTo>
                      <a:pt x="941" y="402"/>
                    </a:lnTo>
                    <a:lnTo>
                      <a:pt x="975" y="408"/>
                    </a:lnTo>
                    <a:lnTo>
                      <a:pt x="985" y="396"/>
                    </a:lnTo>
                    <a:lnTo>
                      <a:pt x="969" y="380"/>
                    </a:lnTo>
                    <a:lnTo>
                      <a:pt x="941" y="392"/>
                    </a:lnTo>
                    <a:lnTo>
                      <a:pt x="902" y="414"/>
                    </a:lnTo>
                    <a:lnTo>
                      <a:pt x="864" y="443"/>
                    </a:lnTo>
                    <a:lnTo>
                      <a:pt x="896" y="402"/>
                    </a:lnTo>
                    <a:lnTo>
                      <a:pt x="924" y="386"/>
                    </a:lnTo>
                    <a:lnTo>
                      <a:pt x="947" y="363"/>
                    </a:lnTo>
                    <a:lnTo>
                      <a:pt x="1024" y="363"/>
                    </a:lnTo>
                    <a:lnTo>
                      <a:pt x="1058" y="369"/>
                    </a:lnTo>
                    <a:lnTo>
                      <a:pt x="1079" y="353"/>
                    </a:lnTo>
                    <a:lnTo>
                      <a:pt x="1113" y="341"/>
                    </a:lnTo>
                    <a:lnTo>
                      <a:pt x="1130" y="341"/>
                    </a:lnTo>
                    <a:lnTo>
                      <a:pt x="1142" y="335"/>
                    </a:lnTo>
                    <a:lnTo>
                      <a:pt x="1136" y="325"/>
                    </a:lnTo>
                    <a:lnTo>
                      <a:pt x="1142" y="319"/>
                    </a:lnTo>
                    <a:lnTo>
                      <a:pt x="1146" y="302"/>
                    </a:lnTo>
                    <a:lnTo>
                      <a:pt x="1079" y="308"/>
                    </a:lnTo>
                    <a:lnTo>
                      <a:pt x="1123" y="290"/>
                    </a:lnTo>
                    <a:lnTo>
                      <a:pt x="1075" y="262"/>
                    </a:lnTo>
                    <a:lnTo>
                      <a:pt x="1085" y="241"/>
                    </a:lnTo>
                    <a:lnTo>
                      <a:pt x="1079" y="229"/>
                    </a:lnTo>
                    <a:lnTo>
                      <a:pt x="1079" y="213"/>
                    </a:lnTo>
                    <a:lnTo>
                      <a:pt x="1063" y="213"/>
                    </a:lnTo>
                    <a:lnTo>
                      <a:pt x="1075" y="191"/>
                    </a:lnTo>
                    <a:lnTo>
                      <a:pt x="996" y="229"/>
                    </a:lnTo>
                    <a:lnTo>
                      <a:pt x="985" y="229"/>
                    </a:lnTo>
                    <a:lnTo>
                      <a:pt x="996" y="219"/>
                    </a:lnTo>
                    <a:lnTo>
                      <a:pt x="991" y="213"/>
                    </a:lnTo>
                    <a:lnTo>
                      <a:pt x="1008" y="178"/>
                    </a:lnTo>
                    <a:lnTo>
                      <a:pt x="991" y="174"/>
                    </a:lnTo>
                    <a:lnTo>
                      <a:pt x="979" y="156"/>
                    </a:lnTo>
                    <a:lnTo>
                      <a:pt x="963" y="156"/>
                    </a:lnTo>
                    <a:lnTo>
                      <a:pt x="963" y="152"/>
                    </a:lnTo>
                    <a:lnTo>
                      <a:pt x="918" y="146"/>
                    </a:lnTo>
                    <a:lnTo>
                      <a:pt x="912" y="134"/>
                    </a:lnTo>
                    <a:lnTo>
                      <a:pt x="902" y="156"/>
                    </a:lnTo>
                    <a:lnTo>
                      <a:pt x="880" y="184"/>
                    </a:lnTo>
                    <a:lnTo>
                      <a:pt x="890" y="195"/>
                    </a:lnTo>
                    <a:lnTo>
                      <a:pt x="857" y="223"/>
                    </a:lnTo>
                    <a:lnTo>
                      <a:pt x="870" y="245"/>
                    </a:lnTo>
                    <a:lnTo>
                      <a:pt x="823" y="286"/>
                    </a:lnTo>
                    <a:lnTo>
                      <a:pt x="803" y="290"/>
                    </a:lnTo>
                    <a:lnTo>
                      <a:pt x="797" y="319"/>
                    </a:lnTo>
                    <a:lnTo>
                      <a:pt x="768" y="353"/>
                    </a:lnTo>
                    <a:lnTo>
                      <a:pt x="746" y="341"/>
                    </a:lnTo>
                    <a:lnTo>
                      <a:pt x="758" y="286"/>
                    </a:lnTo>
                    <a:lnTo>
                      <a:pt x="746" y="280"/>
                    </a:lnTo>
                    <a:lnTo>
                      <a:pt x="723" y="286"/>
                    </a:lnTo>
                    <a:lnTo>
                      <a:pt x="675" y="245"/>
                    </a:lnTo>
                    <a:lnTo>
                      <a:pt x="640" y="245"/>
                    </a:lnTo>
                    <a:lnTo>
                      <a:pt x="640" y="213"/>
                    </a:lnTo>
                    <a:lnTo>
                      <a:pt x="630" y="213"/>
                    </a:lnTo>
                    <a:lnTo>
                      <a:pt x="640" y="191"/>
                    </a:lnTo>
                    <a:lnTo>
                      <a:pt x="685" y="162"/>
                    </a:lnTo>
                    <a:lnTo>
                      <a:pt x="685" y="152"/>
                    </a:lnTo>
                    <a:lnTo>
                      <a:pt x="730" y="140"/>
                    </a:lnTo>
                    <a:lnTo>
                      <a:pt x="707" y="124"/>
                    </a:lnTo>
                    <a:lnTo>
                      <a:pt x="740" y="130"/>
                    </a:lnTo>
                    <a:lnTo>
                      <a:pt x="803" y="107"/>
                    </a:lnTo>
                    <a:lnTo>
                      <a:pt x="758" y="95"/>
                    </a:lnTo>
                    <a:lnTo>
                      <a:pt x="807" y="95"/>
                    </a:lnTo>
                    <a:lnTo>
                      <a:pt x="835" y="85"/>
                    </a:lnTo>
                    <a:lnTo>
                      <a:pt x="857" y="8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3" name="Freeform 88">
                <a:extLst>
                  <a:ext uri="{FF2B5EF4-FFF2-40B4-BE49-F238E27FC236}">
                    <a16:creationId xmlns:a16="http://schemas.microsoft.com/office/drawing/2014/main" id="{5B70533A-69D9-484B-972C-EADB75386D7C}"/>
                  </a:ext>
                </a:extLst>
              </p:cNvPr>
              <p:cNvSpPr>
                <a:spLocks/>
              </p:cNvSpPr>
              <p:nvPr/>
            </p:nvSpPr>
            <p:spPr bwMode="auto">
              <a:xfrm>
                <a:off x="2119450" y="1438008"/>
                <a:ext cx="34144" cy="37510"/>
              </a:xfrm>
              <a:custGeom>
                <a:avLst/>
                <a:gdLst>
                  <a:gd name="T0" fmla="*/ 26 w 26"/>
                  <a:gd name="T1" fmla="*/ 18 h 28"/>
                  <a:gd name="T2" fmla="*/ 26 w 26"/>
                  <a:gd name="T3" fmla="*/ 0 h 28"/>
                  <a:gd name="T4" fmla="*/ 0 w 26"/>
                  <a:gd name="T5" fmla="*/ 12 h 28"/>
                  <a:gd name="T6" fmla="*/ 10 w 26"/>
                  <a:gd name="T7" fmla="*/ 28 h 28"/>
                  <a:gd name="T8" fmla="*/ 26 w 26"/>
                  <a:gd name="T9" fmla="*/ 18 h 28"/>
                  <a:gd name="T10" fmla="*/ 26 w 26"/>
                  <a:gd name="T11" fmla="*/ 18 h 28"/>
                  <a:gd name="T12" fmla="*/ 0 60000 65536"/>
                  <a:gd name="T13" fmla="*/ 0 60000 65536"/>
                  <a:gd name="T14" fmla="*/ 0 60000 65536"/>
                  <a:gd name="T15" fmla="*/ 0 60000 65536"/>
                  <a:gd name="T16" fmla="*/ 0 60000 65536"/>
                  <a:gd name="T17" fmla="*/ 0 60000 65536"/>
                  <a:gd name="T18" fmla="*/ 0 w 26"/>
                  <a:gd name="T19" fmla="*/ 0 h 28"/>
                  <a:gd name="T20" fmla="*/ 26 w 26"/>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6" h="28">
                    <a:moveTo>
                      <a:pt x="26" y="18"/>
                    </a:moveTo>
                    <a:lnTo>
                      <a:pt x="26" y="0"/>
                    </a:lnTo>
                    <a:lnTo>
                      <a:pt x="0" y="12"/>
                    </a:lnTo>
                    <a:lnTo>
                      <a:pt x="10" y="28"/>
                    </a:lnTo>
                    <a:lnTo>
                      <a:pt x="26" y="1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4" name="Freeform 89">
                <a:extLst>
                  <a:ext uri="{FF2B5EF4-FFF2-40B4-BE49-F238E27FC236}">
                    <a16:creationId xmlns:a16="http://schemas.microsoft.com/office/drawing/2014/main" id="{B31F4277-C1F0-4FF3-9FE8-639BB398D8AE}"/>
                  </a:ext>
                </a:extLst>
              </p:cNvPr>
              <p:cNvSpPr>
                <a:spLocks/>
              </p:cNvSpPr>
              <p:nvPr/>
            </p:nvSpPr>
            <p:spPr bwMode="auto">
              <a:xfrm>
                <a:off x="2178545" y="1462122"/>
                <a:ext cx="28891" cy="21434"/>
              </a:xfrm>
              <a:custGeom>
                <a:avLst/>
                <a:gdLst>
                  <a:gd name="T0" fmla="*/ 16 w 22"/>
                  <a:gd name="T1" fmla="*/ 0 h 16"/>
                  <a:gd name="T2" fmla="*/ 0 w 22"/>
                  <a:gd name="T3" fmla="*/ 4 h 16"/>
                  <a:gd name="T4" fmla="*/ 6 w 22"/>
                  <a:gd name="T5" fmla="*/ 16 h 16"/>
                  <a:gd name="T6" fmla="*/ 22 w 22"/>
                  <a:gd name="T7" fmla="*/ 0 h 16"/>
                  <a:gd name="T8" fmla="*/ 16 w 22"/>
                  <a:gd name="T9" fmla="*/ 0 h 16"/>
                  <a:gd name="T10" fmla="*/ 16 w 22"/>
                  <a:gd name="T11" fmla="*/ 0 h 16"/>
                  <a:gd name="T12" fmla="*/ 0 60000 65536"/>
                  <a:gd name="T13" fmla="*/ 0 60000 65536"/>
                  <a:gd name="T14" fmla="*/ 0 60000 65536"/>
                  <a:gd name="T15" fmla="*/ 0 60000 65536"/>
                  <a:gd name="T16" fmla="*/ 0 60000 65536"/>
                  <a:gd name="T17" fmla="*/ 0 60000 65536"/>
                  <a:gd name="T18" fmla="*/ 0 w 22"/>
                  <a:gd name="T19" fmla="*/ 0 h 16"/>
                  <a:gd name="T20" fmla="*/ 22 w 22"/>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2" h="16">
                    <a:moveTo>
                      <a:pt x="16" y="0"/>
                    </a:moveTo>
                    <a:lnTo>
                      <a:pt x="0" y="4"/>
                    </a:lnTo>
                    <a:lnTo>
                      <a:pt x="6" y="16"/>
                    </a:lnTo>
                    <a:lnTo>
                      <a:pt x="22" y="0"/>
                    </a:lnTo>
                    <a:lnTo>
                      <a:pt x="16"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5" name="Freeform 90">
                <a:extLst>
                  <a:ext uri="{FF2B5EF4-FFF2-40B4-BE49-F238E27FC236}">
                    <a16:creationId xmlns:a16="http://schemas.microsoft.com/office/drawing/2014/main" id="{AFE8D535-79DB-41D2-B604-F3D04E160A98}"/>
                  </a:ext>
                </a:extLst>
              </p:cNvPr>
              <p:cNvSpPr>
                <a:spLocks/>
              </p:cNvSpPr>
              <p:nvPr/>
            </p:nvSpPr>
            <p:spPr bwMode="auto">
              <a:xfrm>
                <a:off x="2103691" y="1385762"/>
                <a:ext cx="87986" cy="60285"/>
              </a:xfrm>
              <a:custGeom>
                <a:avLst/>
                <a:gdLst>
                  <a:gd name="T0" fmla="*/ 34 w 67"/>
                  <a:gd name="T1" fmla="*/ 35 h 45"/>
                  <a:gd name="T2" fmla="*/ 63 w 67"/>
                  <a:gd name="T3" fmla="*/ 45 h 45"/>
                  <a:gd name="T4" fmla="*/ 67 w 67"/>
                  <a:gd name="T5" fmla="*/ 29 h 45"/>
                  <a:gd name="T6" fmla="*/ 28 w 67"/>
                  <a:gd name="T7" fmla="*/ 0 h 45"/>
                  <a:gd name="T8" fmla="*/ 0 w 67"/>
                  <a:gd name="T9" fmla="*/ 29 h 45"/>
                  <a:gd name="T10" fmla="*/ 0 w 67"/>
                  <a:gd name="T11" fmla="*/ 39 h 45"/>
                  <a:gd name="T12" fmla="*/ 16 w 67"/>
                  <a:gd name="T13" fmla="*/ 39 h 45"/>
                  <a:gd name="T14" fmla="*/ 34 w 67"/>
                  <a:gd name="T15" fmla="*/ 35 h 45"/>
                  <a:gd name="T16" fmla="*/ 34 w 67"/>
                  <a:gd name="T17" fmla="*/ 35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45"/>
                  <a:gd name="T29" fmla="*/ 67 w 67"/>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45">
                    <a:moveTo>
                      <a:pt x="34" y="35"/>
                    </a:moveTo>
                    <a:lnTo>
                      <a:pt x="63" y="45"/>
                    </a:lnTo>
                    <a:lnTo>
                      <a:pt x="67" y="29"/>
                    </a:lnTo>
                    <a:lnTo>
                      <a:pt x="28" y="0"/>
                    </a:lnTo>
                    <a:lnTo>
                      <a:pt x="0" y="29"/>
                    </a:lnTo>
                    <a:lnTo>
                      <a:pt x="0" y="39"/>
                    </a:lnTo>
                    <a:lnTo>
                      <a:pt x="16" y="39"/>
                    </a:lnTo>
                    <a:lnTo>
                      <a:pt x="34" y="3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6" name="Freeform 91">
                <a:extLst>
                  <a:ext uri="{FF2B5EF4-FFF2-40B4-BE49-F238E27FC236}">
                    <a16:creationId xmlns:a16="http://schemas.microsoft.com/office/drawing/2014/main" id="{748CD358-7233-4226-9445-6FFD03A44D7D}"/>
                  </a:ext>
                </a:extLst>
              </p:cNvPr>
              <p:cNvSpPr>
                <a:spLocks/>
              </p:cNvSpPr>
              <p:nvPr/>
            </p:nvSpPr>
            <p:spPr bwMode="auto">
              <a:xfrm>
                <a:off x="2351891" y="1760864"/>
                <a:ext cx="44650" cy="28133"/>
              </a:xfrm>
              <a:custGeom>
                <a:avLst/>
                <a:gdLst>
                  <a:gd name="T0" fmla="*/ 0 w 34"/>
                  <a:gd name="T1" fmla="*/ 0 h 21"/>
                  <a:gd name="T2" fmla="*/ 6 w 34"/>
                  <a:gd name="T3" fmla="*/ 17 h 21"/>
                  <a:gd name="T4" fmla="*/ 22 w 34"/>
                  <a:gd name="T5" fmla="*/ 21 h 21"/>
                  <a:gd name="T6" fmla="*/ 34 w 34"/>
                  <a:gd name="T7" fmla="*/ 11 h 21"/>
                  <a:gd name="T8" fmla="*/ 22 w 34"/>
                  <a:gd name="T9" fmla="*/ 5 h 21"/>
                  <a:gd name="T10" fmla="*/ 0 w 34"/>
                  <a:gd name="T11" fmla="*/ 0 h 21"/>
                  <a:gd name="T12" fmla="*/ 0 w 34"/>
                  <a:gd name="T13" fmla="*/ 0 h 21"/>
                  <a:gd name="T14" fmla="*/ 0 60000 65536"/>
                  <a:gd name="T15" fmla="*/ 0 60000 65536"/>
                  <a:gd name="T16" fmla="*/ 0 60000 65536"/>
                  <a:gd name="T17" fmla="*/ 0 60000 65536"/>
                  <a:gd name="T18" fmla="*/ 0 60000 65536"/>
                  <a:gd name="T19" fmla="*/ 0 60000 65536"/>
                  <a:gd name="T20" fmla="*/ 0 60000 65536"/>
                  <a:gd name="T21" fmla="*/ 0 w 34"/>
                  <a:gd name="T22" fmla="*/ 0 h 21"/>
                  <a:gd name="T23" fmla="*/ 34 w 3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1">
                    <a:moveTo>
                      <a:pt x="0" y="0"/>
                    </a:moveTo>
                    <a:lnTo>
                      <a:pt x="6" y="17"/>
                    </a:lnTo>
                    <a:lnTo>
                      <a:pt x="22" y="21"/>
                    </a:lnTo>
                    <a:lnTo>
                      <a:pt x="34" y="11"/>
                    </a:lnTo>
                    <a:lnTo>
                      <a:pt x="22" y="5"/>
                    </a:lnTo>
                    <a:lnTo>
                      <a:pt x="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7" name="Freeform 92">
                <a:extLst>
                  <a:ext uri="{FF2B5EF4-FFF2-40B4-BE49-F238E27FC236}">
                    <a16:creationId xmlns:a16="http://schemas.microsoft.com/office/drawing/2014/main" id="{AA0722D4-3EE1-4845-8DEA-4FE0E43D79D8}"/>
                  </a:ext>
                </a:extLst>
              </p:cNvPr>
              <p:cNvSpPr>
                <a:spLocks/>
              </p:cNvSpPr>
              <p:nvPr/>
            </p:nvSpPr>
            <p:spPr bwMode="auto">
              <a:xfrm>
                <a:off x="2433311" y="1731392"/>
                <a:ext cx="144455" cy="120569"/>
              </a:xfrm>
              <a:custGeom>
                <a:avLst/>
                <a:gdLst>
                  <a:gd name="T0" fmla="*/ 65 w 110"/>
                  <a:gd name="T1" fmla="*/ 8 h 90"/>
                  <a:gd name="T2" fmla="*/ 65 w 110"/>
                  <a:gd name="T3" fmla="*/ 0 h 90"/>
                  <a:gd name="T4" fmla="*/ 43 w 110"/>
                  <a:gd name="T5" fmla="*/ 10 h 90"/>
                  <a:gd name="T6" fmla="*/ 27 w 110"/>
                  <a:gd name="T7" fmla="*/ 43 h 90"/>
                  <a:gd name="T8" fmla="*/ 0 w 110"/>
                  <a:gd name="T9" fmla="*/ 61 h 90"/>
                  <a:gd name="T10" fmla="*/ 49 w 110"/>
                  <a:gd name="T11" fmla="*/ 71 h 90"/>
                  <a:gd name="T12" fmla="*/ 49 w 110"/>
                  <a:gd name="T13" fmla="*/ 90 h 90"/>
                  <a:gd name="T14" fmla="*/ 84 w 110"/>
                  <a:gd name="T15" fmla="*/ 61 h 90"/>
                  <a:gd name="T16" fmla="*/ 84 w 110"/>
                  <a:gd name="T17" fmla="*/ 77 h 90"/>
                  <a:gd name="T18" fmla="*/ 100 w 110"/>
                  <a:gd name="T19" fmla="*/ 83 h 90"/>
                  <a:gd name="T20" fmla="*/ 110 w 110"/>
                  <a:gd name="T21" fmla="*/ 67 h 90"/>
                  <a:gd name="T22" fmla="*/ 94 w 110"/>
                  <a:gd name="T23" fmla="*/ 61 h 90"/>
                  <a:gd name="T24" fmla="*/ 100 w 110"/>
                  <a:gd name="T25" fmla="*/ 49 h 90"/>
                  <a:gd name="T26" fmla="*/ 88 w 110"/>
                  <a:gd name="T27" fmla="*/ 43 h 90"/>
                  <a:gd name="T28" fmla="*/ 100 w 110"/>
                  <a:gd name="T29" fmla="*/ 33 h 90"/>
                  <a:gd name="T30" fmla="*/ 65 w 110"/>
                  <a:gd name="T31" fmla="*/ 27 h 90"/>
                  <a:gd name="T32" fmla="*/ 65 w 110"/>
                  <a:gd name="T33" fmla="*/ 16 h 90"/>
                  <a:gd name="T34" fmla="*/ 55 w 110"/>
                  <a:gd name="T35" fmla="*/ 16 h 90"/>
                  <a:gd name="T36" fmla="*/ 65 w 110"/>
                  <a:gd name="T37" fmla="*/ 8 h 90"/>
                  <a:gd name="T38" fmla="*/ 65 w 110"/>
                  <a:gd name="T39" fmla="*/ 8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90"/>
                  <a:gd name="T62" fmla="*/ 110 w 110"/>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90">
                    <a:moveTo>
                      <a:pt x="65" y="8"/>
                    </a:moveTo>
                    <a:lnTo>
                      <a:pt x="65" y="0"/>
                    </a:lnTo>
                    <a:lnTo>
                      <a:pt x="43" y="10"/>
                    </a:lnTo>
                    <a:lnTo>
                      <a:pt x="27" y="43"/>
                    </a:lnTo>
                    <a:lnTo>
                      <a:pt x="0" y="61"/>
                    </a:lnTo>
                    <a:lnTo>
                      <a:pt x="49" y="71"/>
                    </a:lnTo>
                    <a:lnTo>
                      <a:pt x="49" y="90"/>
                    </a:lnTo>
                    <a:lnTo>
                      <a:pt x="84" y="61"/>
                    </a:lnTo>
                    <a:lnTo>
                      <a:pt x="84" y="77"/>
                    </a:lnTo>
                    <a:lnTo>
                      <a:pt x="100" y="83"/>
                    </a:lnTo>
                    <a:lnTo>
                      <a:pt x="110" y="67"/>
                    </a:lnTo>
                    <a:lnTo>
                      <a:pt x="94" y="61"/>
                    </a:lnTo>
                    <a:lnTo>
                      <a:pt x="100" y="49"/>
                    </a:lnTo>
                    <a:lnTo>
                      <a:pt x="88" y="43"/>
                    </a:lnTo>
                    <a:lnTo>
                      <a:pt x="100" y="33"/>
                    </a:lnTo>
                    <a:lnTo>
                      <a:pt x="65" y="27"/>
                    </a:lnTo>
                    <a:lnTo>
                      <a:pt x="65" y="16"/>
                    </a:lnTo>
                    <a:lnTo>
                      <a:pt x="55" y="16"/>
                    </a:lnTo>
                    <a:lnTo>
                      <a:pt x="65" y="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8" name="Freeform 93">
                <a:extLst>
                  <a:ext uri="{FF2B5EF4-FFF2-40B4-BE49-F238E27FC236}">
                    <a16:creationId xmlns:a16="http://schemas.microsoft.com/office/drawing/2014/main" id="{BFE85520-995D-4C08-A309-7ADC8717694C}"/>
                  </a:ext>
                </a:extLst>
              </p:cNvPr>
              <p:cNvSpPr>
                <a:spLocks/>
              </p:cNvSpPr>
              <p:nvPr/>
            </p:nvSpPr>
            <p:spPr bwMode="auto">
              <a:xfrm>
                <a:off x="2367649" y="1813111"/>
                <a:ext cx="21012" cy="13397"/>
              </a:xfrm>
              <a:custGeom>
                <a:avLst/>
                <a:gdLst>
                  <a:gd name="T0" fmla="*/ 0 w 16"/>
                  <a:gd name="T1" fmla="*/ 6 h 10"/>
                  <a:gd name="T2" fmla="*/ 16 w 16"/>
                  <a:gd name="T3" fmla="*/ 10 h 10"/>
                  <a:gd name="T4" fmla="*/ 16 w 16"/>
                  <a:gd name="T5" fmla="*/ 0 h 10"/>
                  <a:gd name="T6" fmla="*/ 0 w 16"/>
                  <a:gd name="T7" fmla="*/ 6 h 10"/>
                  <a:gd name="T8" fmla="*/ 0 w 16"/>
                  <a:gd name="T9" fmla="*/ 6 h 10"/>
                  <a:gd name="T10" fmla="*/ 0 60000 65536"/>
                  <a:gd name="T11" fmla="*/ 0 60000 65536"/>
                  <a:gd name="T12" fmla="*/ 0 60000 65536"/>
                  <a:gd name="T13" fmla="*/ 0 60000 65536"/>
                  <a:gd name="T14" fmla="*/ 0 60000 65536"/>
                  <a:gd name="T15" fmla="*/ 0 w 16"/>
                  <a:gd name="T16" fmla="*/ 0 h 10"/>
                  <a:gd name="T17" fmla="*/ 16 w 16"/>
                  <a:gd name="T18" fmla="*/ 10 h 10"/>
                </a:gdLst>
                <a:ahLst/>
                <a:cxnLst>
                  <a:cxn ang="T10">
                    <a:pos x="T0" y="T1"/>
                  </a:cxn>
                  <a:cxn ang="T11">
                    <a:pos x="T2" y="T3"/>
                  </a:cxn>
                  <a:cxn ang="T12">
                    <a:pos x="T4" y="T5"/>
                  </a:cxn>
                  <a:cxn ang="T13">
                    <a:pos x="T6" y="T7"/>
                  </a:cxn>
                  <a:cxn ang="T14">
                    <a:pos x="T8" y="T9"/>
                  </a:cxn>
                </a:cxnLst>
                <a:rect l="T15" t="T16" r="T17" b="T18"/>
                <a:pathLst>
                  <a:path w="16" h="10">
                    <a:moveTo>
                      <a:pt x="0" y="6"/>
                    </a:moveTo>
                    <a:lnTo>
                      <a:pt x="16" y="10"/>
                    </a:lnTo>
                    <a:lnTo>
                      <a:pt x="16"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9" name="Freeform 94">
                <a:extLst>
                  <a:ext uri="{FF2B5EF4-FFF2-40B4-BE49-F238E27FC236}">
                    <a16:creationId xmlns:a16="http://schemas.microsoft.com/office/drawing/2014/main" id="{58CF8404-8A28-45FF-9085-9DFAB0D1E42B}"/>
                  </a:ext>
                </a:extLst>
              </p:cNvPr>
              <p:cNvSpPr>
                <a:spLocks/>
              </p:cNvSpPr>
              <p:nvPr/>
            </p:nvSpPr>
            <p:spPr bwMode="auto">
              <a:xfrm>
                <a:off x="2375529" y="1834545"/>
                <a:ext cx="34144" cy="30812"/>
              </a:xfrm>
              <a:custGeom>
                <a:avLst/>
                <a:gdLst>
                  <a:gd name="T0" fmla="*/ 0 w 26"/>
                  <a:gd name="T1" fmla="*/ 13 h 23"/>
                  <a:gd name="T2" fmla="*/ 10 w 26"/>
                  <a:gd name="T3" fmla="*/ 23 h 23"/>
                  <a:gd name="T4" fmla="*/ 26 w 26"/>
                  <a:gd name="T5" fmla="*/ 23 h 23"/>
                  <a:gd name="T6" fmla="*/ 26 w 26"/>
                  <a:gd name="T7" fmla="*/ 13 h 23"/>
                  <a:gd name="T8" fmla="*/ 16 w 26"/>
                  <a:gd name="T9" fmla="*/ 13 h 23"/>
                  <a:gd name="T10" fmla="*/ 22 w 26"/>
                  <a:gd name="T11" fmla="*/ 0 h 23"/>
                  <a:gd name="T12" fmla="*/ 0 w 26"/>
                  <a:gd name="T13" fmla="*/ 13 h 23"/>
                  <a:gd name="T14" fmla="*/ 0 w 26"/>
                  <a:gd name="T15" fmla="*/ 13 h 23"/>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3"/>
                  <a:gd name="T26" fmla="*/ 26 w 26"/>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3">
                    <a:moveTo>
                      <a:pt x="0" y="13"/>
                    </a:moveTo>
                    <a:lnTo>
                      <a:pt x="10" y="23"/>
                    </a:lnTo>
                    <a:lnTo>
                      <a:pt x="26" y="23"/>
                    </a:lnTo>
                    <a:lnTo>
                      <a:pt x="26" y="13"/>
                    </a:lnTo>
                    <a:lnTo>
                      <a:pt x="16" y="13"/>
                    </a:lnTo>
                    <a:lnTo>
                      <a:pt x="22" y="0"/>
                    </a:lnTo>
                    <a:lnTo>
                      <a:pt x="0" y="1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0" name="Freeform 95">
                <a:extLst>
                  <a:ext uri="{FF2B5EF4-FFF2-40B4-BE49-F238E27FC236}">
                    <a16:creationId xmlns:a16="http://schemas.microsoft.com/office/drawing/2014/main" id="{ECDE0F3B-339E-4C1A-BB72-DC167B74A591}"/>
                  </a:ext>
                </a:extLst>
              </p:cNvPr>
              <p:cNvSpPr>
                <a:spLocks/>
              </p:cNvSpPr>
              <p:nvPr/>
            </p:nvSpPr>
            <p:spPr bwMode="auto">
              <a:xfrm>
                <a:off x="2316434" y="1826507"/>
                <a:ext cx="43336" cy="25454"/>
              </a:xfrm>
              <a:custGeom>
                <a:avLst/>
                <a:gdLst>
                  <a:gd name="T0" fmla="*/ 10 w 33"/>
                  <a:gd name="T1" fmla="*/ 0 h 19"/>
                  <a:gd name="T2" fmla="*/ 0 w 33"/>
                  <a:gd name="T3" fmla="*/ 12 h 19"/>
                  <a:gd name="T4" fmla="*/ 33 w 33"/>
                  <a:gd name="T5" fmla="*/ 19 h 19"/>
                  <a:gd name="T6" fmla="*/ 10 w 33"/>
                  <a:gd name="T7" fmla="*/ 0 h 19"/>
                  <a:gd name="T8" fmla="*/ 10 w 33"/>
                  <a:gd name="T9" fmla="*/ 0 h 19"/>
                  <a:gd name="T10" fmla="*/ 0 60000 65536"/>
                  <a:gd name="T11" fmla="*/ 0 60000 65536"/>
                  <a:gd name="T12" fmla="*/ 0 60000 65536"/>
                  <a:gd name="T13" fmla="*/ 0 60000 65536"/>
                  <a:gd name="T14" fmla="*/ 0 60000 65536"/>
                  <a:gd name="T15" fmla="*/ 0 w 33"/>
                  <a:gd name="T16" fmla="*/ 0 h 19"/>
                  <a:gd name="T17" fmla="*/ 33 w 33"/>
                  <a:gd name="T18" fmla="*/ 19 h 19"/>
                </a:gdLst>
                <a:ahLst/>
                <a:cxnLst>
                  <a:cxn ang="T10">
                    <a:pos x="T0" y="T1"/>
                  </a:cxn>
                  <a:cxn ang="T11">
                    <a:pos x="T2" y="T3"/>
                  </a:cxn>
                  <a:cxn ang="T12">
                    <a:pos x="T4" y="T5"/>
                  </a:cxn>
                  <a:cxn ang="T13">
                    <a:pos x="T6" y="T7"/>
                  </a:cxn>
                  <a:cxn ang="T14">
                    <a:pos x="T8" y="T9"/>
                  </a:cxn>
                </a:cxnLst>
                <a:rect l="T15" t="T16" r="T17" b="T18"/>
                <a:pathLst>
                  <a:path w="33" h="19">
                    <a:moveTo>
                      <a:pt x="10" y="0"/>
                    </a:moveTo>
                    <a:lnTo>
                      <a:pt x="0" y="12"/>
                    </a:lnTo>
                    <a:lnTo>
                      <a:pt x="33" y="19"/>
                    </a:lnTo>
                    <a:lnTo>
                      <a:pt x="1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1" name="Freeform 96">
                <a:extLst>
                  <a:ext uri="{FF2B5EF4-FFF2-40B4-BE49-F238E27FC236}">
                    <a16:creationId xmlns:a16="http://schemas.microsoft.com/office/drawing/2014/main" id="{6B4EB7B0-351D-4E99-BF62-71458CBEB240}"/>
                  </a:ext>
                </a:extLst>
              </p:cNvPr>
              <p:cNvSpPr>
                <a:spLocks/>
              </p:cNvSpPr>
              <p:nvPr/>
            </p:nvSpPr>
            <p:spPr bwMode="auto">
              <a:xfrm>
                <a:off x="1666388" y="1222324"/>
                <a:ext cx="284969" cy="95115"/>
              </a:xfrm>
              <a:custGeom>
                <a:avLst/>
                <a:gdLst>
                  <a:gd name="T0" fmla="*/ 99 w 217"/>
                  <a:gd name="T1" fmla="*/ 16 h 71"/>
                  <a:gd name="T2" fmla="*/ 99 w 217"/>
                  <a:gd name="T3" fmla="*/ 0 h 71"/>
                  <a:gd name="T4" fmla="*/ 22 w 217"/>
                  <a:gd name="T5" fmla="*/ 27 h 71"/>
                  <a:gd name="T6" fmla="*/ 34 w 217"/>
                  <a:gd name="T7" fmla="*/ 33 h 71"/>
                  <a:gd name="T8" fmla="*/ 67 w 217"/>
                  <a:gd name="T9" fmla="*/ 27 h 71"/>
                  <a:gd name="T10" fmla="*/ 44 w 217"/>
                  <a:gd name="T11" fmla="*/ 39 h 71"/>
                  <a:gd name="T12" fmla="*/ 73 w 217"/>
                  <a:gd name="T13" fmla="*/ 45 h 71"/>
                  <a:gd name="T14" fmla="*/ 28 w 217"/>
                  <a:gd name="T15" fmla="*/ 49 h 71"/>
                  <a:gd name="T16" fmla="*/ 0 w 217"/>
                  <a:gd name="T17" fmla="*/ 61 h 71"/>
                  <a:gd name="T18" fmla="*/ 34 w 217"/>
                  <a:gd name="T19" fmla="*/ 67 h 71"/>
                  <a:gd name="T20" fmla="*/ 44 w 217"/>
                  <a:gd name="T21" fmla="*/ 71 h 71"/>
                  <a:gd name="T22" fmla="*/ 128 w 217"/>
                  <a:gd name="T23" fmla="*/ 61 h 71"/>
                  <a:gd name="T24" fmla="*/ 160 w 217"/>
                  <a:gd name="T25" fmla="*/ 71 h 71"/>
                  <a:gd name="T26" fmla="*/ 178 w 217"/>
                  <a:gd name="T27" fmla="*/ 61 h 71"/>
                  <a:gd name="T28" fmla="*/ 211 w 217"/>
                  <a:gd name="T29" fmla="*/ 61 h 71"/>
                  <a:gd name="T30" fmla="*/ 217 w 217"/>
                  <a:gd name="T31" fmla="*/ 49 h 71"/>
                  <a:gd name="T32" fmla="*/ 201 w 217"/>
                  <a:gd name="T33" fmla="*/ 45 h 71"/>
                  <a:gd name="T34" fmla="*/ 211 w 217"/>
                  <a:gd name="T35" fmla="*/ 23 h 71"/>
                  <a:gd name="T36" fmla="*/ 205 w 217"/>
                  <a:gd name="T37" fmla="*/ 4 h 71"/>
                  <a:gd name="T38" fmla="*/ 178 w 217"/>
                  <a:gd name="T39" fmla="*/ 4 h 71"/>
                  <a:gd name="T40" fmla="*/ 172 w 217"/>
                  <a:gd name="T41" fmla="*/ 23 h 71"/>
                  <a:gd name="T42" fmla="*/ 160 w 217"/>
                  <a:gd name="T43" fmla="*/ 4 h 71"/>
                  <a:gd name="T44" fmla="*/ 121 w 217"/>
                  <a:gd name="T45" fmla="*/ 27 h 71"/>
                  <a:gd name="T46" fmla="*/ 121 w 217"/>
                  <a:gd name="T47" fmla="*/ 10 h 71"/>
                  <a:gd name="T48" fmla="*/ 99 w 217"/>
                  <a:gd name="T49" fmla="*/ 16 h 71"/>
                  <a:gd name="T50" fmla="*/ 99 w 217"/>
                  <a:gd name="T51" fmla="*/ 16 h 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7"/>
                  <a:gd name="T79" fmla="*/ 0 h 71"/>
                  <a:gd name="T80" fmla="*/ 217 w 217"/>
                  <a:gd name="T81" fmla="*/ 71 h 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7" h="71">
                    <a:moveTo>
                      <a:pt x="99" y="16"/>
                    </a:moveTo>
                    <a:lnTo>
                      <a:pt x="99" y="0"/>
                    </a:lnTo>
                    <a:lnTo>
                      <a:pt x="22" y="27"/>
                    </a:lnTo>
                    <a:lnTo>
                      <a:pt x="34" y="33"/>
                    </a:lnTo>
                    <a:lnTo>
                      <a:pt x="67" y="27"/>
                    </a:lnTo>
                    <a:lnTo>
                      <a:pt x="44" y="39"/>
                    </a:lnTo>
                    <a:lnTo>
                      <a:pt x="73" y="45"/>
                    </a:lnTo>
                    <a:lnTo>
                      <a:pt x="28" y="49"/>
                    </a:lnTo>
                    <a:lnTo>
                      <a:pt x="0" y="61"/>
                    </a:lnTo>
                    <a:lnTo>
                      <a:pt x="34" y="67"/>
                    </a:lnTo>
                    <a:lnTo>
                      <a:pt x="44" y="71"/>
                    </a:lnTo>
                    <a:lnTo>
                      <a:pt x="128" y="61"/>
                    </a:lnTo>
                    <a:lnTo>
                      <a:pt x="160" y="71"/>
                    </a:lnTo>
                    <a:lnTo>
                      <a:pt x="178" y="61"/>
                    </a:lnTo>
                    <a:lnTo>
                      <a:pt x="211" y="61"/>
                    </a:lnTo>
                    <a:lnTo>
                      <a:pt x="217" y="49"/>
                    </a:lnTo>
                    <a:lnTo>
                      <a:pt x="201" y="45"/>
                    </a:lnTo>
                    <a:lnTo>
                      <a:pt x="211" y="23"/>
                    </a:lnTo>
                    <a:lnTo>
                      <a:pt x="205" y="4"/>
                    </a:lnTo>
                    <a:lnTo>
                      <a:pt x="178" y="4"/>
                    </a:lnTo>
                    <a:lnTo>
                      <a:pt x="172" y="23"/>
                    </a:lnTo>
                    <a:lnTo>
                      <a:pt x="160" y="4"/>
                    </a:lnTo>
                    <a:lnTo>
                      <a:pt x="121" y="27"/>
                    </a:lnTo>
                    <a:lnTo>
                      <a:pt x="121" y="10"/>
                    </a:lnTo>
                    <a:lnTo>
                      <a:pt x="99"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2" name="Freeform 97">
                <a:extLst>
                  <a:ext uri="{FF2B5EF4-FFF2-40B4-BE49-F238E27FC236}">
                    <a16:creationId xmlns:a16="http://schemas.microsoft.com/office/drawing/2014/main" id="{76CAA0B9-1306-4A14-B4FA-DC3F43ABCC8F}"/>
                  </a:ext>
                </a:extLst>
              </p:cNvPr>
              <p:cNvSpPr>
                <a:spLocks/>
              </p:cNvSpPr>
              <p:nvPr/>
            </p:nvSpPr>
            <p:spPr bwMode="auto">
              <a:xfrm>
                <a:off x="1754374" y="1132568"/>
                <a:ext cx="130009" cy="44209"/>
              </a:xfrm>
              <a:custGeom>
                <a:avLst/>
                <a:gdLst>
                  <a:gd name="T0" fmla="*/ 0 w 99"/>
                  <a:gd name="T1" fmla="*/ 33 h 33"/>
                  <a:gd name="T2" fmla="*/ 32 w 99"/>
                  <a:gd name="T3" fmla="*/ 33 h 33"/>
                  <a:gd name="T4" fmla="*/ 61 w 99"/>
                  <a:gd name="T5" fmla="*/ 23 h 33"/>
                  <a:gd name="T6" fmla="*/ 89 w 99"/>
                  <a:gd name="T7" fmla="*/ 16 h 33"/>
                  <a:gd name="T8" fmla="*/ 99 w 99"/>
                  <a:gd name="T9" fmla="*/ 4 h 33"/>
                  <a:gd name="T10" fmla="*/ 77 w 99"/>
                  <a:gd name="T11" fmla="*/ 0 h 33"/>
                  <a:gd name="T12" fmla="*/ 26 w 99"/>
                  <a:gd name="T13" fmla="*/ 16 h 33"/>
                  <a:gd name="T14" fmla="*/ 0 w 99"/>
                  <a:gd name="T15" fmla="*/ 33 h 33"/>
                  <a:gd name="T16" fmla="*/ 0 w 99"/>
                  <a:gd name="T17" fmla="*/ 33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
                  <a:gd name="T28" fmla="*/ 0 h 33"/>
                  <a:gd name="T29" fmla="*/ 99 w 99"/>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 h="33">
                    <a:moveTo>
                      <a:pt x="0" y="33"/>
                    </a:moveTo>
                    <a:lnTo>
                      <a:pt x="32" y="33"/>
                    </a:lnTo>
                    <a:lnTo>
                      <a:pt x="61" y="23"/>
                    </a:lnTo>
                    <a:lnTo>
                      <a:pt x="89" y="16"/>
                    </a:lnTo>
                    <a:lnTo>
                      <a:pt x="99" y="4"/>
                    </a:lnTo>
                    <a:lnTo>
                      <a:pt x="77" y="0"/>
                    </a:lnTo>
                    <a:lnTo>
                      <a:pt x="26" y="16"/>
                    </a:lnTo>
                    <a:lnTo>
                      <a:pt x="0" y="3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3" name="Freeform 98">
                <a:extLst>
                  <a:ext uri="{FF2B5EF4-FFF2-40B4-BE49-F238E27FC236}">
                    <a16:creationId xmlns:a16="http://schemas.microsoft.com/office/drawing/2014/main" id="{C0299376-5790-483F-9A72-E64241CB702F}"/>
                  </a:ext>
                </a:extLst>
              </p:cNvPr>
              <p:cNvSpPr>
                <a:spLocks/>
              </p:cNvSpPr>
              <p:nvPr/>
            </p:nvSpPr>
            <p:spPr bwMode="auto">
              <a:xfrm>
                <a:off x="1820035" y="1154002"/>
                <a:ext cx="182538" cy="52246"/>
              </a:xfrm>
              <a:custGeom>
                <a:avLst/>
                <a:gdLst>
                  <a:gd name="T0" fmla="*/ 39 w 139"/>
                  <a:gd name="T1" fmla="*/ 23 h 39"/>
                  <a:gd name="T2" fmla="*/ 23 w 139"/>
                  <a:gd name="T3" fmla="*/ 39 h 39"/>
                  <a:gd name="T4" fmla="*/ 49 w 139"/>
                  <a:gd name="T5" fmla="*/ 39 h 39"/>
                  <a:gd name="T6" fmla="*/ 110 w 139"/>
                  <a:gd name="T7" fmla="*/ 29 h 39"/>
                  <a:gd name="T8" fmla="*/ 139 w 139"/>
                  <a:gd name="T9" fmla="*/ 17 h 39"/>
                  <a:gd name="T10" fmla="*/ 116 w 139"/>
                  <a:gd name="T11" fmla="*/ 11 h 39"/>
                  <a:gd name="T12" fmla="*/ 128 w 139"/>
                  <a:gd name="T13" fmla="*/ 0 h 39"/>
                  <a:gd name="T14" fmla="*/ 110 w 139"/>
                  <a:gd name="T15" fmla="*/ 7 h 39"/>
                  <a:gd name="T16" fmla="*/ 88 w 139"/>
                  <a:gd name="T17" fmla="*/ 23 h 39"/>
                  <a:gd name="T18" fmla="*/ 55 w 139"/>
                  <a:gd name="T19" fmla="*/ 11 h 39"/>
                  <a:gd name="T20" fmla="*/ 17 w 139"/>
                  <a:gd name="T21" fmla="*/ 17 h 39"/>
                  <a:gd name="T22" fmla="*/ 0 w 139"/>
                  <a:gd name="T23" fmla="*/ 29 h 39"/>
                  <a:gd name="T24" fmla="*/ 39 w 139"/>
                  <a:gd name="T25" fmla="*/ 23 h 39"/>
                  <a:gd name="T26" fmla="*/ 39 w 139"/>
                  <a:gd name="T27" fmla="*/ 23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9"/>
                  <a:gd name="T43" fmla="*/ 0 h 39"/>
                  <a:gd name="T44" fmla="*/ 139 w 13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9" h="39">
                    <a:moveTo>
                      <a:pt x="39" y="23"/>
                    </a:moveTo>
                    <a:lnTo>
                      <a:pt x="23" y="39"/>
                    </a:lnTo>
                    <a:lnTo>
                      <a:pt x="49" y="39"/>
                    </a:lnTo>
                    <a:lnTo>
                      <a:pt x="110" y="29"/>
                    </a:lnTo>
                    <a:lnTo>
                      <a:pt x="139" y="17"/>
                    </a:lnTo>
                    <a:lnTo>
                      <a:pt x="116" y="11"/>
                    </a:lnTo>
                    <a:lnTo>
                      <a:pt x="128" y="0"/>
                    </a:lnTo>
                    <a:lnTo>
                      <a:pt x="110" y="7"/>
                    </a:lnTo>
                    <a:lnTo>
                      <a:pt x="88" y="23"/>
                    </a:lnTo>
                    <a:lnTo>
                      <a:pt x="55" y="11"/>
                    </a:lnTo>
                    <a:lnTo>
                      <a:pt x="17" y="17"/>
                    </a:lnTo>
                    <a:lnTo>
                      <a:pt x="0" y="29"/>
                    </a:lnTo>
                    <a:lnTo>
                      <a:pt x="39" y="2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4" name="Freeform 99">
                <a:extLst>
                  <a:ext uri="{FF2B5EF4-FFF2-40B4-BE49-F238E27FC236}">
                    <a16:creationId xmlns:a16="http://schemas.microsoft.com/office/drawing/2014/main" id="{B475446A-53BC-428A-BB0D-BCB501F78A2C}"/>
                  </a:ext>
                </a:extLst>
              </p:cNvPr>
              <p:cNvSpPr>
                <a:spLocks/>
              </p:cNvSpPr>
              <p:nvPr/>
            </p:nvSpPr>
            <p:spPr bwMode="auto">
              <a:xfrm>
                <a:off x="1935599" y="1108453"/>
                <a:ext cx="87986" cy="37510"/>
              </a:xfrm>
              <a:custGeom>
                <a:avLst/>
                <a:gdLst>
                  <a:gd name="T0" fmla="*/ 67 w 67"/>
                  <a:gd name="T1" fmla="*/ 6 h 28"/>
                  <a:gd name="T2" fmla="*/ 28 w 67"/>
                  <a:gd name="T3" fmla="*/ 0 h 28"/>
                  <a:gd name="T4" fmla="*/ 12 w 67"/>
                  <a:gd name="T5" fmla="*/ 6 h 28"/>
                  <a:gd name="T6" fmla="*/ 34 w 67"/>
                  <a:gd name="T7" fmla="*/ 18 h 28"/>
                  <a:gd name="T8" fmla="*/ 0 w 67"/>
                  <a:gd name="T9" fmla="*/ 22 h 28"/>
                  <a:gd name="T10" fmla="*/ 6 w 67"/>
                  <a:gd name="T11" fmla="*/ 28 h 28"/>
                  <a:gd name="T12" fmla="*/ 40 w 67"/>
                  <a:gd name="T13" fmla="*/ 28 h 28"/>
                  <a:gd name="T14" fmla="*/ 34 w 67"/>
                  <a:gd name="T15" fmla="*/ 22 h 28"/>
                  <a:gd name="T16" fmla="*/ 67 w 67"/>
                  <a:gd name="T17" fmla="*/ 6 h 28"/>
                  <a:gd name="T18" fmla="*/ 67 w 67"/>
                  <a:gd name="T19" fmla="*/ 6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28"/>
                  <a:gd name="T32" fmla="*/ 67 w 67"/>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28">
                    <a:moveTo>
                      <a:pt x="67" y="6"/>
                    </a:moveTo>
                    <a:lnTo>
                      <a:pt x="28" y="0"/>
                    </a:lnTo>
                    <a:lnTo>
                      <a:pt x="12" y="6"/>
                    </a:lnTo>
                    <a:lnTo>
                      <a:pt x="34" y="18"/>
                    </a:lnTo>
                    <a:lnTo>
                      <a:pt x="0" y="22"/>
                    </a:lnTo>
                    <a:lnTo>
                      <a:pt x="6" y="28"/>
                    </a:lnTo>
                    <a:lnTo>
                      <a:pt x="40" y="28"/>
                    </a:lnTo>
                    <a:lnTo>
                      <a:pt x="34" y="22"/>
                    </a:lnTo>
                    <a:lnTo>
                      <a:pt x="67"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5" name="Freeform 100">
                <a:extLst>
                  <a:ext uri="{FF2B5EF4-FFF2-40B4-BE49-F238E27FC236}">
                    <a16:creationId xmlns:a16="http://schemas.microsoft.com/office/drawing/2014/main" id="{554A19BD-711F-4775-A931-11A474A9CF4D}"/>
                  </a:ext>
                </a:extLst>
              </p:cNvPr>
              <p:cNvSpPr>
                <a:spLocks/>
              </p:cNvSpPr>
              <p:nvPr/>
            </p:nvSpPr>
            <p:spPr bwMode="auto">
              <a:xfrm>
                <a:off x="1993381" y="1176776"/>
                <a:ext cx="30204" cy="29473"/>
              </a:xfrm>
              <a:custGeom>
                <a:avLst/>
                <a:gdLst>
                  <a:gd name="T0" fmla="*/ 23 w 23"/>
                  <a:gd name="T1" fmla="*/ 6 h 22"/>
                  <a:gd name="T2" fmla="*/ 23 w 23"/>
                  <a:gd name="T3" fmla="*/ 0 h 22"/>
                  <a:gd name="T4" fmla="*/ 0 w 23"/>
                  <a:gd name="T5" fmla="*/ 12 h 22"/>
                  <a:gd name="T6" fmla="*/ 17 w 23"/>
                  <a:gd name="T7" fmla="*/ 22 h 22"/>
                  <a:gd name="T8" fmla="*/ 23 w 23"/>
                  <a:gd name="T9" fmla="*/ 6 h 22"/>
                  <a:gd name="T10" fmla="*/ 23 w 23"/>
                  <a:gd name="T11" fmla="*/ 6 h 22"/>
                  <a:gd name="T12" fmla="*/ 0 60000 65536"/>
                  <a:gd name="T13" fmla="*/ 0 60000 65536"/>
                  <a:gd name="T14" fmla="*/ 0 60000 65536"/>
                  <a:gd name="T15" fmla="*/ 0 60000 65536"/>
                  <a:gd name="T16" fmla="*/ 0 60000 65536"/>
                  <a:gd name="T17" fmla="*/ 0 60000 65536"/>
                  <a:gd name="T18" fmla="*/ 0 w 23"/>
                  <a:gd name="T19" fmla="*/ 0 h 22"/>
                  <a:gd name="T20" fmla="*/ 23 w 23"/>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3" h="22">
                    <a:moveTo>
                      <a:pt x="23" y="6"/>
                    </a:moveTo>
                    <a:lnTo>
                      <a:pt x="23" y="0"/>
                    </a:lnTo>
                    <a:lnTo>
                      <a:pt x="0" y="12"/>
                    </a:lnTo>
                    <a:lnTo>
                      <a:pt x="17" y="22"/>
                    </a:lnTo>
                    <a:lnTo>
                      <a:pt x="23"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6" name="Freeform 101">
                <a:extLst>
                  <a:ext uri="{FF2B5EF4-FFF2-40B4-BE49-F238E27FC236}">
                    <a16:creationId xmlns:a16="http://schemas.microsoft.com/office/drawing/2014/main" id="{31F91718-75A9-49E6-A85E-0F2A95329D74}"/>
                  </a:ext>
                </a:extLst>
              </p:cNvPr>
              <p:cNvSpPr>
                <a:spLocks/>
              </p:cNvSpPr>
              <p:nvPr/>
            </p:nvSpPr>
            <p:spPr bwMode="auto">
              <a:xfrm>
                <a:off x="1943478" y="1214286"/>
                <a:ext cx="36770" cy="21434"/>
              </a:xfrm>
              <a:custGeom>
                <a:avLst/>
                <a:gdLst>
                  <a:gd name="T0" fmla="*/ 0 w 28"/>
                  <a:gd name="T1" fmla="*/ 6 h 16"/>
                  <a:gd name="T2" fmla="*/ 16 w 28"/>
                  <a:gd name="T3" fmla="*/ 16 h 16"/>
                  <a:gd name="T4" fmla="*/ 28 w 28"/>
                  <a:gd name="T5" fmla="*/ 0 h 16"/>
                  <a:gd name="T6" fmla="*/ 0 w 28"/>
                  <a:gd name="T7" fmla="*/ 6 h 16"/>
                  <a:gd name="T8" fmla="*/ 0 w 28"/>
                  <a:gd name="T9" fmla="*/ 6 h 16"/>
                  <a:gd name="T10" fmla="*/ 0 60000 65536"/>
                  <a:gd name="T11" fmla="*/ 0 60000 65536"/>
                  <a:gd name="T12" fmla="*/ 0 60000 65536"/>
                  <a:gd name="T13" fmla="*/ 0 60000 65536"/>
                  <a:gd name="T14" fmla="*/ 0 60000 65536"/>
                  <a:gd name="T15" fmla="*/ 0 w 28"/>
                  <a:gd name="T16" fmla="*/ 0 h 16"/>
                  <a:gd name="T17" fmla="*/ 28 w 28"/>
                  <a:gd name="T18" fmla="*/ 16 h 16"/>
                </a:gdLst>
                <a:ahLst/>
                <a:cxnLst>
                  <a:cxn ang="T10">
                    <a:pos x="T0" y="T1"/>
                  </a:cxn>
                  <a:cxn ang="T11">
                    <a:pos x="T2" y="T3"/>
                  </a:cxn>
                  <a:cxn ang="T12">
                    <a:pos x="T4" y="T5"/>
                  </a:cxn>
                  <a:cxn ang="T13">
                    <a:pos x="T6" y="T7"/>
                  </a:cxn>
                  <a:cxn ang="T14">
                    <a:pos x="T8" y="T9"/>
                  </a:cxn>
                </a:cxnLst>
                <a:rect l="T15" t="T16" r="T17" b="T18"/>
                <a:pathLst>
                  <a:path w="28" h="16">
                    <a:moveTo>
                      <a:pt x="0" y="6"/>
                    </a:moveTo>
                    <a:lnTo>
                      <a:pt x="16" y="16"/>
                    </a:lnTo>
                    <a:lnTo>
                      <a:pt x="28"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7" name="Freeform 102">
                <a:extLst>
                  <a:ext uri="{FF2B5EF4-FFF2-40B4-BE49-F238E27FC236}">
                    <a16:creationId xmlns:a16="http://schemas.microsoft.com/office/drawing/2014/main" id="{CDCC23E5-F5CA-4C3B-BA32-EA30AA2E8891}"/>
                  </a:ext>
                </a:extLst>
              </p:cNvPr>
              <p:cNvSpPr>
                <a:spLocks/>
              </p:cNvSpPr>
              <p:nvPr/>
            </p:nvSpPr>
            <p:spPr bwMode="auto">
              <a:xfrm>
                <a:off x="1988128" y="1214286"/>
                <a:ext cx="93239" cy="60285"/>
              </a:xfrm>
              <a:custGeom>
                <a:avLst/>
                <a:gdLst>
                  <a:gd name="T0" fmla="*/ 0 w 71"/>
                  <a:gd name="T1" fmla="*/ 22 h 45"/>
                  <a:gd name="T2" fmla="*/ 17 w 71"/>
                  <a:gd name="T3" fmla="*/ 22 h 45"/>
                  <a:gd name="T4" fmla="*/ 17 w 71"/>
                  <a:gd name="T5" fmla="*/ 45 h 45"/>
                  <a:gd name="T6" fmla="*/ 33 w 71"/>
                  <a:gd name="T7" fmla="*/ 29 h 45"/>
                  <a:gd name="T8" fmla="*/ 49 w 71"/>
                  <a:gd name="T9" fmla="*/ 29 h 45"/>
                  <a:gd name="T10" fmla="*/ 61 w 71"/>
                  <a:gd name="T11" fmla="*/ 22 h 45"/>
                  <a:gd name="T12" fmla="*/ 61 w 71"/>
                  <a:gd name="T13" fmla="*/ 10 h 45"/>
                  <a:gd name="T14" fmla="*/ 71 w 71"/>
                  <a:gd name="T15" fmla="*/ 0 h 45"/>
                  <a:gd name="T16" fmla="*/ 43 w 71"/>
                  <a:gd name="T17" fmla="*/ 0 h 45"/>
                  <a:gd name="T18" fmla="*/ 21 w 71"/>
                  <a:gd name="T19" fmla="*/ 10 h 45"/>
                  <a:gd name="T20" fmla="*/ 4 w 71"/>
                  <a:gd name="T21" fmla="*/ 10 h 45"/>
                  <a:gd name="T22" fmla="*/ 0 w 71"/>
                  <a:gd name="T23" fmla="*/ 22 h 45"/>
                  <a:gd name="T24" fmla="*/ 0 w 71"/>
                  <a:gd name="T25" fmla="*/ 22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1"/>
                  <a:gd name="T40" fmla="*/ 0 h 45"/>
                  <a:gd name="T41" fmla="*/ 71 w 71"/>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1" h="45">
                    <a:moveTo>
                      <a:pt x="0" y="22"/>
                    </a:moveTo>
                    <a:lnTo>
                      <a:pt x="17" y="22"/>
                    </a:lnTo>
                    <a:lnTo>
                      <a:pt x="17" y="45"/>
                    </a:lnTo>
                    <a:lnTo>
                      <a:pt x="33" y="29"/>
                    </a:lnTo>
                    <a:lnTo>
                      <a:pt x="49" y="29"/>
                    </a:lnTo>
                    <a:lnTo>
                      <a:pt x="61" y="22"/>
                    </a:lnTo>
                    <a:lnTo>
                      <a:pt x="61" y="10"/>
                    </a:lnTo>
                    <a:lnTo>
                      <a:pt x="71" y="0"/>
                    </a:lnTo>
                    <a:lnTo>
                      <a:pt x="43" y="0"/>
                    </a:lnTo>
                    <a:lnTo>
                      <a:pt x="21" y="10"/>
                    </a:lnTo>
                    <a:lnTo>
                      <a:pt x="4" y="10"/>
                    </a:lnTo>
                    <a:lnTo>
                      <a:pt x="0"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8" name="Freeform 103">
                <a:extLst>
                  <a:ext uri="{FF2B5EF4-FFF2-40B4-BE49-F238E27FC236}">
                    <a16:creationId xmlns:a16="http://schemas.microsoft.com/office/drawing/2014/main" id="{24F1B0AF-86B3-4F50-8A91-6FDC88B7A979}"/>
                  </a:ext>
                </a:extLst>
              </p:cNvPr>
              <p:cNvSpPr>
                <a:spLocks/>
              </p:cNvSpPr>
              <p:nvPr/>
            </p:nvSpPr>
            <p:spPr bwMode="auto">
              <a:xfrm>
                <a:off x="2044597" y="1132568"/>
                <a:ext cx="15759" cy="13397"/>
              </a:xfrm>
              <a:custGeom>
                <a:avLst/>
                <a:gdLst>
                  <a:gd name="T0" fmla="*/ 0 w 12"/>
                  <a:gd name="T1" fmla="*/ 4 h 10"/>
                  <a:gd name="T2" fmla="*/ 0 w 12"/>
                  <a:gd name="T3" fmla="*/ 10 h 10"/>
                  <a:gd name="T4" fmla="*/ 12 w 12"/>
                  <a:gd name="T5" fmla="*/ 10 h 10"/>
                  <a:gd name="T6" fmla="*/ 12 w 12"/>
                  <a:gd name="T7" fmla="*/ 0 h 10"/>
                  <a:gd name="T8" fmla="*/ 0 w 12"/>
                  <a:gd name="T9" fmla="*/ 4 h 10"/>
                  <a:gd name="T10" fmla="*/ 0 w 12"/>
                  <a:gd name="T11" fmla="*/ 4 h 10"/>
                  <a:gd name="T12" fmla="*/ 0 60000 65536"/>
                  <a:gd name="T13" fmla="*/ 0 60000 65536"/>
                  <a:gd name="T14" fmla="*/ 0 60000 65536"/>
                  <a:gd name="T15" fmla="*/ 0 60000 65536"/>
                  <a:gd name="T16" fmla="*/ 0 60000 65536"/>
                  <a:gd name="T17" fmla="*/ 0 60000 65536"/>
                  <a:gd name="T18" fmla="*/ 0 w 12"/>
                  <a:gd name="T19" fmla="*/ 0 h 10"/>
                  <a:gd name="T20" fmla="*/ 12 w 12"/>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2" h="10">
                    <a:moveTo>
                      <a:pt x="0" y="4"/>
                    </a:moveTo>
                    <a:lnTo>
                      <a:pt x="0" y="10"/>
                    </a:lnTo>
                    <a:lnTo>
                      <a:pt x="12" y="10"/>
                    </a:lnTo>
                    <a:lnTo>
                      <a:pt x="12" y="0"/>
                    </a:lnTo>
                    <a:lnTo>
                      <a:pt x="0"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9" name="Freeform 104">
                <a:extLst>
                  <a:ext uri="{FF2B5EF4-FFF2-40B4-BE49-F238E27FC236}">
                    <a16:creationId xmlns:a16="http://schemas.microsoft.com/office/drawing/2014/main" id="{EE388CA3-3E37-479F-A862-9B27636A0319}"/>
                  </a:ext>
                </a:extLst>
              </p:cNvPr>
              <p:cNvSpPr>
                <a:spLocks/>
              </p:cNvSpPr>
              <p:nvPr/>
            </p:nvSpPr>
            <p:spPr bwMode="auto">
              <a:xfrm>
                <a:off x="2031464" y="1163380"/>
                <a:ext cx="49903" cy="21434"/>
              </a:xfrm>
              <a:custGeom>
                <a:avLst/>
                <a:gdLst>
                  <a:gd name="T0" fmla="*/ 28 w 38"/>
                  <a:gd name="T1" fmla="*/ 16 h 16"/>
                  <a:gd name="T2" fmla="*/ 38 w 38"/>
                  <a:gd name="T3" fmla="*/ 0 h 16"/>
                  <a:gd name="T4" fmla="*/ 0 w 38"/>
                  <a:gd name="T5" fmla="*/ 4 h 16"/>
                  <a:gd name="T6" fmla="*/ 28 w 38"/>
                  <a:gd name="T7" fmla="*/ 16 h 16"/>
                  <a:gd name="T8" fmla="*/ 28 w 38"/>
                  <a:gd name="T9" fmla="*/ 16 h 16"/>
                  <a:gd name="T10" fmla="*/ 0 60000 65536"/>
                  <a:gd name="T11" fmla="*/ 0 60000 65536"/>
                  <a:gd name="T12" fmla="*/ 0 60000 65536"/>
                  <a:gd name="T13" fmla="*/ 0 60000 65536"/>
                  <a:gd name="T14" fmla="*/ 0 60000 65536"/>
                  <a:gd name="T15" fmla="*/ 0 w 38"/>
                  <a:gd name="T16" fmla="*/ 0 h 16"/>
                  <a:gd name="T17" fmla="*/ 38 w 38"/>
                  <a:gd name="T18" fmla="*/ 16 h 16"/>
                </a:gdLst>
                <a:ahLst/>
                <a:cxnLst>
                  <a:cxn ang="T10">
                    <a:pos x="T0" y="T1"/>
                  </a:cxn>
                  <a:cxn ang="T11">
                    <a:pos x="T2" y="T3"/>
                  </a:cxn>
                  <a:cxn ang="T12">
                    <a:pos x="T4" y="T5"/>
                  </a:cxn>
                  <a:cxn ang="T13">
                    <a:pos x="T6" y="T7"/>
                  </a:cxn>
                  <a:cxn ang="T14">
                    <a:pos x="T8" y="T9"/>
                  </a:cxn>
                </a:cxnLst>
                <a:rect l="T15" t="T16" r="T17" b="T18"/>
                <a:pathLst>
                  <a:path w="38" h="16">
                    <a:moveTo>
                      <a:pt x="28" y="16"/>
                    </a:moveTo>
                    <a:lnTo>
                      <a:pt x="38" y="0"/>
                    </a:lnTo>
                    <a:lnTo>
                      <a:pt x="0" y="4"/>
                    </a:lnTo>
                    <a:lnTo>
                      <a:pt x="28"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0" name="Freeform 105">
                <a:extLst>
                  <a:ext uri="{FF2B5EF4-FFF2-40B4-BE49-F238E27FC236}">
                    <a16:creationId xmlns:a16="http://schemas.microsoft.com/office/drawing/2014/main" id="{8603EBA6-5810-45B7-9A43-570D063B97B0}"/>
                  </a:ext>
                </a:extLst>
              </p:cNvPr>
              <p:cNvSpPr>
                <a:spLocks/>
              </p:cNvSpPr>
              <p:nvPr/>
            </p:nvSpPr>
            <p:spPr bwMode="auto">
              <a:xfrm>
                <a:off x="2081366" y="1154002"/>
                <a:ext cx="66974" cy="38850"/>
              </a:xfrm>
              <a:custGeom>
                <a:avLst/>
                <a:gdLst>
                  <a:gd name="T0" fmla="*/ 7 w 51"/>
                  <a:gd name="T1" fmla="*/ 11 h 29"/>
                  <a:gd name="T2" fmla="*/ 0 w 51"/>
                  <a:gd name="T3" fmla="*/ 29 h 29"/>
                  <a:gd name="T4" fmla="*/ 51 w 51"/>
                  <a:gd name="T5" fmla="*/ 7 h 29"/>
                  <a:gd name="T6" fmla="*/ 13 w 51"/>
                  <a:gd name="T7" fmla="*/ 0 h 29"/>
                  <a:gd name="T8" fmla="*/ 7 w 51"/>
                  <a:gd name="T9" fmla="*/ 11 h 29"/>
                  <a:gd name="T10" fmla="*/ 7 w 51"/>
                  <a:gd name="T11" fmla="*/ 11 h 29"/>
                  <a:gd name="T12" fmla="*/ 0 60000 65536"/>
                  <a:gd name="T13" fmla="*/ 0 60000 65536"/>
                  <a:gd name="T14" fmla="*/ 0 60000 65536"/>
                  <a:gd name="T15" fmla="*/ 0 60000 65536"/>
                  <a:gd name="T16" fmla="*/ 0 60000 65536"/>
                  <a:gd name="T17" fmla="*/ 0 60000 65536"/>
                  <a:gd name="T18" fmla="*/ 0 w 51"/>
                  <a:gd name="T19" fmla="*/ 0 h 29"/>
                  <a:gd name="T20" fmla="*/ 51 w 5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51" h="29">
                    <a:moveTo>
                      <a:pt x="7" y="11"/>
                    </a:moveTo>
                    <a:lnTo>
                      <a:pt x="0" y="29"/>
                    </a:lnTo>
                    <a:lnTo>
                      <a:pt x="51" y="7"/>
                    </a:lnTo>
                    <a:lnTo>
                      <a:pt x="13" y="0"/>
                    </a:lnTo>
                    <a:lnTo>
                      <a:pt x="7" y="1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1" name="Freeform 106">
                <a:extLst>
                  <a:ext uri="{FF2B5EF4-FFF2-40B4-BE49-F238E27FC236}">
                    <a16:creationId xmlns:a16="http://schemas.microsoft.com/office/drawing/2014/main" id="{2B6AA178-01D5-4658-BC66-EFE2E9439B7A}"/>
                  </a:ext>
                </a:extLst>
              </p:cNvPr>
              <p:cNvSpPr>
                <a:spLocks/>
              </p:cNvSpPr>
              <p:nvPr/>
            </p:nvSpPr>
            <p:spPr bwMode="auto">
              <a:xfrm>
                <a:off x="1599414" y="1198210"/>
                <a:ext cx="183852" cy="68322"/>
              </a:xfrm>
              <a:custGeom>
                <a:avLst/>
                <a:gdLst>
                  <a:gd name="T0" fmla="*/ 73 w 140"/>
                  <a:gd name="T1" fmla="*/ 0 h 51"/>
                  <a:gd name="T2" fmla="*/ 45 w 140"/>
                  <a:gd name="T3" fmla="*/ 6 h 51"/>
                  <a:gd name="T4" fmla="*/ 45 w 140"/>
                  <a:gd name="T5" fmla="*/ 12 h 51"/>
                  <a:gd name="T6" fmla="*/ 6 w 140"/>
                  <a:gd name="T7" fmla="*/ 28 h 51"/>
                  <a:gd name="T8" fmla="*/ 0 w 140"/>
                  <a:gd name="T9" fmla="*/ 51 h 51"/>
                  <a:gd name="T10" fmla="*/ 22 w 140"/>
                  <a:gd name="T11" fmla="*/ 51 h 51"/>
                  <a:gd name="T12" fmla="*/ 140 w 140"/>
                  <a:gd name="T13" fmla="*/ 12 h 51"/>
                  <a:gd name="T14" fmla="*/ 73 w 140"/>
                  <a:gd name="T15" fmla="*/ 0 h 51"/>
                  <a:gd name="T16" fmla="*/ 73 w 140"/>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0"/>
                  <a:gd name="T28" fmla="*/ 0 h 51"/>
                  <a:gd name="T29" fmla="*/ 140 w 140"/>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0" h="51">
                    <a:moveTo>
                      <a:pt x="73" y="0"/>
                    </a:moveTo>
                    <a:lnTo>
                      <a:pt x="45" y="6"/>
                    </a:lnTo>
                    <a:lnTo>
                      <a:pt x="45" y="12"/>
                    </a:lnTo>
                    <a:lnTo>
                      <a:pt x="6" y="28"/>
                    </a:lnTo>
                    <a:lnTo>
                      <a:pt x="0" y="51"/>
                    </a:lnTo>
                    <a:lnTo>
                      <a:pt x="22" y="51"/>
                    </a:lnTo>
                    <a:lnTo>
                      <a:pt x="140" y="12"/>
                    </a:lnTo>
                    <a:lnTo>
                      <a:pt x="7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2" name="Freeform 107">
                <a:extLst>
                  <a:ext uri="{FF2B5EF4-FFF2-40B4-BE49-F238E27FC236}">
                    <a16:creationId xmlns:a16="http://schemas.microsoft.com/office/drawing/2014/main" id="{24A44FE6-1DAA-4782-A7A6-B580E8EFE740}"/>
                  </a:ext>
                </a:extLst>
              </p:cNvPr>
              <p:cNvSpPr>
                <a:spLocks/>
              </p:cNvSpPr>
              <p:nvPr/>
            </p:nvSpPr>
            <p:spPr bwMode="auto">
              <a:xfrm>
                <a:off x="1964490" y="1296005"/>
                <a:ext cx="66974" cy="21434"/>
              </a:xfrm>
              <a:custGeom>
                <a:avLst/>
                <a:gdLst>
                  <a:gd name="T0" fmla="*/ 51 w 51"/>
                  <a:gd name="T1" fmla="*/ 16 h 16"/>
                  <a:gd name="T2" fmla="*/ 39 w 51"/>
                  <a:gd name="T3" fmla="*/ 0 h 16"/>
                  <a:gd name="T4" fmla="*/ 0 w 51"/>
                  <a:gd name="T5" fmla="*/ 16 h 16"/>
                  <a:gd name="T6" fmla="*/ 51 w 51"/>
                  <a:gd name="T7" fmla="*/ 16 h 16"/>
                  <a:gd name="T8" fmla="*/ 51 w 51"/>
                  <a:gd name="T9" fmla="*/ 16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51" y="16"/>
                    </a:moveTo>
                    <a:lnTo>
                      <a:pt x="39" y="0"/>
                    </a:lnTo>
                    <a:lnTo>
                      <a:pt x="0" y="16"/>
                    </a:lnTo>
                    <a:lnTo>
                      <a:pt x="51"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3" name="Freeform 108">
                <a:extLst>
                  <a:ext uri="{FF2B5EF4-FFF2-40B4-BE49-F238E27FC236}">
                    <a16:creationId xmlns:a16="http://schemas.microsoft.com/office/drawing/2014/main" id="{696F7200-CDA1-434D-8C56-4291F21243E9}"/>
                  </a:ext>
                </a:extLst>
              </p:cNvPr>
              <p:cNvSpPr>
                <a:spLocks/>
              </p:cNvSpPr>
              <p:nvPr/>
            </p:nvSpPr>
            <p:spPr bwMode="auto">
              <a:xfrm>
                <a:off x="2103691" y="1596087"/>
                <a:ext cx="28891" cy="29473"/>
              </a:xfrm>
              <a:custGeom>
                <a:avLst/>
                <a:gdLst>
                  <a:gd name="T0" fmla="*/ 22 w 22"/>
                  <a:gd name="T1" fmla="*/ 6 h 22"/>
                  <a:gd name="T2" fmla="*/ 22 w 22"/>
                  <a:gd name="T3" fmla="*/ 0 h 22"/>
                  <a:gd name="T4" fmla="*/ 0 w 22"/>
                  <a:gd name="T5" fmla="*/ 6 h 22"/>
                  <a:gd name="T6" fmla="*/ 6 w 22"/>
                  <a:gd name="T7" fmla="*/ 22 h 22"/>
                  <a:gd name="T8" fmla="*/ 22 w 22"/>
                  <a:gd name="T9" fmla="*/ 6 h 22"/>
                  <a:gd name="T10" fmla="*/ 22 w 22"/>
                  <a:gd name="T11" fmla="*/ 6 h 22"/>
                  <a:gd name="T12" fmla="*/ 0 60000 65536"/>
                  <a:gd name="T13" fmla="*/ 0 60000 65536"/>
                  <a:gd name="T14" fmla="*/ 0 60000 65536"/>
                  <a:gd name="T15" fmla="*/ 0 60000 65536"/>
                  <a:gd name="T16" fmla="*/ 0 60000 65536"/>
                  <a:gd name="T17" fmla="*/ 0 60000 65536"/>
                  <a:gd name="T18" fmla="*/ 0 w 22"/>
                  <a:gd name="T19" fmla="*/ 0 h 22"/>
                  <a:gd name="T20" fmla="*/ 22 w 22"/>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2" h="22">
                    <a:moveTo>
                      <a:pt x="22" y="6"/>
                    </a:moveTo>
                    <a:lnTo>
                      <a:pt x="22" y="0"/>
                    </a:lnTo>
                    <a:lnTo>
                      <a:pt x="0" y="6"/>
                    </a:lnTo>
                    <a:lnTo>
                      <a:pt x="6" y="22"/>
                    </a:lnTo>
                    <a:lnTo>
                      <a:pt x="22"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4" name="Freeform 109">
                <a:extLst>
                  <a:ext uri="{FF2B5EF4-FFF2-40B4-BE49-F238E27FC236}">
                    <a16:creationId xmlns:a16="http://schemas.microsoft.com/office/drawing/2014/main" id="{8BD91857-773E-414F-BC49-03204A98819C}"/>
                  </a:ext>
                </a:extLst>
              </p:cNvPr>
              <p:cNvSpPr>
                <a:spLocks/>
              </p:cNvSpPr>
              <p:nvPr/>
            </p:nvSpPr>
            <p:spPr bwMode="auto">
              <a:xfrm>
                <a:off x="1022909" y="1655032"/>
                <a:ext cx="38084" cy="60285"/>
              </a:xfrm>
              <a:custGeom>
                <a:avLst/>
                <a:gdLst>
                  <a:gd name="T0" fmla="*/ 0 w 29"/>
                  <a:gd name="T1" fmla="*/ 6 h 45"/>
                  <a:gd name="T2" fmla="*/ 12 w 29"/>
                  <a:gd name="T3" fmla="*/ 45 h 45"/>
                  <a:gd name="T4" fmla="*/ 29 w 29"/>
                  <a:gd name="T5" fmla="*/ 6 h 45"/>
                  <a:gd name="T6" fmla="*/ 12 w 29"/>
                  <a:gd name="T7" fmla="*/ 0 h 45"/>
                  <a:gd name="T8" fmla="*/ 0 w 29"/>
                  <a:gd name="T9" fmla="*/ 6 h 45"/>
                  <a:gd name="T10" fmla="*/ 0 w 29"/>
                  <a:gd name="T11" fmla="*/ 6 h 45"/>
                  <a:gd name="T12" fmla="*/ 0 60000 65536"/>
                  <a:gd name="T13" fmla="*/ 0 60000 65536"/>
                  <a:gd name="T14" fmla="*/ 0 60000 65536"/>
                  <a:gd name="T15" fmla="*/ 0 60000 65536"/>
                  <a:gd name="T16" fmla="*/ 0 60000 65536"/>
                  <a:gd name="T17" fmla="*/ 0 60000 65536"/>
                  <a:gd name="T18" fmla="*/ 0 w 29"/>
                  <a:gd name="T19" fmla="*/ 0 h 45"/>
                  <a:gd name="T20" fmla="*/ 29 w 29"/>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29" h="45">
                    <a:moveTo>
                      <a:pt x="0" y="6"/>
                    </a:moveTo>
                    <a:lnTo>
                      <a:pt x="12" y="45"/>
                    </a:lnTo>
                    <a:lnTo>
                      <a:pt x="29" y="6"/>
                    </a:lnTo>
                    <a:lnTo>
                      <a:pt x="12"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5" name="Freeform 110">
                <a:extLst>
                  <a:ext uri="{FF2B5EF4-FFF2-40B4-BE49-F238E27FC236}">
                    <a16:creationId xmlns:a16="http://schemas.microsoft.com/office/drawing/2014/main" id="{26685C87-8610-4846-895E-6DF10D113507}"/>
                  </a:ext>
                </a:extLst>
              </p:cNvPr>
              <p:cNvSpPr>
                <a:spLocks/>
              </p:cNvSpPr>
              <p:nvPr/>
            </p:nvSpPr>
            <p:spPr bwMode="auto">
              <a:xfrm>
                <a:off x="1053113" y="1744788"/>
                <a:ext cx="70914" cy="52246"/>
              </a:xfrm>
              <a:custGeom>
                <a:avLst/>
                <a:gdLst>
                  <a:gd name="T0" fmla="*/ 44 w 54"/>
                  <a:gd name="T1" fmla="*/ 17 h 39"/>
                  <a:gd name="T2" fmla="*/ 22 w 54"/>
                  <a:gd name="T3" fmla="*/ 0 h 39"/>
                  <a:gd name="T4" fmla="*/ 0 w 54"/>
                  <a:gd name="T5" fmla="*/ 0 h 39"/>
                  <a:gd name="T6" fmla="*/ 16 w 54"/>
                  <a:gd name="T7" fmla="*/ 23 h 39"/>
                  <a:gd name="T8" fmla="*/ 44 w 54"/>
                  <a:gd name="T9" fmla="*/ 39 h 39"/>
                  <a:gd name="T10" fmla="*/ 54 w 54"/>
                  <a:gd name="T11" fmla="*/ 33 h 39"/>
                  <a:gd name="T12" fmla="*/ 44 w 54"/>
                  <a:gd name="T13" fmla="*/ 17 h 39"/>
                  <a:gd name="T14" fmla="*/ 44 w 54"/>
                  <a:gd name="T15" fmla="*/ 17 h 39"/>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39"/>
                  <a:gd name="T26" fmla="*/ 54 w 5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39">
                    <a:moveTo>
                      <a:pt x="44" y="17"/>
                    </a:moveTo>
                    <a:lnTo>
                      <a:pt x="22" y="0"/>
                    </a:lnTo>
                    <a:lnTo>
                      <a:pt x="0" y="0"/>
                    </a:lnTo>
                    <a:lnTo>
                      <a:pt x="16" y="23"/>
                    </a:lnTo>
                    <a:lnTo>
                      <a:pt x="44" y="39"/>
                    </a:lnTo>
                    <a:lnTo>
                      <a:pt x="54" y="33"/>
                    </a:lnTo>
                    <a:lnTo>
                      <a:pt x="44" y="1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6" name="Freeform 115">
                <a:extLst>
                  <a:ext uri="{FF2B5EF4-FFF2-40B4-BE49-F238E27FC236}">
                    <a16:creationId xmlns:a16="http://schemas.microsoft.com/office/drawing/2014/main" id="{76DF882F-BD3F-46CC-BF7F-0AF8EAD3E94E}"/>
                  </a:ext>
                </a:extLst>
              </p:cNvPr>
              <p:cNvSpPr>
                <a:spLocks/>
              </p:cNvSpPr>
              <p:nvPr/>
            </p:nvSpPr>
            <p:spPr bwMode="auto">
              <a:xfrm>
                <a:off x="1596788" y="2586091"/>
                <a:ext cx="30204" cy="52246"/>
              </a:xfrm>
              <a:custGeom>
                <a:avLst/>
                <a:gdLst>
                  <a:gd name="T0" fmla="*/ 19 w 23"/>
                  <a:gd name="T1" fmla="*/ 0 h 39"/>
                  <a:gd name="T2" fmla="*/ 0 w 23"/>
                  <a:gd name="T3" fmla="*/ 0 h 39"/>
                  <a:gd name="T4" fmla="*/ 0 w 23"/>
                  <a:gd name="T5" fmla="*/ 39 h 39"/>
                  <a:gd name="T6" fmla="*/ 13 w 23"/>
                  <a:gd name="T7" fmla="*/ 39 h 39"/>
                  <a:gd name="T8" fmla="*/ 23 w 23"/>
                  <a:gd name="T9" fmla="*/ 16 h 39"/>
                  <a:gd name="T10" fmla="*/ 19 w 23"/>
                  <a:gd name="T11" fmla="*/ 0 h 39"/>
                  <a:gd name="T12" fmla="*/ 19 w 23"/>
                  <a:gd name="T13" fmla="*/ 0 h 39"/>
                  <a:gd name="T14" fmla="*/ 0 60000 65536"/>
                  <a:gd name="T15" fmla="*/ 0 60000 65536"/>
                  <a:gd name="T16" fmla="*/ 0 60000 65536"/>
                  <a:gd name="T17" fmla="*/ 0 60000 65536"/>
                  <a:gd name="T18" fmla="*/ 0 60000 65536"/>
                  <a:gd name="T19" fmla="*/ 0 60000 65536"/>
                  <a:gd name="T20" fmla="*/ 0 60000 65536"/>
                  <a:gd name="T21" fmla="*/ 0 w 23"/>
                  <a:gd name="T22" fmla="*/ 0 h 39"/>
                  <a:gd name="T23" fmla="*/ 23 w 23"/>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9">
                    <a:moveTo>
                      <a:pt x="19" y="0"/>
                    </a:moveTo>
                    <a:lnTo>
                      <a:pt x="0" y="0"/>
                    </a:lnTo>
                    <a:lnTo>
                      <a:pt x="0" y="39"/>
                    </a:lnTo>
                    <a:lnTo>
                      <a:pt x="13" y="39"/>
                    </a:lnTo>
                    <a:lnTo>
                      <a:pt x="23" y="16"/>
                    </a:lnTo>
                    <a:lnTo>
                      <a:pt x="19"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7" name="Freeform 121">
                <a:extLst>
                  <a:ext uri="{FF2B5EF4-FFF2-40B4-BE49-F238E27FC236}">
                    <a16:creationId xmlns:a16="http://schemas.microsoft.com/office/drawing/2014/main" id="{C742746C-5643-4928-A032-87BFB95B887E}"/>
                  </a:ext>
                </a:extLst>
              </p:cNvPr>
              <p:cNvSpPr>
                <a:spLocks/>
              </p:cNvSpPr>
              <p:nvPr/>
            </p:nvSpPr>
            <p:spPr bwMode="auto">
              <a:xfrm>
                <a:off x="1839734" y="2564657"/>
                <a:ext cx="59095" cy="21434"/>
              </a:xfrm>
              <a:custGeom>
                <a:avLst/>
                <a:gdLst>
                  <a:gd name="T0" fmla="*/ 23 w 45"/>
                  <a:gd name="T1" fmla="*/ 0 h 16"/>
                  <a:gd name="T2" fmla="*/ 0 w 45"/>
                  <a:gd name="T3" fmla="*/ 4 h 16"/>
                  <a:gd name="T4" fmla="*/ 23 w 45"/>
                  <a:gd name="T5" fmla="*/ 16 h 16"/>
                  <a:gd name="T6" fmla="*/ 45 w 45"/>
                  <a:gd name="T7" fmla="*/ 16 h 16"/>
                  <a:gd name="T8" fmla="*/ 45 w 45"/>
                  <a:gd name="T9" fmla="*/ 4 h 16"/>
                  <a:gd name="T10" fmla="*/ 33 w 45"/>
                  <a:gd name="T11" fmla="*/ 4 h 16"/>
                  <a:gd name="T12" fmla="*/ 23 w 45"/>
                  <a:gd name="T13" fmla="*/ 0 h 16"/>
                  <a:gd name="T14" fmla="*/ 23 w 45"/>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16"/>
                  <a:gd name="T26" fmla="*/ 45 w 45"/>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16">
                    <a:moveTo>
                      <a:pt x="23" y="0"/>
                    </a:moveTo>
                    <a:lnTo>
                      <a:pt x="0" y="4"/>
                    </a:lnTo>
                    <a:lnTo>
                      <a:pt x="23" y="16"/>
                    </a:lnTo>
                    <a:lnTo>
                      <a:pt x="45" y="16"/>
                    </a:lnTo>
                    <a:lnTo>
                      <a:pt x="45" y="4"/>
                    </a:lnTo>
                    <a:lnTo>
                      <a:pt x="33" y="4"/>
                    </a:lnTo>
                    <a:lnTo>
                      <a:pt x="2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8" name="Freeform 146">
                <a:extLst>
                  <a:ext uri="{FF2B5EF4-FFF2-40B4-BE49-F238E27FC236}">
                    <a16:creationId xmlns:a16="http://schemas.microsoft.com/office/drawing/2014/main" id="{826F4B2A-0A59-422A-8342-525506ACBBD9}"/>
                  </a:ext>
                </a:extLst>
              </p:cNvPr>
              <p:cNvSpPr>
                <a:spLocks/>
              </p:cNvSpPr>
              <p:nvPr/>
            </p:nvSpPr>
            <p:spPr bwMode="auto">
              <a:xfrm>
                <a:off x="2727472" y="1281269"/>
                <a:ext cx="45963" cy="21434"/>
              </a:xfrm>
              <a:custGeom>
                <a:avLst/>
                <a:gdLst/>
                <a:ahLst/>
                <a:cxnLst>
                  <a:cxn ang="0">
                    <a:pos x="0" y="4"/>
                  </a:cxn>
                  <a:cxn ang="0">
                    <a:pos x="6" y="16"/>
                  </a:cxn>
                  <a:cxn ang="0">
                    <a:pos x="35" y="10"/>
                  </a:cxn>
                  <a:cxn ang="0">
                    <a:pos x="11" y="0"/>
                  </a:cxn>
                  <a:cxn ang="0">
                    <a:pos x="0" y="4"/>
                  </a:cxn>
                  <a:cxn ang="0">
                    <a:pos x="0" y="4"/>
                  </a:cxn>
                </a:cxnLst>
                <a:rect l="0" t="0" r="r" b="b"/>
                <a:pathLst>
                  <a:path w="35" h="16">
                    <a:moveTo>
                      <a:pt x="0" y="4"/>
                    </a:moveTo>
                    <a:lnTo>
                      <a:pt x="6" y="16"/>
                    </a:lnTo>
                    <a:lnTo>
                      <a:pt x="35" y="10"/>
                    </a:lnTo>
                    <a:lnTo>
                      <a:pt x="11" y="0"/>
                    </a:lnTo>
                    <a:lnTo>
                      <a:pt x="0" y="4"/>
                    </a:lnTo>
                    <a:lnTo>
                      <a:pt x="0" y="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569" name="Freeform 121">
                <a:extLst>
                  <a:ext uri="{FF2B5EF4-FFF2-40B4-BE49-F238E27FC236}">
                    <a16:creationId xmlns:a16="http://schemas.microsoft.com/office/drawing/2014/main" id="{B1B24CBE-C827-48EA-A291-3EC0B710C6A1}"/>
                  </a:ext>
                </a:extLst>
              </p:cNvPr>
              <p:cNvSpPr>
                <a:spLocks/>
              </p:cNvSpPr>
              <p:nvPr/>
            </p:nvSpPr>
            <p:spPr bwMode="auto">
              <a:xfrm rot="10800000">
                <a:off x="2106721" y="2567336"/>
                <a:ext cx="59095" cy="21434"/>
              </a:xfrm>
              <a:custGeom>
                <a:avLst/>
                <a:gdLst>
                  <a:gd name="T0" fmla="*/ 23 w 45"/>
                  <a:gd name="T1" fmla="*/ 0 h 16"/>
                  <a:gd name="T2" fmla="*/ 0 w 45"/>
                  <a:gd name="T3" fmla="*/ 4 h 16"/>
                  <a:gd name="T4" fmla="*/ 23 w 45"/>
                  <a:gd name="T5" fmla="*/ 16 h 16"/>
                  <a:gd name="T6" fmla="*/ 45 w 45"/>
                  <a:gd name="T7" fmla="*/ 16 h 16"/>
                  <a:gd name="T8" fmla="*/ 45 w 45"/>
                  <a:gd name="T9" fmla="*/ 4 h 16"/>
                  <a:gd name="T10" fmla="*/ 33 w 45"/>
                  <a:gd name="T11" fmla="*/ 4 h 16"/>
                  <a:gd name="T12" fmla="*/ 23 w 45"/>
                  <a:gd name="T13" fmla="*/ 0 h 16"/>
                  <a:gd name="T14" fmla="*/ 23 w 45"/>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16"/>
                  <a:gd name="T26" fmla="*/ 45 w 45"/>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16">
                    <a:moveTo>
                      <a:pt x="23" y="0"/>
                    </a:moveTo>
                    <a:lnTo>
                      <a:pt x="0" y="4"/>
                    </a:lnTo>
                    <a:lnTo>
                      <a:pt x="23" y="16"/>
                    </a:lnTo>
                    <a:lnTo>
                      <a:pt x="45" y="16"/>
                    </a:lnTo>
                    <a:lnTo>
                      <a:pt x="45" y="4"/>
                    </a:lnTo>
                    <a:lnTo>
                      <a:pt x="33" y="4"/>
                    </a:lnTo>
                    <a:lnTo>
                      <a:pt x="2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grpSp>
          <p:nvGrpSpPr>
            <p:cNvPr id="406" name="Group 329">
              <a:extLst>
                <a:ext uri="{FF2B5EF4-FFF2-40B4-BE49-F238E27FC236}">
                  <a16:creationId xmlns:a16="http://schemas.microsoft.com/office/drawing/2014/main" id="{A4BDE77F-65A4-4936-AC9A-C3C5D68DA4C7}"/>
                </a:ext>
              </a:extLst>
            </p:cNvPr>
            <p:cNvGrpSpPr/>
            <p:nvPr/>
          </p:nvGrpSpPr>
          <p:grpSpPr>
            <a:xfrm>
              <a:off x="1618613" y="2363591"/>
              <a:ext cx="1791188" cy="2315168"/>
              <a:chOff x="1474999" y="2279054"/>
              <a:chExt cx="1896152" cy="2456791"/>
            </a:xfrm>
            <a:grpFill/>
          </p:grpSpPr>
          <p:sp>
            <p:nvSpPr>
              <p:cNvPr id="500" name="Freeform 129">
                <a:extLst>
                  <a:ext uri="{FF2B5EF4-FFF2-40B4-BE49-F238E27FC236}">
                    <a16:creationId xmlns:a16="http://schemas.microsoft.com/office/drawing/2014/main" id="{7189F0EA-94B1-4AA6-A0CF-7E5C2F7E879B}"/>
                  </a:ext>
                </a:extLst>
              </p:cNvPr>
              <p:cNvSpPr>
                <a:spLocks/>
              </p:cNvSpPr>
              <p:nvPr/>
            </p:nvSpPr>
            <p:spPr bwMode="auto">
              <a:xfrm>
                <a:off x="2560889" y="4373295"/>
                <a:ext cx="30471" cy="42740"/>
              </a:xfrm>
              <a:custGeom>
                <a:avLst/>
                <a:gdLst>
                  <a:gd name="T0" fmla="*/ 6 w 22"/>
                  <a:gd name="T1" fmla="*/ 0 h 29"/>
                  <a:gd name="T2" fmla="*/ 0 w 22"/>
                  <a:gd name="T3" fmla="*/ 12 h 29"/>
                  <a:gd name="T4" fmla="*/ 12 w 22"/>
                  <a:gd name="T5" fmla="*/ 29 h 29"/>
                  <a:gd name="T6" fmla="*/ 22 w 22"/>
                  <a:gd name="T7" fmla="*/ 16 h 29"/>
                  <a:gd name="T8" fmla="*/ 6 w 22"/>
                  <a:gd name="T9" fmla="*/ 0 h 29"/>
                  <a:gd name="T10" fmla="*/ 6 w 22"/>
                  <a:gd name="T11" fmla="*/ 0 h 29"/>
                  <a:gd name="T12" fmla="*/ 0 60000 65536"/>
                  <a:gd name="T13" fmla="*/ 0 60000 65536"/>
                  <a:gd name="T14" fmla="*/ 0 60000 65536"/>
                  <a:gd name="T15" fmla="*/ 0 60000 65536"/>
                  <a:gd name="T16" fmla="*/ 0 60000 65536"/>
                  <a:gd name="T17" fmla="*/ 0 60000 65536"/>
                  <a:gd name="T18" fmla="*/ 0 w 22"/>
                  <a:gd name="T19" fmla="*/ 0 h 29"/>
                  <a:gd name="T20" fmla="*/ 22 w 2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2" h="29">
                    <a:moveTo>
                      <a:pt x="6" y="0"/>
                    </a:moveTo>
                    <a:lnTo>
                      <a:pt x="0" y="12"/>
                    </a:lnTo>
                    <a:lnTo>
                      <a:pt x="12" y="29"/>
                    </a:lnTo>
                    <a:lnTo>
                      <a:pt x="22" y="16"/>
                    </a:lnTo>
                    <a:lnTo>
                      <a:pt x="6"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nvGrpSpPr>
              <p:cNvPr id="501" name="Group 328">
                <a:extLst>
                  <a:ext uri="{FF2B5EF4-FFF2-40B4-BE49-F238E27FC236}">
                    <a16:creationId xmlns:a16="http://schemas.microsoft.com/office/drawing/2014/main" id="{16A3F76C-7469-4EE8-AF11-D0CBEC796ACF}"/>
                  </a:ext>
                </a:extLst>
              </p:cNvPr>
              <p:cNvGrpSpPr/>
              <p:nvPr/>
            </p:nvGrpSpPr>
            <p:grpSpPr>
              <a:xfrm>
                <a:off x="1474999" y="2279054"/>
                <a:ext cx="1896152" cy="2456791"/>
                <a:chOff x="1474999" y="2279054"/>
                <a:chExt cx="1896152" cy="2456791"/>
              </a:xfrm>
              <a:grpFill/>
            </p:grpSpPr>
            <p:sp>
              <p:nvSpPr>
                <p:cNvPr id="502" name="Freeform 128">
                  <a:extLst>
                    <a:ext uri="{FF2B5EF4-FFF2-40B4-BE49-F238E27FC236}">
                      <a16:creationId xmlns:a16="http://schemas.microsoft.com/office/drawing/2014/main" id="{00758282-3432-45ED-80DA-327F64BF2C6B}"/>
                    </a:ext>
                  </a:extLst>
                </p:cNvPr>
                <p:cNvSpPr>
                  <a:spLocks/>
                </p:cNvSpPr>
                <p:nvPr/>
              </p:nvSpPr>
              <p:spPr bwMode="auto">
                <a:xfrm>
                  <a:off x="2515182" y="3690934"/>
                  <a:ext cx="261777" cy="987432"/>
                </a:xfrm>
                <a:custGeom>
                  <a:avLst/>
                  <a:gdLst>
                    <a:gd name="T0" fmla="*/ 17 w 189"/>
                    <a:gd name="T1" fmla="*/ 90 h 670"/>
                    <a:gd name="T2" fmla="*/ 7 w 189"/>
                    <a:gd name="T3" fmla="*/ 106 h 670"/>
                    <a:gd name="T4" fmla="*/ 17 w 189"/>
                    <a:gd name="T5" fmla="*/ 207 h 670"/>
                    <a:gd name="T6" fmla="*/ 11 w 189"/>
                    <a:gd name="T7" fmla="*/ 218 h 670"/>
                    <a:gd name="T8" fmla="*/ 23 w 189"/>
                    <a:gd name="T9" fmla="*/ 240 h 670"/>
                    <a:gd name="T10" fmla="*/ 23 w 189"/>
                    <a:gd name="T11" fmla="*/ 268 h 670"/>
                    <a:gd name="T12" fmla="*/ 33 w 189"/>
                    <a:gd name="T13" fmla="*/ 285 h 670"/>
                    <a:gd name="T14" fmla="*/ 23 w 189"/>
                    <a:gd name="T15" fmla="*/ 358 h 670"/>
                    <a:gd name="T16" fmla="*/ 17 w 189"/>
                    <a:gd name="T17" fmla="*/ 374 h 670"/>
                    <a:gd name="T18" fmla="*/ 39 w 189"/>
                    <a:gd name="T19" fmla="*/ 425 h 670"/>
                    <a:gd name="T20" fmla="*/ 33 w 189"/>
                    <a:gd name="T21" fmla="*/ 447 h 670"/>
                    <a:gd name="T22" fmla="*/ 55 w 189"/>
                    <a:gd name="T23" fmla="*/ 459 h 670"/>
                    <a:gd name="T24" fmla="*/ 68 w 189"/>
                    <a:gd name="T25" fmla="*/ 498 h 670"/>
                    <a:gd name="T26" fmla="*/ 72 w 189"/>
                    <a:gd name="T27" fmla="*/ 536 h 670"/>
                    <a:gd name="T28" fmla="*/ 55 w 189"/>
                    <a:gd name="T29" fmla="*/ 546 h 670"/>
                    <a:gd name="T30" fmla="*/ 84 w 189"/>
                    <a:gd name="T31" fmla="*/ 565 h 670"/>
                    <a:gd name="T32" fmla="*/ 68 w 189"/>
                    <a:gd name="T33" fmla="*/ 581 h 670"/>
                    <a:gd name="T34" fmla="*/ 78 w 189"/>
                    <a:gd name="T35" fmla="*/ 597 h 670"/>
                    <a:gd name="T36" fmla="*/ 84 w 189"/>
                    <a:gd name="T37" fmla="*/ 620 h 670"/>
                    <a:gd name="T38" fmla="*/ 94 w 189"/>
                    <a:gd name="T39" fmla="*/ 632 h 670"/>
                    <a:gd name="T40" fmla="*/ 100 w 189"/>
                    <a:gd name="T41" fmla="*/ 654 h 670"/>
                    <a:gd name="T42" fmla="*/ 118 w 189"/>
                    <a:gd name="T43" fmla="*/ 658 h 670"/>
                    <a:gd name="T44" fmla="*/ 118 w 189"/>
                    <a:gd name="T45" fmla="*/ 670 h 670"/>
                    <a:gd name="T46" fmla="*/ 145 w 189"/>
                    <a:gd name="T47" fmla="*/ 664 h 670"/>
                    <a:gd name="T48" fmla="*/ 161 w 189"/>
                    <a:gd name="T49" fmla="*/ 670 h 670"/>
                    <a:gd name="T50" fmla="*/ 189 w 189"/>
                    <a:gd name="T51" fmla="*/ 658 h 670"/>
                    <a:gd name="T52" fmla="*/ 128 w 189"/>
                    <a:gd name="T53" fmla="*/ 632 h 670"/>
                    <a:gd name="T54" fmla="*/ 106 w 189"/>
                    <a:gd name="T55" fmla="*/ 609 h 670"/>
                    <a:gd name="T56" fmla="*/ 112 w 189"/>
                    <a:gd name="T57" fmla="*/ 559 h 670"/>
                    <a:gd name="T58" fmla="*/ 100 w 189"/>
                    <a:gd name="T59" fmla="*/ 514 h 670"/>
                    <a:gd name="T60" fmla="*/ 72 w 189"/>
                    <a:gd name="T61" fmla="*/ 453 h 670"/>
                    <a:gd name="T62" fmla="*/ 72 w 189"/>
                    <a:gd name="T63" fmla="*/ 392 h 670"/>
                    <a:gd name="T64" fmla="*/ 55 w 189"/>
                    <a:gd name="T65" fmla="*/ 364 h 670"/>
                    <a:gd name="T66" fmla="*/ 68 w 189"/>
                    <a:gd name="T67" fmla="*/ 345 h 670"/>
                    <a:gd name="T68" fmla="*/ 61 w 189"/>
                    <a:gd name="T69" fmla="*/ 335 h 670"/>
                    <a:gd name="T70" fmla="*/ 72 w 189"/>
                    <a:gd name="T71" fmla="*/ 307 h 670"/>
                    <a:gd name="T72" fmla="*/ 45 w 189"/>
                    <a:gd name="T73" fmla="*/ 268 h 670"/>
                    <a:gd name="T74" fmla="*/ 51 w 189"/>
                    <a:gd name="T75" fmla="*/ 218 h 670"/>
                    <a:gd name="T76" fmla="*/ 68 w 189"/>
                    <a:gd name="T77" fmla="*/ 167 h 670"/>
                    <a:gd name="T78" fmla="*/ 51 w 189"/>
                    <a:gd name="T79" fmla="*/ 140 h 670"/>
                    <a:gd name="T80" fmla="*/ 72 w 189"/>
                    <a:gd name="T81" fmla="*/ 100 h 670"/>
                    <a:gd name="T82" fmla="*/ 23 w 189"/>
                    <a:gd name="T83" fmla="*/ 0 h 670"/>
                    <a:gd name="T84" fmla="*/ 0 w 189"/>
                    <a:gd name="T85" fmla="*/ 10 h 670"/>
                    <a:gd name="T86" fmla="*/ 17 w 189"/>
                    <a:gd name="T87" fmla="*/ 90 h 670"/>
                    <a:gd name="T88" fmla="*/ 17 w 189"/>
                    <a:gd name="T89" fmla="*/ 90 h 6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9"/>
                    <a:gd name="T136" fmla="*/ 0 h 670"/>
                    <a:gd name="T137" fmla="*/ 189 w 189"/>
                    <a:gd name="T138" fmla="*/ 670 h 6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9" h="670">
                      <a:moveTo>
                        <a:pt x="17" y="90"/>
                      </a:moveTo>
                      <a:lnTo>
                        <a:pt x="7" y="106"/>
                      </a:lnTo>
                      <a:lnTo>
                        <a:pt x="17" y="207"/>
                      </a:lnTo>
                      <a:lnTo>
                        <a:pt x="11" y="218"/>
                      </a:lnTo>
                      <a:lnTo>
                        <a:pt x="23" y="240"/>
                      </a:lnTo>
                      <a:lnTo>
                        <a:pt x="23" y="268"/>
                      </a:lnTo>
                      <a:lnTo>
                        <a:pt x="33" y="285"/>
                      </a:lnTo>
                      <a:lnTo>
                        <a:pt x="23" y="358"/>
                      </a:lnTo>
                      <a:lnTo>
                        <a:pt x="17" y="374"/>
                      </a:lnTo>
                      <a:lnTo>
                        <a:pt x="39" y="425"/>
                      </a:lnTo>
                      <a:lnTo>
                        <a:pt x="33" y="447"/>
                      </a:lnTo>
                      <a:lnTo>
                        <a:pt x="55" y="459"/>
                      </a:lnTo>
                      <a:lnTo>
                        <a:pt x="68" y="498"/>
                      </a:lnTo>
                      <a:lnTo>
                        <a:pt x="72" y="536"/>
                      </a:lnTo>
                      <a:lnTo>
                        <a:pt x="55" y="546"/>
                      </a:lnTo>
                      <a:lnTo>
                        <a:pt x="84" y="565"/>
                      </a:lnTo>
                      <a:lnTo>
                        <a:pt x="68" y="581"/>
                      </a:lnTo>
                      <a:lnTo>
                        <a:pt x="78" y="597"/>
                      </a:lnTo>
                      <a:lnTo>
                        <a:pt x="84" y="620"/>
                      </a:lnTo>
                      <a:lnTo>
                        <a:pt x="94" y="632"/>
                      </a:lnTo>
                      <a:lnTo>
                        <a:pt x="100" y="654"/>
                      </a:lnTo>
                      <a:lnTo>
                        <a:pt x="118" y="658"/>
                      </a:lnTo>
                      <a:lnTo>
                        <a:pt x="118" y="670"/>
                      </a:lnTo>
                      <a:lnTo>
                        <a:pt x="145" y="664"/>
                      </a:lnTo>
                      <a:lnTo>
                        <a:pt x="161" y="670"/>
                      </a:lnTo>
                      <a:lnTo>
                        <a:pt x="189" y="658"/>
                      </a:lnTo>
                      <a:lnTo>
                        <a:pt x="128" y="632"/>
                      </a:lnTo>
                      <a:lnTo>
                        <a:pt x="106" y="609"/>
                      </a:lnTo>
                      <a:lnTo>
                        <a:pt x="112" y="559"/>
                      </a:lnTo>
                      <a:lnTo>
                        <a:pt x="100" y="514"/>
                      </a:lnTo>
                      <a:lnTo>
                        <a:pt x="72" y="453"/>
                      </a:lnTo>
                      <a:lnTo>
                        <a:pt x="72" y="392"/>
                      </a:lnTo>
                      <a:lnTo>
                        <a:pt x="55" y="364"/>
                      </a:lnTo>
                      <a:lnTo>
                        <a:pt x="68" y="345"/>
                      </a:lnTo>
                      <a:lnTo>
                        <a:pt x="61" y="335"/>
                      </a:lnTo>
                      <a:lnTo>
                        <a:pt x="72" y="307"/>
                      </a:lnTo>
                      <a:lnTo>
                        <a:pt x="45" y="268"/>
                      </a:lnTo>
                      <a:lnTo>
                        <a:pt x="51" y="218"/>
                      </a:lnTo>
                      <a:lnTo>
                        <a:pt x="68" y="167"/>
                      </a:lnTo>
                      <a:lnTo>
                        <a:pt x="51" y="140"/>
                      </a:lnTo>
                      <a:lnTo>
                        <a:pt x="72" y="100"/>
                      </a:lnTo>
                      <a:lnTo>
                        <a:pt x="23" y="0"/>
                      </a:lnTo>
                      <a:lnTo>
                        <a:pt x="0" y="10"/>
                      </a:lnTo>
                      <a:lnTo>
                        <a:pt x="17" y="9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03" name="Freeform 134">
                  <a:extLst>
                    <a:ext uri="{FF2B5EF4-FFF2-40B4-BE49-F238E27FC236}">
                      <a16:creationId xmlns:a16="http://schemas.microsoft.com/office/drawing/2014/main" id="{374B8DB9-EF52-4B6D-B399-9375DBE696CD}"/>
                    </a:ext>
                  </a:extLst>
                </p:cNvPr>
                <p:cNvSpPr>
                  <a:spLocks/>
                </p:cNvSpPr>
                <p:nvPr/>
              </p:nvSpPr>
              <p:spPr bwMode="auto">
                <a:xfrm>
                  <a:off x="2878068" y="4035800"/>
                  <a:ext cx="130196" cy="140009"/>
                </a:xfrm>
                <a:custGeom>
                  <a:avLst/>
                  <a:gdLst>
                    <a:gd name="T0" fmla="*/ 94 w 94"/>
                    <a:gd name="T1" fmla="*/ 51 h 95"/>
                    <a:gd name="T2" fmla="*/ 11 w 94"/>
                    <a:gd name="T3" fmla="*/ 0 h 95"/>
                    <a:gd name="T4" fmla="*/ 0 w 94"/>
                    <a:gd name="T5" fmla="*/ 24 h 95"/>
                    <a:gd name="T6" fmla="*/ 5 w 94"/>
                    <a:gd name="T7" fmla="*/ 73 h 95"/>
                    <a:gd name="T8" fmla="*/ 27 w 94"/>
                    <a:gd name="T9" fmla="*/ 95 h 95"/>
                    <a:gd name="T10" fmla="*/ 65 w 94"/>
                    <a:gd name="T11" fmla="*/ 85 h 95"/>
                    <a:gd name="T12" fmla="*/ 94 w 94"/>
                    <a:gd name="T13" fmla="*/ 51 h 95"/>
                    <a:gd name="T14" fmla="*/ 94 w 94"/>
                    <a:gd name="T15" fmla="*/ 51 h 95"/>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5"/>
                    <a:gd name="T26" fmla="*/ 94 w 94"/>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5">
                      <a:moveTo>
                        <a:pt x="94" y="51"/>
                      </a:moveTo>
                      <a:lnTo>
                        <a:pt x="11" y="0"/>
                      </a:lnTo>
                      <a:lnTo>
                        <a:pt x="0" y="24"/>
                      </a:lnTo>
                      <a:lnTo>
                        <a:pt x="5" y="73"/>
                      </a:lnTo>
                      <a:lnTo>
                        <a:pt x="27" y="95"/>
                      </a:lnTo>
                      <a:lnTo>
                        <a:pt x="65" y="85"/>
                      </a:lnTo>
                      <a:lnTo>
                        <a:pt x="94" y="5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grpSp>
              <p:nvGrpSpPr>
                <p:cNvPr id="504" name="Group 326">
                  <a:extLst>
                    <a:ext uri="{FF2B5EF4-FFF2-40B4-BE49-F238E27FC236}">
                      <a16:creationId xmlns:a16="http://schemas.microsoft.com/office/drawing/2014/main" id="{6FE37CB7-D37B-4C66-8717-7782787E98C4}"/>
                    </a:ext>
                  </a:extLst>
                </p:cNvPr>
                <p:cNvGrpSpPr/>
                <p:nvPr/>
              </p:nvGrpSpPr>
              <p:grpSpPr>
                <a:xfrm>
                  <a:off x="1474999" y="2279054"/>
                  <a:ext cx="1896152" cy="2456791"/>
                  <a:chOff x="1042607" y="2213668"/>
                  <a:chExt cx="1797803" cy="2233202"/>
                </a:xfrm>
                <a:grpFill/>
              </p:grpSpPr>
              <p:sp>
                <p:nvSpPr>
                  <p:cNvPr id="505" name="Freeform 112">
                    <a:extLst>
                      <a:ext uri="{FF2B5EF4-FFF2-40B4-BE49-F238E27FC236}">
                        <a16:creationId xmlns:a16="http://schemas.microsoft.com/office/drawing/2014/main" id="{2249B32F-7324-47AB-8BB0-72365F8EBBD9}"/>
                      </a:ext>
                    </a:extLst>
                  </p:cNvPr>
                  <p:cNvSpPr>
                    <a:spLocks/>
                  </p:cNvSpPr>
                  <p:nvPr/>
                </p:nvSpPr>
                <p:spPr bwMode="auto">
                  <a:xfrm>
                    <a:off x="1042607" y="2213668"/>
                    <a:ext cx="621155" cy="462180"/>
                  </a:xfrm>
                  <a:custGeom>
                    <a:avLst/>
                    <a:gdLst>
                      <a:gd name="T0" fmla="*/ 6 w 473"/>
                      <a:gd name="T1" fmla="*/ 49 h 345"/>
                      <a:gd name="T2" fmla="*/ 22 w 473"/>
                      <a:gd name="T3" fmla="*/ 87 h 345"/>
                      <a:gd name="T4" fmla="*/ 45 w 473"/>
                      <a:gd name="T5" fmla="*/ 132 h 345"/>
                      <a:gd name="T6" fmla="*/ 73 w 473"/>
                      <a:gd name="T7" fmla="*/ 189 h 345"/>
                      <a:gd name="T8" fmla="*/ 67 w 473"/>
                      <a:gd name="T9" fmla="*/ 160 h 345"/>
                      <a:gd name="T10" fmla="*/ 57 w 473"/>
                      <a:gd name="T11" fmla="*/ 138 h 345"/>
                      <a:gd name="T12" fmla="*/ 45 w 473"/>
                      <a:gd name="T13" fmla="*/ 100 h 345"/>
                      <a:gd name="T14" fmla="*/ 29 w 473"/>
                      <a:gd name="T15" fmla="*/ 45 h 345"/>
                      <a:gd name="T16" fmla="*/ 51 w 473"/>
                      <a:gd name="T17" fmla="*/ 20 h 345"/>
                      <a:gd name="T18" fmla="*/ 96 w 473"/>
                      <a:gd name="T19" fmla="*/ 128 h 345"/>
                      <a:gd name="T20" fmla="*/ 140 w 473"/>
                      <a:gd name="T21" fmla="*/ 179 h 345"/>
                      <a:gd name="T22" fmla="*/ 140 w 473"/>
                      <a:gd name="T23" fmla="*/ 227 h 345"/>
                      <a:gd name="T24" fmla="*/ 169 w 473"/>
                      <a:gd name="T25" fmla="*/ 256 h 345"/>
                      <a:gd name="T26" fmla="*/ 201 w 473"/>
                      <a:gd name="T27" fmla="*/ 278 h 345"/>
                      <a:gd name="T28" fmla="*/ 223 w 473"/>
                      <a:gd name="T29" fmla="*/ 300 h 345"/>
                      <a:gd name="T30" fmla="*/ 290 w 473"/>
                      <a:gd name="T31" fmla="*/ 323 h 345"/>
                      <a:gd name="T32" fmla="*/ 362 w 473"/>
                      <a:gd name="T33" fmla="*/ 345 h 345"/>
                      <a:gd name="T34" fmla="*/ 396 w 473"/>
                      <a:gd name="T35" fmla="*/ 313 h 345"/>
                      <a:gd name="T36" fmla="*/ 384 w 473"/>
                      <a:gd name="T37" fmla="*/ 284 h 345"/>
                      <a:gd name="T38" fmla="*/ 441 w 473"/>
                      <a:gd name="T39" fmla="*/ 278 h 345"/>
                      <a:gd name="T40" fmla="*/ 457 w 473"/>
                      <a:gd name="T41" fmla="*/ 240 h 345"/>
                      <a:gd name="T42" fmla="*/ 467 w 473"/>
                      <a:gd name="T43" fmla="*/ 211 h 345"/>
                      <a:gd name="T44" fmla="*/ 384 w 473"/>
                      <a:gd name="T45" fmla="*/ 266 h 345"/>
                      <a:gd name="T46" fmla="*/ 329 w 473"/>
                      <a:gd name="T47" fmla="*/ 278 h 345"/>
                      <a:gd name="T48" fmla="*/ 284 w 473"/>
                      <a:gd name="T49" fmla="*/ 154 h 345"/>
                      <a:gd name="T50" fmla="*/ 301 w 473"/>
                      <a:gd name="T51" fmla="*/ 128 h 345"/>
                      <a:gd name="T52" fmla="*/ 278 w 473"/>
                      <a:gd name="T53" fmla="*/ 77 h 345"/>
                      <a:gd name="T54" fmla="*/ 234 w 473"/>
                      <a:gd name="T55" fmla="*/ 55 h 345"/>
                      <a:gd name="T56" fmla="*/ 217 w 473"/>
                      <a:gd name="T57" fmla="*/ 65 h 345"/>
                      <a:gd name="T58" fmla="*/ 163 w 473"/>
                      <a:gd name="T59" fmla="*/ 10 h 345"/>
                      <a:gd name="T60" fmla="*/ 57 w 473"/>
                      <a:gd name="T61" fmla="*/ 0 h 345"/>
                      <a:gd name="T62" fmla="*/ 0 w 473"/>
                      <a:gd name="T63" fmla="*/ 26 h 34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3"/>
                      <a:gd name="T97" fmla="*/ 0 h 345"/>
                      <a:gd name="T98" fmla="*/ 473 w 473"/>
                      <a:gd name="T99" fmla="*/ 345 h 34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3" h="345">
                        <a:moveTo>
                          <a:pt x="0" y="26"/>
                        </a:moveTo>
                        <a:lnTo>
                          <a:pt x="6" y="49"/>
                        </a:lnTo>
                        <a:lnTo>
                          <a:pt x="18" y="65"/>
                        </a:lnTo>
                        <a:lnTo>
                          <a:pt x="22" y="87"/>
                        </a:lnTo>
                        <a:lnTo>
                          <a:pt x="12" y="87"/>
                        </a:lnTo>
                        <a:lnTo>
                          <a:pt x="45" y="132"/>
                        </a:lnTo>
                        <a:lnTo>
                          <a:pt x="45" y="150"/>
                        </a:lnTo>
                        <a:lnTo>
                          <a:pt x="73" y="189"/>
                        </a:lnTo>
                        <a:lnTo>
                          <a:pt x="83" y="179"/>
                        </a:lnTo>
                        <a:lnTo>
                          <a:pt x="67" y="160"/>
                        </a:lnTo>
                        <a:lnTo>
                          <a:pt x="67" y="144"/>
                        </a:lnTo>
                        <a:lnTo>
                          <a:pt x="57" y="138"/>
                        </a:lnTo>
                        <a:lnTo>
                          <a:pt x="61" y="122"/>
                        </a:lnTo>
                        <a:lnTo>
                          <a:pt x="45" y="100"/>
                        </a:lnTo>
                        <a:lnTo>
                          <a:pt x="45" y="83"/>
                        </a:lnTo>
                        <a:lnTo>
                          <a:pt x="29" y="45"/>
                        </a:lnTo>
                        <a:lnTo>
                          <a:pt x="35" y="16"/>
                        </a:lnTo>
                        <a:lnTo>
                          <a:pt x="51" y="20"/>
                        </a:lnTo>
                        <a:lnTo>
                          <a:pt x="96" y="116"/>
                        </a:lnTo>
                        <a:lnTo>
                          <a:pt x="96" y="128"/>
                        </a:lnTo>
                        <a:lnTo>
                          <a:pt x="112" y="144"/>
                        </a:lnTo>
                        <a:lnTo>
                          <a:pt x="140" y="179"/>
                        </a:lnTo>
                        <a:lnTo>
                          <a:pt x="144" y="211"/>
                        </a:lnTo>
                        <a:lnTo>
                          <a:pt x="140" y="227"/>
                        </a:lnTo>
                        <a:lnTo>
                          <a:pt x="150" y="256"/>
                        </a:lnTo>
                        <a:lnTo>
                          <a:pt x="169" y="256"/>
                        </a:lnTo>
                        <a:lnTo>
                          <a:pt x="173" y="272"/>
                        </a:lnTo>
                        <a:lnTo>
                          <a:pt x="201" y="278"/>
                        </a:lnTo>
                        <a:lnTo>
                          <a:pt x="201" y="288"/>
                        </a:lnTo>
                        <a:lnTo>
                          <a:pt x="223" y="300"/>
                        </a:lnTo>
                        <a:lnTo>
                          <a:pt x="240" y="300"/>
                        </a:lnTo>
                        <a:lnTo>
                          <a:pt x="290" y="323"/>
                        </a:lnTo>
                        <a:lnTo>
                          <a:pt x="317" y="313"/>
                        </a:lnTo>
                        <a:lnTo>
                          <a:pt x="362" y="345"/>
                        </a:lnTo>
                        <a:lnTo>
                          <a:pt x="368" y="313"/>
                        </a:lnTo>
                        <a:lnTo>
                          <a:pt x="396" y="313"/>
                        </a:lnTo>
                        <a:lnTo>
                          <a:pt x="400" y="300"/>
                        </a:lnTo>
                        <a:lnTo>
                          <a:pt x="384" y="284"/>
                        </a:lnTo>
                        <a:lnTo>
                          <a:pt x="422" y="278"/>
                        </a:lnTo>
                        <a:lnTo>
                          <a:pt x="441" y="278"/>
                        </a:lnTo>
                        <a:lnTo>
                          <a:pt x="451" y="262"/>
                        </a:lnTo>
                        <a:lnTo>
                          <a:pt x="457" y="240"/>
                        </a:lnTo>
                        <a:lnTo>
                          <a:pt x="473" y="221"/>
                        </a:lnTo>
                        <a:lnTo>
                          <a:pt x="467" y="211"/>
                        </a:lnTo>
                        <a:lnTo>
                          <a:pt x="412" y="217"/>
                        </a:lnTo>
                        <a:lnTo>
                          <a:pt x="384" y="266"/>
                        </a:lnTo>
                        <a:lnTo>
                          <a:pt x="358" y="266"/>
                        </a:lnTo>
                        <a:lnTo>
                          <a:pt x="329" y="278"/>
                        </a:lnTo>
                        <a:lnTo>
                          <a:pt x="290" y="234"/>
                        </a:lnTo>
                        <a:lnTo>
                          <a:pt x="284" y="154"/>
                        </a:lnTo>
                        <a:lnTo>
                          <a:pt x="301" y="138"/>
                        </a:lnTo>
                        <a:lnTo>
                          <a:pt x="301" y="128"/>
                        </a:lnTo>
                        <a:lnTo>
                          <a:pt x="284" y="116"/>
                        </a:lnTo>
                        <a:lnTo>
                          <a:pt x="278" y="77"/>
                        </a:lnTo>
                        <a:lnTo>
                          <a:pt x="256" y="49"/>
                        </a:lnTo>
                        <a:lnTo>
                          <a:pt x="234" y="55"/>
                        </a:lnTo>
                        <a:lnTo>
                          <a:pt x="230" y="65"/>
                        </a:lnTo>
                        <a:lnTo>
                          <a:pt x="217" y="65"/>
                        </a:lnTo>
                        <a:lnTo>
                          <a:pt x="185" y="10"/>
                        </a:lnTo>
                        <a:lnTo>
                          <a:pt x="163" y="10"/>
                        </a:lnTo>
                        <a:lnTo>
                          <a:pt x="128" y="20"/>
                        </a:lnTo>
                        <a:lnTo>
                          <a:pt x="57" y="0"/>
                        </a:lnTo>
                        <a:lnTo>
                          <a:pt x="6" y="0"/>
                        </a:lnTo>
                        <a:lnTo>
                          <a:pt x="0" y="2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06" name="Freeform 113">
                    <a:extLst>
                      <a:ext uri="{FF2B5EF4-FFF2-40B4-BE49-F238E27FC236}">
                        <a16:creationId xmlns:a16="http://schemas.microsoft.com/office/drawing/2014/main" id="{13927F6A-74C0-4F33-A87B-21013132277B}"/>
                      </a:ext>
                    </a:extLst>
                  </p:cNvPr>
                  <p:cNvSpPr>
                    <a:spLocks/>
                  </p:cNvSpPr>
                  <p:nvPr/>
                </p:nvSpPr>
                <p:spPr bwMode="auto">
                  <a:xfrm>
                    <a:off x="1517994" y="2586091"/>
                    <a:ext cx="103745" cy="111191"/>
                  </a:xfrm>
                  <a:custGeom>
                    <a:avLst/>
                    <a:gdLst>
                      <a:gd name="T0" fmla="*/ 22 w 79"/>
                      <a:gd name="T1" fmla="*/ 6 h 83"/>
                      <a:gd name="T2" fmla="*/ 38 w 79"/>
                      <a:gd name="T3" fmla="*/ 22 h 83"/>
                      <a:gd name="T4" fmla="*/ 34 w 79"/>
                      <a:gd name="T5" fmla="*/ 35 h 83"/>
                      <a:gd name="T6" fmla="*/ 6 w 79"/>
                      <a:gd name="T7" fmla="*/ 35 h 83"/>
                      <a:gd name="T8" fmla="*/ 0 w 79"/>
                      <a:gd name="T9" fmla="*/ 67 h 83"/>
                      <a:gd name="T10" fmla="*/ 38 w 79"/>
                      <a:gd name="T11" fmla="*/ 83 h 83"/>
                      <a:gd name="T12" fmla="*/ 60 w 79"/>
                      <a:gd name="T13" fmla="*/ 67 h 83"/>
                      <a:gd name="T14" fmla="*/ 79 w 79"/>
                      <a:gd name="T15" fmla="*/ 51 h 83"/>
                      <a:gd name="T16" fmla="*/ 73 w 79"/>
                      <a:gd name="T17" fmla="*/ 39 h 83"/>
                      <a:gd name="T18" fmla="*/ 60 w 79"/>
                      <a:gd name="T19" fmla="*/ 39 h 83"/>
                      <a:gd name="T20" fmla="*/ 60 w 79"/>
                      <a:gd name="T21" fmla="*/ 0 h 83"/>
                      <a:gd name="T22" fmla="*/ 22 w 79"/>
                      <a:gd name="T23" fmla="*/ 6 h 83"/>
                      <a:gd name="T24" fmla="*/ 22 w 79"/>
                      <a:gd name="T25" fmla="*/ 6 h 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83"/>
                      <a:gd name="T41" fmla="*/ 79 w 79"/>
                      <a:gd name="T42" fmla="*/ 83 h 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83">
                        <a:moveTo>
                          <a:pt x="22" y="6"/>
                        </a:moveTo>
                        <a:lnTo>
                          <a:pt x="38" y="22"/>
                        </a:lnTo>
                        <a:lnTo>
                          <a:pt x="34" y="35"/>
                        </a:lnTo>
                        <a:lnTo>
                          <a:pt x="6" y="35"/>
                        </a:lnTo>
                        <a:lnTo>
                          <a:pt x="0" y="67"/>
                        </a:lnTo>
                        <a:lnTo>
                          <a:pt x="38" y="83"/>
                        </a:lnTo>
                        <a:lnTo>
                          <a:pt x="60" y="67"/>
                        </a:lnTo>
                        <a:lnTo>
                          <a:pt x="79" y="51"/>
                        </a:lnTo>
                        <a:lnTo>
                          <a:pt x="73" y="39"/>
                        </a:lnTo>
                        <a:lnTo>
                          <a:pt x="60" y="39"/>
                        </a:lnTo>
                        <a:lnTo>
                          <a:pt x="60" y="0"/>
                        </a:lnTo>
                        <a:lnTo>
                          <a:pt x="22"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07" name="Freeform 114">
                    <a:extLst>
                      <a:ext uri="{FF2B5EF4-FFF2-40B4-BE49-F238E27FC236}">
                        <a16:creationId xmlns:a16="http://schemas.microsoft.com/office/drawing/2014/main" id="{E97263AC-341F-4496-9FCF-16212ACB6EEA}"/>
                      </a:ext>
                    </a:extLst>
                  </p:cNvPr>
                  <p:cNvSpPr>
                    <a:spLocks/>
                  </p:cNvSpPr>
                  <p:nvPr/>
                </p:nvSpPr>
                <p:spPr bwMode="auto">
                  <a:xfrm>
                    <a:off x="1567897" y="2675848"/>
                    <a:ext cx="59095" cy="38850"/>
                  </a:xfrm>
                  <a:custGeom>
                    <a:avLst/>
                    <a:gdLst>
                      <a:gd name="T0" fmla="*/ 22 w 45"/>
                      <a:gd name="T1" fmla="*/ 0 h 29"/>
                      <a:gd name="T2" fmla="*/ 0 w 45"/>
                      <a:gd name="T3" fmla="*/ 16 h 29"/>
                      <a:gd name="T4" fmla="*/ 35 w 45"/>
                      <a:gd name="T5" fmla="*/ 29 h 29"/>
                      <a:gd name="T6" fmla="*/ 45 w 45"/>
                      <a:gd name="T7" fmla="*/ 16 h 29"/>
                      <a:gd name="T8" fmla="*/ 45 w 45"/>
                      <a:gd name="T9" fmla="*/ 6 h 29"/>
                      <a:gd name="T10" fmla="*/ 22 w 45"/>
                      <a:gd name="T11" fmla="*/ 0 h 29"/>
                      <a:gd name="T12" fmla="*/ 22 w 45"/>
                      <a:gd name="T13" fmla="*/ 0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22" y="0"/>
                        </a:moveTo>
                        <a:lnTo>
                          <a:pt x="0" y="16"/>
                        </a:lnTo>
                        <a:lnTo>
                          <a:pt x="35" y="29"/>
                        </a:lnTo>
                        <a:lnTo>
                          <a:pt x="45" y="16"/>
                        </a:lnTo>
                        <a:lnTo>
                          <a:pt x="45" y="6"/>
                        </a:lnTo>
                        <a:lnTo>
                          <a:pt x="2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08" name="Freeform 116">
                    <a:extLst>
                      <a:ext uri="{FF2B5EF4-FFF2-40B4-BE49-F238E27FC236}">
                        <a16:creationId xmlns:a16="http://schemas.microsoft.com/office/drawing/2014/main" id="{33045DA0-5B43-412C-A611-4146EB1DA2F7}"/>
                      </a:ext>
                    </a:extLst>
                  </p:cNvPr>
                  <p:cNvSpPr>
                    <a:spLocks/>
                  </p:cNvSpPr>
                  <p:nvPr/>
                </p:nvSpPr>
                <p:spPr bwMode="auto">
                  <a:xfrm>
                    <a:off x="1596788" y="2646376"/>
                    <a:ext cx="126070" cy="58945"/>
                  </a:xfrm>
                  <a:custGeom>
                    <a:avLst/>
                    <a:gdLst>
                      <a:gd name="T0" fmla="*/ 19 w 96"/>
                      <a:gd name="T1" fmla="*/ 6 h 44"/>
                      <a:gd name="T2" fmla="*/ 0 w 96"/>
                      <a:gd name="T3" fmla="*/ 22 h 44"/>
                      <a:gd name="T4" fmla="*/ 23 w 96"/>
                      <a:gd name="T5" fmla="*/ 28 h 44"/>
                      <a:gd name="T6" fmla="*/ 23 w 96"/>
                      <a:gd name="T7" fmla="*/ 38 h 44"/>
                      <a:gd name="T8" fmla="*/ 35 w 96"/>
                      <a:gd name="T9" fmla="*/ 44 h 44"/>
                      <a:gd name="T10" fmla="*/ 45 w 96"/>
                      <a:gd name="T11" fmla="*/ 32 h 44"/>
                      <a:gd name="T12" fmla="*/ 96 w 96"/>
                      <a:gd name="T13" fmla="*/ 10 h 44"/>
                      <a:gd name="T14" fmla="*/ 96 w 96"/>
                      <a:gd name="T15" fmla="*/ 0 h 44"/>
                      <a:gd name="T16" fmla="*/ 29 w 96"/>
                      <a:gd name="T17" fmla="*/ 0 h 44"/>
                      <a:gd name="T18" fmla="*/ 19 w 96"/>
                      <a:gd name="T19" fmla="*/ 6 h 44"/>
                      <a:gd name="T20" fmla="*/ 19 w 96"/>
                      <a:gd name="T21" fmla="*/ 6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6"/>
                      <a:gd name="T34" fmla="*/ 0 h 44"/>
                      <a:gd name="T35" fmla="*/ 96 w 96"/>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6" h="44">
                        <a:moveTo>
                          <a:pt x="19" y="6"/>
                        </a:moveTo>
                        <a:lnTo>
                          <a:pt x="0" y="22"/>
                        </a:lnTo>
                        <a:lnTo>
                          <a:pt x="23" y="28"/>
                        </a:lnTo>
                        <a:lnTo>
                          <a:pt x="23" y="38"/>
                        </a:lnTo>
                        <a:lnTo>
                          <a:pt x="35" y="44"/>
                        </a:lnTo>
                        <a:lnTo>
                          <a:pt x="45" y="32"/>
                        </a:lnTo>
                        <a:lnTo>
                          <a:pt x="96" y="10"/>
                        </a:lnTo>
                        <a:lnTo>
                          <a:pt x="96" y="0"/>
                        </a:lnTo>
                        <a:lnTo>
                          <a:pt x="29" y="0"/>
                        </a:lnTo>
                        <a:lnTo>
                          <a:pt x="19"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09" name="Freeform 117">
                    <a:extLst>
                      <a:ext uri="{FF2B5EF4-FFF2-40B4-BE49-F238E27FC236}">
                        <a16:creationId xmlns:a16="http://schemas.microsoft.com/office/drawing/2014/main" id="{1143D688-7FAB-45AC-AB6E-54C918954A0F}"/>
                      </a:ext>
                    </a:extLst>
                  </p:cNvPr>
                  <p:cNvSpPr>
                    <a:spLocks/>
                  </p:cNvSpPr>
                  <p:nvPr/>
                </p:nvSpPr>
                <p:spPr bwMode="auto">
                  <a:xfrm>
                    <a:off x="1626992" y="2659773"/>
                    <a:ext cx="95865" cy="97795"/>
                  </a:xfrm>
                  <a:custGeom>
                    <a:avLst/>
                    <a:gdLst>
                      <a:gd name="T0" fmla="*/ 0 w 73"/>
                      <a:gd name="T1" fmla="*/ 47 h 73"/>
                      <a:gd name="T2" fmla="*/ 28 w 73"/>
                      <a:gd name="T3" fmla="*/ 73 h 73"/>
                      <a:gd name="T4" fmla="*/ 63 w 73"/>
                      <a:gd name="T5" fmla="*/ 73 h 73"/>
                      <a:gd name="T6" fmla="*/ 73 w 73"/>
                      <a:gd name="T7" fmla="*/ 0 h 73"/>
                      <a:gd name="T8" fmla="*/ 22 w 73"/>
                      <a:gd name="T9" fmla="*/ 22 h 73"/>
                      <a:gd name="T10" fmla="*/ 0 w 73"/>
                      <a:gd name="T11" fmla="*/ 47 h 73"/>
                      <a:gd name="T12" fmla="*/ 0 w 73"/>
                      <a:gd name="T13" fmla="*/ 47 h 73"/>
                      <a:gd name="T14" fmla="*/ 0 60000 65536"/>
                      <a:gd name="T15" fmla="*/ 0 60000 65536"/>
                      <a:gd name="T16" fmla="*/ 0 60000 65536"/>
                      <a:gd name="T17" fmla="*/ 0 60000 65536"/>
                      <a:gd name="T18" fmla="*/ 0 60000 65536"/>
                      <a:gd name="T19" fmla="*/ 0 60000 65536"/>
                      <a:gd name="T20" fmla="*/ 0 60000 65536"/>
                      <a:gd name="T21" fmla="*/ 0 w 73"/>
                      <a:gd name="T22" fmla="*/ 0 h 73"/>
                      <a:gd name="T23" fmla="*/ 73 w 73"/>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73">
                        <a:moveTo>
                          <a:pt x="0" y="47"/>
                        </a:moveTo>
                        <a:lnTo>
                          <a:pt x="28" y="73"/>
                        </a:lnTo>
                        <a:lnTo>
                          <a:pt x="63" y="73"/>
                        </a:lnTo>
                        <a:lnTo>
                          <a:pt x="73" y="0"/>
                        </a:lnTo>
                        <a:lnTo>
                          <a:pt x="22" y="22"/>
                        </a:lnTo>
                        <a:lnTo>
                          <a:pt x="0" y="4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0" name="Freeform 118">
                    <a:extLst>
                      <a:ext uri="{FF2B5EF4-FFF2-40B4-BE49-F238E27FC236}">
                        <a16:creationId xmlns:a16="http://schemas.microsoft.com/office/drawing/2014/main" id="{86F7C1EC-F145-4D2F-8B07-03CED833AA7F}"/>
                      </a:ext>
                    </a:extLst>
                  </p:cNvPr>
                  <p:cNvSpPr>
                    <a:spLocks/>
                  </p:cNvSpPr>
                  <p:nvPr/>
                </p:nvSpPr>
                <p:spPr bwMode="auto">
                  <a:xfrm>
                    <a:off x="1655883" y="2757567"/>
                    <a:ext cx="82733" cy="73681"/>
                  </a:xfrm>
                  <a:custGeom>
                    <a:avLst/>
                    <a:gdLst>
                      <a:gd name="T0" fmla="*/ 41 w 63"/>
                      <a:gd name="T1" fmla="*/ 0 h 55"/>
                      <a:gd name="T2" fmla="*/ 6 w 63"/>
                      <a:gd name="T3" fmla="*/ 0 h 55"/>
                      <a:gd name="T4" fmla="*/ 0 w 63"/>
                      <a:gd name="T5" fmla="*/ 12 h 55"/>
                      <a:gd name="T6" fmla="*/ 6 w 63"/>
                      <a:gd name="T7" fmla="*/ 33 h 55"/>
                      <a:gd name="T8" fmla="*/ 29 w 63"/>
                      <a:gd name="T9" fmla="*/ 33 h 55"/>
                      <a:gd name="T10" fmla="*/ 41 w 63"/>
                      <a:gd name="T11" fmla="*/ 55 h 55"/>
                      <a:gd name="T12" fmla="*/ 63 w 63"/>
                      <a:gd name="T13" fmla="*/ 55 h 55"/>
                      <a:gd name="T14" fmla="*/ 63 w 63"/>
                      <a:gd name="T15" fmla="*/ 45 h 55"/>
                      <a:gd name="T16" fmla="*/ 45 w 63"/>
                      <a:gd name="T17" fmla="*/ 28 h 55"/>
                      <a:gd name="T18" fmla="*/ 41 w 63"/>
                      <a:gd name="T19" fmla="*/ 0 h 55"/>
                      <a:gd name="T20" fmla="*/ 41 w 63"/>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55"/>
                      <a:gd name="T35" fmla="*/ 63 w 63"/>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55">
                        <a:moveTo>
                          <a:pt x="41" y="0"/>
                        </a:moveTo>
                        <a:lnTo>
                          <a:pt x="6" y="0"/>
                        </a:lnTo>
                        <a:lnTo>
                          <a:pt x="0" y="12"/>
                        </a:lnTo>
                        <a:lnTo>
                          <a:pt x="6" y="33"/>
                        </a:lnTo>
                        <a:lnTo>
                          <a:pt x="29" y="33"/>
                        </a:lnTo>
                        <a:lnTo>
                          <a:pt x="41" y="55"/>
                        </a:lnTo>
                        <a:lnTo>
                          <a:pt x="63" y="55"/>
                        </a:lnTo>
                        <a:lnTo>
                          <a:pt x="63" y="45"/>
                        </a:lnTo>
                        <a:lnTo>
                          <a:pt x="45" y="28"/>
                        </a:lnTo>
                        <a:lnTo>
                          <a:pt x="41"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1" name="Freeform 119">
                    <a:extLst>
                      <a:ext uri="{FF2B5EF4-FFF2-40B4-BE49-F238E27FC236}">
                        <a16:creationId xmlns:a16="http://schemas.microsoft.com/office/drawing/2014/main" id="{0DF0FD3E-A4DF-4BC3-A459-0E3500C972BE}"/>
                      </a:ext>
                    </a:extLst>
                  </p:cNvPr>
                  <p:cNvSpPr>
                    <a:spLocks/>
                  </p:cNvSpPr>
                  <p:nvPr/>
                </p:nvSpPr>
                <p:spPr bwMode="auto">
                  <a:xfrm>
                    <a:off x="1738615" y="2795077"/>
                    <a:ext cx="123443" cy="73681"/>
                  </a:xfrm>
                  <a:custGeom>
                    <a:avLst/>
                    <a:gdLst>
                      <a:gd name="T0" fmla="*/ 43 w 94"/>
                      <a:gd name="T1" fmla="*/ 0 h 55"/>
                      <a:gd name="T2" fmla="*/ 20 w 94"/>
                      <a:gd name="T3" fmla="*/ 17 h 55"/>
                      <a:gd name="T4" fmla="*/ 0 w 94"/>
                      <a:gd name="T5" fmla="*/ 17 h 55"/>
                      <a:gd name="T6" fmla="*/ 0 w 94"/>
                      <a:gd name="T7" fmla="*/ 27 h 55"/>
                      <a:gd name="T8" fmla="*/ 33 w 94"/>
                      <a:gd name="T9" fmla="*/ 45 h 55"/>
                      <a:gd name="T10" fmla="*/ 33 w 94"/>
                      <a:gd name="T11" fmla="*/ 27 h 55"/>
                      <a:gd name="T12" fmla="*/ 55 w 94"/>
                      <a:gd name="T13" fmla="*/ 17 h 55"/>
                      <a:gd name="T14" fmla="*/ 71 w 94"/>
                      <a:gd name="T15" fmla="*/ 33 h 55"/>
                      <a:gd name="T16" fmla="*/ 65 w 94"/>
                      <a:gd name="T17" fmla="*/ 49 h 55"/>
                      <a:gd name="T18" fmla="*/ 83 w 94"/>
                      <a:gd name="T19" fmla="*/ 55 h 55"/>
                      <a:gd name="T20" fmla="*/ 94 w 94"/>
                      <a:gd name="T21" fmla="*/ 27 h 55"/>
                      <a:gd name="T22" fmla="*/ 65 w 94"/>
                      <a:gd name="T23" fmla="*/ 5 h 55"/>
                      <a:gd name="T24" fmla="*/ 43 w 94"/>
                      <a:gd name="T25" fmla="*/ 0 h 55"/>
                      <a:gd name="T26" fmla="*/ 43 w 94"/>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55"/>
                      <a:gd name="T44" fmla="*/ 94 w 94"/>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55">
                        <a:moveTo>
                          <a:pt x="43" y="0"/>
                        </a:moveTo>
                        <a:lnTo>
                          <a:pt x="20" y="17"/>
                        </a:lnTo>
                        <a:lnTo>
                          <a:pt x="0" y="17"/>
                        </a:lnTo>
                        <a:lnTo>
                          <a:pt x="0" y="27"/>
                        </a:lnTo>
                        <a:lnTo>
                          <a:pt x="33" y="45"/>
                        </a:lnTo>
                        <a:lnTo>
                          <a:pt x="33" y="27"/>
                        </a:lnTo>
                        <a:lnTo>
                          <a:pt x="55" y="17"/>
                        </a:lnTo>
                        <a:lnTo>
                          <a:pt x="71" y="33"/>
                        </a:lnTo>
                        <a:lnTo>
                          <a:pt x="65" y="49"/>
                        </a:lnTo>
                        <a:lnTo>
                          <a:pt x="83" y="55"/>
                        </a:lnTo>
                        <a:lnTo>
                          <a:pt x="94" y="27"/>
                        </a:lnTo>
                        <a:lnTo>
                          <a:pt x="65" y="5"/>
                        </a:lnTo>
                        <a:lnTo>
                          <a:pt x="4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2" name="Freeform 120">
                    <a:extLst>
                      <a:ext uri="{FF2B5EF4-FFF2-40B4-BE49-F238E27FC236}">
                        <a16:creationId xmlns:a16="http://schemas.microsoft.com/office/drawing/2014/main" id="{45B049CF-5766-4F74-9D84-6772A065650D}"/>
                      </a:ext>
                    </a:extLst>
                  </p:cNvPr>
                  <p:cNvSpPr>
                    <a:spLocks/>
                  </p:cNvSpPr>
                  <p:nvPr/>
                </p:nvSpPr>
                <p:spPr bwMode="auto">
                  <a:xfrm>
                    <a:off x="1810843" y="2728095"/>
                    <a:ext cx="277090" cy="417972"/>
                  </a:xfrm>
                  <a:custGeom>
                    <a:avLst/>
                    <a:gdLst>
                      <a:gd name="T0" fmla="*/ 89 w 211"/>
                      <a:gd name="T1" fmla="*/ 22 h 312"/>
                      <a:gd name="T2" fmla="*/ 67 w 211"/>
                      <a:gd name="T3" fmla="*/ 22 h 312"/>
                      <a:gd name="T4" fmla="*/ 61 w 211"/>
                      <a:gd name="T5" fmla="*/ 55 h 312"/>
                      <a:gd name="T6" fmla="*/ 39 w 211"/>
                      <a:gd name="T7" fmla="*/ 77 h 312"/>
                      <a:gd name="T8" fmla="*/ 28 w 211"/>
                      <a:gd name="T9" fmla="*/ 105 h 312"/>
                      <a:gd name="T10" fmla="*/ 32 w 211"/>
                      <a:gd name="T11" fmla="*/ 122 h 312"/>
                      <a:gd name="T12" fmla="*/ 28 w 211"/>
                      <a:gd name="T13" fmla="*/ 166 h 312"/>
                      <a:gd name="T14" fmla="*/ 6 w 211"/>
                      <a:gd name="T15" fmla="*/ 189 h 312"/>
                      <a:gd name="T16" fmla="*/ 0 w 211"/>
                      <a:gd name="T17" fmla="*/ 201 h 312"/>
                      <a:gd name="T18" fmla="*/ 45 w 211"/>
                      <a:gd name="T19" fmla="*/ 229 h 312"/>
                      <a:gd name="T20" fmla="*/ 71 w 211"/>
                      <a:gd name="T21" fmla="*/ 233 h 312"/>
                      <a:gd name="T22" fmla="*/ 116 w 211"/>
                      <a:gd name="T23" fmla="*/ 278 h 312"/>
                      <a:gd name="T24" fmla="*/ 150 w 211"/>
                      <a:gd name="T25" fmla="*/ 274 h 312"/>
                      <a:gd name="T26" fmla="*/ 150 w 211"/>
                      <a:gd name="T27" fmla="*/ 306 h 312"/>
                      <a:gd name="T28" fmla="*/ 166 w 211"/>
                      <a:gd name="T29" fmla="*/ 312 h 312"/>
                      <a:gd name="T30" fmla="*/ 173 w 211"/>
                      <a:gd name="T31" fmla="*/ 251 h 312"/>
                      <a:gd name="T32" fmla="*/ 154 w 211"/>
                      <a:gd name="T33" fmla="*/ 229 h 312"/>
                      <a:gd name="T34" fmla="*/ 177 w 211"/>
                      <a:gd name="T35" fmla="*/ 217 h 312"/>
                      <a:gd name="T36" fmla="*/ 173 w 211"/>
                      <a:gd name="T37" fmla="*/ 207 h 312"/>
                      <a:gd name="T38" fmla="*/ 211 w 211"/>
                      <a:gd name="T39" fmla="*/ 195 h 312"/>
                      <a:gd name="T40" fmla="*/ 211 w 211"/>
                      <a:gd name="T41" fmla="*/ 166 h 312"/>
                      <a:gd name="T42" fmla="*/ 205 w 211"/>
                      <a:gd name="T43" fmla="*/ 134 h 312"/>
                      <a:gd name="T44" fmla="*/ 211 w 211"/>
                      <a:gd name="T45" fmla="*/ 111 h 312"/>
                      <a:gd name="T46" fmla="*/ 173 w 211"/>
                      <a:gd name="T47" fmla="*/ 117 h 312"/>
                      <a:gd name="T48" fmla="*/ 160 w 211"/>
                      <a:gd name="T49" fmla="*/ 99 h 312"/>
                      <a:gd name="T50" fmla="*/ 116 w 211"/>
                      <a:gd name="T51" fmla="*/ 73 h 312"/>
                      <a:gd name="T52" fmla="*/ 116 w 211"/>
                      <a:gd name="T53" fmla="*/ 34 h 312"/>
                      <a:gd name="T54" fmla="*/ 144 w 211"/>
                      <a:gd name="T55" fmla="*/ 6 h 312"/>
                      <a:gd name="T56" fmla="*/ 134 w 211"/>
                      <a:gd name="T57" fmla="*/ 0 h 312"/>
                      <a:gd name="T58" fmla="*/ 89 w 211"/>
                      <a:gd name="T59" fmla="*/ 22 h 312"/>
                      <a:gd name="T60" fmla="*/ 89 w 211"/>
                      <a:gd name="T61" fmla="*/ 22 h 3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1"/>
                      <a:gd name="T94" fmla="*/ 0 h 312"/>
                      <a:gd name="T95" fmla="*/ 211 w 211"/>
                      <a:gd name="T96" fmla="*/ 312 h 3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1" h="312">
                        <a:moveTo>
                          <a:pt x="89" y="22"/>
                        </a:moveTo>
                        <a:lnTo>
                          <a:pt x="67" y="22"/>
                        </a:lnTo>
                        <a:lnTo>
                          <a:pt x="61" y="55"/>
                        </a:lnTo>
                        <a:lnTo>
                          <a:pt x="39" y="77"/>
                        </a:lnTo>
                        <a:lnTo>
                          <a:pt x="28" y="105"/>
                        </a:lnTo>
                        <a:lnTo>
                          <a:pt x="32" y="122"/>
                        </a:lnTo>
                        <a:lnTo>
                          <a:pt x="28" y="166"/>
                        </a:lnTo>
                        <a:lnTo>
                          <a:pt x="6" y="189"/>
                        </a:lnTo>
                        <a:lnTo>
                          <a:pt x="0" y="201"/>
                        </a:lnTo>
                        <a:lnTo>
                          <a:pt x="45" y="229"/>
                        </a:lnTo>
                        <a:lnTo>
                          <a:pt x="71" y="233"/>
                        </a:lnTo>
                        <a:lnTo>
                          <a:pt x="116" y="278"/>
                        </a:lnTo>
                        <a:lnTo>
                          <a:pt x="150" y="274"/>
                        </a:lnTo>
                        <a:lnTo>
                          <a:pt x="150" y="306"/>
                        </a:lnTo>
                        <a:lnTo>
                          <a:pt x="166" y="312"/>
                        </a:lnTo>
                        <a:lnTo>
                          <a:pt x="173" y="251"/>
                        </a:lnTo>
                        <a:lnTo>
                          <a:pt x="154" y="229"/>
                        </a:lnTo>
                        <a:lnTo>
                          <a:pt x="177" y="217"/>
                        </a:lnTo>
                        <a:lnTo>
                          <a:pt x="173" y="207"/>
                        </a:lnTo>
                        <a:lnTo>
                          <a:pt x="211" y="195"/>
                        </a:lnTo>
                        <a:lnTo>
                          <a:pt x="211" y="166"/>
                        </a:lnTo>
                        <a:lnTo>
                          <a:pt x="205" y="134"/>
                        </a:lnTo>
                        <a:lnTo>
                          <a:pt x="211" y="111"/>
                        </a:lnTo>
                        <a:lnTo>
                          <a:pt x="173" y="117"/>
                        </a:lnTo>
                        <a:lnTo>
                          <a:pt x="160" y="99"/>
                        </a:lnTo>
                        <a:lnTo>
                          <a:pt x="116" y="73"/>
                        </a:lnTo>
                        <a:lnTo>
                          <a:pt x="116" y="34"/>
                        </a:lnTo>
                        <a:lnTo>
                          <a:pt x="144" y="6"/>
                        </a:lnTo>
                        <a:lnTo>
                          <a:pt x="134" y="0"/>
                        </a:lnTo>
                        <a:lnTo>
                          <a:pt x="89"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3" name="Freeform 122">
                    <a:extLst>
                      <a:ext uri="{FF2B5EF4-FFF2-40B4-BE49-F238E27FC236}">
                        <a16:creationId xmlns:a16="http://schemas.microsoft.com/office/drawing/2014/main" id="{7168006D-2A1E-4C1F-B4C4-24ADAD920839}"/>
                      </a:ext>
                    </a:extLst>
                  </p:cNvPr>
                  <p:cNvSpPr>
                    <a:spLocks/>
                  </p:cNvSpPr>
                  <p:nvPr/>
                </p:nvSpPr>
                <p:spPr bwMode="auto">
                  <a:xfrm>
                    <a:off x="1709725" y="2445427"/>
                    <a:ext cx="231127" cy="89757"/>
                  </a:xfrm>
                  <a:custGeom>
                    <a:avLst/>
                    <a:gdLst>
                      <a:gd name="T0" fmla="*/ 170 w 176"/>
                      <a:gd name="T1" fmla="*/ 67 h 67"/>
                      <a:gd name="T2" fmla="*/ 176 w 176"/>
                      <a:gd name="T3" fmla="*/ 54 h 67"/>
                      <a:gd name="T4" fmla="*/ 109 w 176"/>
                      <a:gd name="T5" fmla="*/ 22 h 67"/>
                      <a:gd name="T6" fmla="*/ 93 w 176"/>
                      <a:gd name="T7" fmla="*/ 22 h 67"/>
                      <a:gd name="T8" fmla="*/ 87 w 176"/>
                      <a:gd name="T9" fmla="*/ 10 h 67"/>
                      <a:gd name="T10" fmla="*/ 38 w 176"/>
                      <a:gd name="T11" fmla="*/ 0 h 67"/>
                      <a:gd name="T12" fmla="*/ 16 w 176"/>
                      <a:gd name="T13" fmla="*/ 10 h 67"/>
                      <a:gd name="T14" fmla="*/ 0 w 176"/>
                      <a:gd name="T15" fmla="*/ 26 h 67"/>
                      <a:gd name="T16" fmla="*/ 10 w 176"/>
                      <a:gd name="T17" fmla="*/ 26 h 67"/>
                      <a:gd name="T18" fmla="*/ 38 w 176"/>
                      <a:gd name="T19" fmla="*/ 22 h 67"/>
                      <a:gd name="T20" fmla="*/ 55 w 176"/>
                      <a:gd name="T21" fmla="*/ 16 h 67"/>
                      <a:gd name="T22" fmla="*/ 59 w 176"/>
                      <a:gd name="T23" fmla="*/ 26 h 67"/>
                      <a:gd name="T24" fmla="*/ 83 w 176"/>
                      <a:gd name="T25" fmla="*/ 26 h 67"/>
                      <a:gd name="T26" fmla="*/ 132 w 176"/>
                      <a:gd name="T27" fmla="*/ 54 h 67"/>
                      <a:gd name="T28" fmla="*/ 126 w 176"/>
                      <a:gd name="T29" fmla="*/ 67 h 67"/>
                      <a:gd name="T30" fmla="*/ 170 w 176"/>
                      <a:gd name="T31" fmla="*/ 67 h 67"/>
                      <a:gd name="T32" fmla="*/ 170 w 176"/>
                      <a:gd name="T33" fmla="*/ 6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6"/>
                      <a:gd name="T52" fmla="*/ 0 h 67"/>
                      <a:gd name="T53" fmla="*/ 176 w 176"/>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6" h="67">
                        <a:moveTo>
                          <a:pt x="170" y="67"/>
                        </a:moveTo>
                        <a:lnTo>
                          <a:pt x="176" y="54"/>
                        </a:lnTo>
                        <a:lnTo>
                          <a:pt x="109" y="22"/>
                        </a:lnTo>
                        <a:lnTo>
                          <a:pt x="93" y="22"/>
                        </a:lnTo>
                        <a:lnTo>
                          <a:pt x="87" y="10"/>
                        </a:lnTo>
                        <a:lnTo>
                          <a:pt x="38" y="0"/>
                        </a:lnTo>
                        <a:lnTo>
                          <a:pt x="16" y="10"/>
                        </a:lnTo>
                        <a:lnTo>
                          <a:pt x="0" y="26"/>
                        </a:lnTo>
                        <a:lnTo>
                          <a:pt x="10" y="26"/>
                        </a:lnTo>
                        <a:lnTo>
                          <a:pt x="38" y="22"/>
                        </a:lnTo>
                        <a:lnTo>
                          <a:pt x="55" y="16"/>
                        </a:lnTo>
                        <a:lnTo>
                          <a:pt x="59" y="26"/>
                        </a:lnTo>
                        <a:lnTo>
                          <a:pt x="83" y="26"/>
                        </a:lnTo>
                        <a:lnTo>
                          <a:pt x="132" y="54"/>
                        </a:lnTo>
                        <a:lnTo>
                          <a:pt x="126" y="67"/>
                        </a:lnTo>
                        <a:lnTo>
                          <a:pt x="170" y="6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4" name="Freeform 123">
                    <a:extLst>
                      <a:ext uri="{FF2B5EF4-FFF2-40B4-BE49-F238E27FC236}">
                        <a16:creationId xmlns:a16="http://schemas.microsoft.com/office/drawing/2014/main" id="{6C2DEEE0-D713-499A-9F47-71A1296F76F8}"/>
                      </a:ext>
                    </a:extLst>
                  </p:cNvPr>
                  <p:cNvSpPr>
                    <a:spLocks/>
                  </p:cNvSpPr>
                  <p:nvPr/>
                </p:nvSpPr>
                <p:spPr bwMode="auto">
                  <a:xfrm>
                    <a:off x="1743868" y="2480258"/>
                    <a:ext cx="21012" cy="24114"/>
                  </a:xfrm>
                  <a:custGeom>
                    <a:avLst/>
                    <a:gdLst>
                      <a:gd name="T0" fmla="*/ 0 w 16"/>
                      <a:gd name="T1" fmla="*/ 6 h 18"/>
                      <a:gd name="T2" fmla="*/ 6 w 16"/>
                      <a:gd name="T3" fmla="*/ 18 h 18"/>
                      <a:gd name="T4" fmla="*/ 16 w 16"/>
                      <a:gd name="T5" fmla="*/ 12 h 18"/>
                      <a:gd name="T6" fmla="*/ 16 w 16"/>
                      <a:gd name="T7" fmla="*/ 0 h 18"/>
                      <a:gd name="T8" fmla="*/ 0 w 16"/>
                      <a:gd name="T9" fmla="*/ 6 h 18"/>
                      <a:gd name="T10" fmla="*/ 0 w 16"/>
                      <a:gd name="T11" fmla="*/ 6 h 18"/>
                      <a:gd name="T12" fmla="*/ 0 60000 65536"/>
                      <a:gd name="T13" fmla="*/ 0 60000 65536"/>
                      <a:gd name="T14" fmla="*/ 0 60000 65536"/>
                      <a:gd name="T15" fmla="*/ 0 60000 65536"/>
                      <a:gd name="T16" fmla="*/ 0 60000 65536"/>
                      <a:gd name="T17" fmla="*/ 0 60000 65536"/>
                      <a:gd name="T18" fmla="*/ 0 w 16"/>
                      <a:gd name="T19" fmla="*/ 0 h 18"/>
                      <a:gd name="T20" fmla="*/ 16 w 16"/>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6" h="18">
                        <a:moveTo>
                          <a:pt x="0" y="6"/>
                        </a:moveTo>
                        <a:lnTo>
                          <a:pt x="6" y="18"/>
                        </a:lnTo>
                        <a:lnTo>
                          <a:pt x="16" y="12"/>
                        </a:lnTo>
                        <a:lnTo>
                          <a:pt x="16"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5" name="Freeform 124">
                    <a:extLst>
                      <a:ext uri="{FF2B5EF4-FFF2-40B4-BE49-F238E27FC236}">
                        <a16:creationId xmlns:a16="http://schemas.microsoft.com/office/drawing/2014/main" id="{375DCB81-F45A-4C23-8EAE-0CFA19713989}"/>
                      </a:ext>
                    </a:extLst>
                  </p:cNvPr>
                  <p:cNvSpPr>
                    <a:spLocks/>
                  </p:cNvSpPr>
                  <p:nvPr/>
                </p:nvSpPr>
                <p:spPr bwMode="auto">
                  <a:xfrm>
                    <a:off x="1940852" y="2535185"/>
                    <a:ext cx="66974" cy="42869"/>
                  </a:xfrm>
                  <a:custGeom>
                    <a:avLst/>
                    <a:gdLst>
                      <a:gd name="T0" fmla="*/ 13 w 51"/>
                      <a:gd name="T1" fmla="*/ 0 h 32"/>
                      <a:gd name="T2" fmla="*/ 29 w 51"/>
                      <a:gd name="T3" fmla="*/ 10 h 32"/>
                      <a:gd name="T4" fmla="*/ 29 w 51"/>
                      <a:gd name="T5" fmla="*/ 22 h 32"/>
                      <a:gd name="T6" fmla="*/ 0 w 51"/>
                      <a:gd name="T7" fmla="*/ 22 h 32"/>
                      <a:gd name="T8" fmla="*/ 0 w 51"/>
                      <a:gd name="T9" fmla="*/ 32 h 32"/>
                      <a:gd name="T10" fmla="*/ 39 w 51"/>
                      <a:gd name="T11" fmla="*/ 32 h 32"/>
                      <a:gd name="T12" fmla="*/ 51 w 51"/>
                      <a:gd name="T13" fmla="*/ 22 h 32"/>
                      <a:gd name="T14" fmla="*/ 45 w 51"/>
                      <a:gd name="T15" fmla="*/ 0 h 32"/>
                      <a:gd name="T16" fmla="*/ 13 w 51"/>
                      <a:gd name="T17" fmla="*/ 0 h 32"/>
                      <a:gd name="T18" fmla="*/ 13 w 51"/>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32"/>
                      <a:gd name="T32" fmla="*/ 51 w 51"/>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32">
                        <a:moveTo>
                          <a:pt x="13" y="0"/>
                        </a:moveTo>
                        <a:lnTo>
                          <a:pt x="29" y="10"/>
                        </a:lnTo>
                        <a:lnTo>
                          <a:pt x="29" y="22"/>
                        </a:lnTo>
                        <a:lnTo>
                          <a:pt x="0" y="22"/>
                        </a:lnTo>
                        <a:lnTo>
                          <a:pt x="0" y="32"/>
                        </a:lnTo>
                        <a:lnTo>
                          <a:pt x="39" y="32"/>
                        </a:lnTo>
                        <a:lnTo>
                          <a:pt x="51" y="22"/>
                        </a:lnTo>
                        <a:lnTo>
                          <a:pt x="45" y="0"/>
                        </a:lnTo>
                        <a:lnTo>
                          <a:pt x="1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6" name="Freeform 125">
                    <a:extLst>
                      <a:ext uri="{FF2B5EF4-FFF2-40B4-BE49-F238E27FC236}">
                        <a16:creationId xmlns:a16="http://schemas.microsoft.com/office/drawing/2014/main" id="{36F3F4F1-C834-4F29-B3D0-EE41C64EF4C6}"/>
                      </a:ext>
                    </a:extLst>
                  </p:cNvPr>
                  <p:cNvSpPr>
                    <a:spLocks/>
                  </p:cNvSpPr>
                  <p:nvPr/>
                </p:nvSpPr>
                <p:spPr bwMode="auto">
                  <a:xfrm>
                    <a:off x="1759627" y="2997365"/>
                    <a:ext cx="144455" cy="156740"/>
                  </a:xfrm>
                  <a:custGeom>
                    <a:avLst/>
                    <a:gdLst>
                      <a:gd name="T0" fmla="*/ 21 w 110"/>
                      <a:gd name="T1" fmla="*/ 111 h 117"/>
                      <a:gd name="T2" fmla="*/ 45 w 110"/>
                      <a:gd name="T3" fmla="*/ 117 h 117"/>
                      <a:gd name="T4" fmla="*/ 55 w 110"/>
                      <a:gd name="T5" fmla="*/ 95 h 117"/>
                      <a:gd name="T6" fmla="*/ 106 w 110"/>
                      <a:gd name="T7" fmla="*/ 61 h 117"/>
                      <a:gd name="T8" fmla="*/ 110 w 110"/>
                      <a:gd name="T9" fmla="*/ 32 h 117"/>
                      <a:gd name="T10" fmla="*/ 84 w 110"/>
                      <a:gd name="T11" fmla="*/ 28 h 117"/>
                      <a:gd name="T12" fmla="*/ 39 w 110"/>
                      <a:gd name="T13" fmla="*/ 0 h 117"/>
                      <a:gd name="T14" fmla="*/ 0 w 110"/>
                      <a:gd name="T15" fmla="*/ 55 h 117"/>
                      <a:gd name="T16" fmla="*/ 0 w 110"/>
                      <a:gd name="T17" fmla="*/ 77 h 117"/>
                      <a:gd name="T18" fmla="*/ 17 w 110"/>
                      <a:gd name="T19" fmla="*/ 77 h 117"/>
                      <a:gd name="T20" fmla="*/ 17 w 110"/>
                      <a:gd name="T21" fmla="*/ 95 h 117"/>
                      <a:gd name="T22" fmla="*/ 21 w 110"/>
                      <a:gd name="T23" fmla="*/ 111 h 117"/>
                      <a:gd name="T24" fmla="*/ 21 w 110"/>
                      <a:gd name="T25" fmla="*/ 111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0"/>
                      <a:gd name="T40" fmla="*/ 0 h 117"/>
                      <a:gd name="T41" fmla="*/ 110 w 110"/>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0" h="117">
                        <a:moveTo>
                          <a:pt x="21" y="111"/>
                        </a:moveTo>
                        <a:lnTo>
                          <a:pt x="45" y="117"/>
                        </a:lnTo>
                        <a:lnTo>
                          <a:pt x="55" y="95"/>
                        </a:lnTo>
                        <a:lnTo>
                          <a:pt x="106" y="61"/>
                        </a:lnTo>
                        <a:lnTo>
                          <a:pt x="110" y="32"/>
                        </a:lnTo>
                        <a:lnTo>
                          <a:pt x="84" y="28"/>
                        </a:lnTo>
                        <a:lnTo>
                          <a:pt x="39" y="0"/>
                        </a:lnTo>
                        <a:lnTo>
                          <a:pt x="0" y="55"/>
                        </a:lnTo>
                        <a:lnTo>
                          <a:pt x="0" y="77"/>
                        </a:lnTo>
                        <a:lnTo>
                          <a:pt x="17" y="77"/>
                        </a:lnTo>
                        <a:lnTo>
                          <a:pt x="17" y="95"/>
                        </a:lnTo>
                        <a:lnTo>
                          <a:pt x="21" y="11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7" name="Freeform 126">
                    <a:extLst>
                      <a:ext uri="{FF2B5EF4-FFF2-40B4-BE49-F238E27FC236}">
                        <a16:creationId xmlns:a16="http://schemas.microsoft.com/office/drawing/2014/main" id="{BE781977-B710-44DA-B3E6-5B65D056C715}"/>
                      </a:ext>
                    </a:extLst>
                  </p:cNvPr>
                  <p:cNvSpPr>
                    <a:spLocks/>
                  </p:cNvSpPr>
                  <p:nvPr/>
                </p:nvSpPr>
                <p:spPr bwMode="auto">
                  <a:xfrm>
                    <a:off x="1759627" y="3040234"/>
                    <a:ext cx="312547" cy="470219"/>
                  </a:xfrm>
                  <a:custGeom>
                    <a:avLst/>
                    <a:gdLst>
                      <a:gd name="T0" fmla="*/ 189 w 238"/>
                      <a:gd name="T1" fmla="*/ 41 h 351"/>
                      <a:gd name="T2" fmla="*/ 155 w 238"/>
                      <a:gd name="T3" fmla="*/ 45 h 351"/>
                      <a:gd name="T4" fmla="*/ 110 w 238"/>
                      <a:gd name="T5" fmla="*/ 0 h 351"/>
                      <a:gd name="T6" fmla="*/ 106 w 238"/>
                      <a:gd name="T7" fmla="*/ 29 h 351"/>
                      <a:gd name="T8" fmla="*/ 55 w 238"/>
                      <a:gd name="T9" fmla="*/ 63 h 351"/>
                      <a:gd name="T10" fmla="*/ 45 w 238"/>
                      <a:gd name="T11" fmla="*/ 85 h 351"/>
                      <a:gd name="T12" fmla="*/ 21 w 238"/>
                      <a:gd name="T13" fmla="*/ 79 h 351"/>
                      <a:gd name="T14" fmla="*/ 17 w 238"/>
                      <a:gd name="T15" fmla="*/ 63 h 351"/>
                      <a:gd name="T16" fmla="*/ 0 w 238"/>
                      <a:gd name="T17" fmla="*/ 79 h 351"/>
                      <a:gd name="T18" fmla="*/ 0 w 238"/>
                      <a:gd name="T19" fmla="*/ 112 h 351"/>
                      <a:gd name="T20" fmla="*/ 27 w 238"/>
                      <a:gd name="T21" fmla="*/ 130 h 351"/>
                      <a:gd name="T22" fmla="*/ 71 w 238"/>
                      <a:gd name="T23" fmla="*/ 230 h 351"/>
                      <a:gd name="T24" fmla="*/ 94 w 238"/>
                      <a:gd name="T25" fmla="*/ 246 h 351"/>
                      <a:gd name="T26" fmla="*/ 94 w 238"/>
                      <a:gd name="T27" fmla="*/ 274 h 351"/>
                      <a:gd name="T28" fmla="*/ 183 w 238"/>
                      <a:gd name="T29" fmla="*/ 331 h 351"/>
                      <a:gd name="T30" fmla="*/ 205 w 238"/>
                      <a:gd name="T31" fmla="*/ 351 h 351"/>
                      <a:gd name="T32" fmla="*/ 228 w 238"/>
                      <a:gd name="T33" fmla="*/ 341 h 351"/>
                      <a:gd name="T34" fmla="*/ 238 w 238"/>
                      <a:gd name="T35" fmla="*/ 319 h 351"/>
                      <a:gd name="T36" fmla="*/ 228 w 238"/>
                      <a:gd name="T37" fmla="*/ 297 h 351"/>
                      <a:gd name="T38" fmla="*/ 234 w 238"/>
                      <a:gd name="T39" fmla="*/ 274 h 351"/>
                      <a:gd name="T40" fmla="*/ 228 w 238"/>
                      <a:gd name="T41" fmla="*/ 246 h 351"/>
                      <a:gd name="T42" fmla="*/ 234 w 238"/>
                      <a:gd name="T43" fmla="*/ 213 h 351"/>
                      <a:gd name="T44" fmla="*/ 199 w 238"/>
                      <a:gd name="T45" fmla="*/ 213 h 351"/>
                      <a:gd name="T46" fmla="*/ 193 w 238"/>
                      <a:gd name="T47" fmla="*/ 185 h 351"/>
                      <a:gd name="T48" fmla="*/ 167 w 238"/>
                      <a:gd name="T49" fmla="*/ 191 h 351"/>
                      <a:gd name="T50" fmla="*/ 138 w 238"/>
                      <a:gd name="T51" fmla="*/ 134 h 351"/>
                      <a:gd name="T52" fmla="*/ 161 w 238"/>
                      <a:gd name="T53" fmla="*/ 90 h 351"/>
                      <a:gd name="T54" fmla="*/ 189 w 238"/>
                      <a:gd name="T55" fmla="*/ 73 h 351"/>
                      <a:gd name="T56" fmla="*/ 189 w 238"/>
                      <a:gd name="T57" fmla="*/ 41 h 351"/>
                      <a:gd name="T58" fmla="*/ 189 w 238"/>
                      <a:gd name="T59" fmla="*/ 41 h 35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8"/>
                      <a:gd name="T91" fmla="*/ 0 h 351"/>
                      <a:gd name="T92" fmla="*/ 238 w 238"/>
                      <a:gd name="T93" fmla="*/ 351 h 35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8" h="351">
                        <a:moveTo>
                          <a:pt x="189" y="41"/>
                        </a:moveTo>
                        <a:lnTo>
                          <a:pt x="155" y="45"/>
                        </a:lnTo>
                        <a:lnTo>
                          <a:pt x="110" y="0"/>
                        </a:lnTo>
                        <a:lnTo>
                          <a:pt x="106" y="29"/>
                        </a:lnTo>
                        <a:lnTo>
                          <a:pt x="55" y="63"/>
                        </a:lnTo>
                        <a:lnTo>
                          <a:pt x="45" y="85"/>
                        </a:lnTo>
                        <a:lnTo>
                          <a:pt x="21" y="79"/>
                        </a:lnTo>
                        <a:lnTo>
                          <a:pt x="17" y="63"/>
                        </a:lnTo>
                        <a:lnTo>
                          <a:pt x="0" y="79"/>
                        </a:lnTo>
                        <a:lnTo>
                          <a:pt x="0" y="112"/>
                        </a:lnTo>
                        <a:lnTo>
                          <a:pt x="27" y="130"/>
                        </a:lnTo>
                        <a:lnTo>
                          <a:pt x="71" y="230"/>
                        </a:lnTo>
                        <a:lnTo>
                          <a:pt x="94" y="246"/>
                        </a:lnTo>
                        <a:lnTo>
                          <a:pt x="94" y="274"/>
                        </a:lnTo>
                        <a:lnTo>
                          <a:pt x="183" y="331"/>
                        </a:lnTo>
                        <a:lnTo>
                          <a:pt x="205" y="351"/>
                        </a:lnTo>
                        <a:lnTo>
                          <a:pt x="228" y="341"/>
                        </a:lnTo>
                        <a:lnTo>
                          <a:pt x="238" y="319"/>
                        </a:lnTo>
                        <a:lnTo>
                          <a:pt x="228" y="297"/>
                        </a:lnTo>
                        <a:lnTo>
                          <a:pt x="234" y="274"/>
                        </a:lnTo>
                        <a:lnTo>
                          <a:pt x="228" y="246"/>
                        </a:lnTo>
                        <a:lnTo>
                          <a:pt x="234" y="213"/>
                        </a:lnTo>
                        <a:lnTo>
                          <a:pt x="199" y="213"/>
                        </a:lnTo>
                        <a:lnTo>
                          <a:pt x="193" y="185"/>
                        </a:lnTo>
                        <a:lnTo>
                          <a:pt x="167" y="191"/>
                        </a:lnTo>
                        <a:lnTo>
                          <a:pt x="138" y="134"/>
                        </a:lnTo>
                        <a:lnTo>
                          <a:pt x="161" y="90"/>
                        </a:lnTo>
                        <a:lnTo>
                          <a:pt x="189" y="73"/>
                        </a:lnTo>
                        <a:lnTo>
                          <a:pt x="189" y="4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8" name="Freeform 127">
                    <a:extLst>
                      <a:ext uri="{FF2B5EF4-FFF2-40B4-BE49-F238E27FC236}">
                        <a16:creationId xmlns:a16="http://schemas.microsoft.com/office/drawing/2014/main" id="{9907E64C-C256-4AA9-83CB-2CE039B91F04}"/>
                      </a:ext>
                    </a:extLst>
                  </p:cNvPr>
                  <p:cNvSpPr>
                    <a:spLocks/>
                  </p:cNvSpPr>
                  <p:nvPr/>
                </p:nvSpPr>
                <p:spPr bwMode="auto">
                  <a:xfrm>
                    <a:off x="2059042" y="3288070"/>
                    <a:ext cx="284969" cy="342952"/>
                  </a:xfrm>
                  <a:custGeom>
                    <a:avLst/>
                    <a:gdLst>
                      <a:gd name="T0" fmla="*/ 0 w 217"/>
                      <a:gd name="T1" fmla="*/ 61 h 256"/>
                      <a:gd name="T2" fmla="*/ 6 w 217"/>
                      <a:gd name="T3" fmla="*/ 89 h 256"/>
                      <a:gd name="T4" fmla="*/ 0 w 217"/>
                      <a:gd name="T5" fmla="*/ 112 h 256"/>
                      <a:gd name="T6" fmla="*/ 10 w 217"/>
                      <a:gd name="T7" fmla="*/ 134 h 256"/>
                      <a:gd name="T8" fmla="*/ 0 w 217"/>
                      <a:gd name="T9" fmla="*/ 156 h 256"/>
                      <a:gd name="T10" fmla="*/ 49 w 217"/>
                      <a:gd name="T11" fmla="*/ 256 h 256"/>
                      <a:gd name="T12" fmla="*/ 89 w 217"/>
                      <a:gd name="T13" fmla="*/ 240 h 256"/>
                      <a:gd name="T14" fmla="*/ 105 w 217"/>
                      <a:gd name="T15" fmla="*/ 252 h 256"/>
                      <a:gd name="T16" fmla="*/ 112 w 217"/>
                      <a:gd name="T17" fmla="*/ 233 h 256"/>
                      <a:gd name="T18" fmla="*/ 134 w 217"/>
                      <a:gd name="T19" fmla="*/ 233 h 256"/>
                      <a:gd name="T20" fmla="*/ 138 w 217"/>
                      <a:gd name="T21" fmla="*/ 195 h 256"/>
                      <a:gd name="T22" fmla="*/ 179 w 217"/>
                      <a:gd name="T23" fmla="*/ 185 h 256"/>
                      <a:gd name="T24" fmla="*/ 205 w 217"/>
                      <a:gd name="T25" fmla="*/ 189 h 256"/>
                      <a:gd name="T26" fmla="*/ 217 w 217"/>
                      <a:gd name="T27" fmla="*/ 166 h 256"/>
                      <a:gd name="T28" fmla="*/ 195 w 217"/>
                      <a:gd name="T29" fmla="*/ 122 h 256"/>
                      <a:gd name="T30" fmla="*/ 166 w 217"/>
                      <a:gd name="T31" fmla="*/ 118 h 256"/>
                      <a:gd name="T32" fmla="*/ 150 w 217"/>
                      <a:gd name="T33" fmla="*/ 73 h 256"/>
                      <a:gd name="T34" fmla="*/ 77 w 217"/>
                      <a:gd name="T35" fmla="*/ 45 h 256"/>
                      <a:gd name="T36" fmla="*/ 49 w 217"/>
                      <a:gd name="T37" fmla="*/ 0 h 256"/>
                      <a:gd name="T38" fmla="*/ 6 w 217"/>
                      <a:gd name="T39" fmla="*/ 28 h 256"/>
                      <a:gd name="T40" fmla="*/ 0 w 217"/>
                      <a:gd name="T41" fmla="*/ 61 h 256"/>
                      <a:gd name="T42" fmla="*/ 0 w 217"/>
                      <a:gd name="T43" fmla="*/ 61 h 2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7"/>
                      <a:gd name="T67" fmla="*/ 0 h 256"/>
                      <a:gd name="T68" fmla="*/ 217 w 217"/>
                      <a:gd name="T69" fmla="*/ 256 h 2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7" h="256">
                        <a:moveTo>
                          <a:pt x="0" y="61"/>
                        </a:moveTo>
                        <a:lnTo>
                          <a:pt x="6" y="89"/>
                        </a:lnTo>
                        <a:lnTo>
                          <a:pt x="0" y="112"/>
                        </a:lnTo>
                        <a:lnTo>
                          <a:pt x="10" y="134"/>
                        </a:lnTo>
                        <a:lnTo>
                          <a:pt x="0" y="156"/>
                        </a:lnTo>
                        <a:lnTo>
                          <a:pt x="49" y="256"/>
                        </a:lnTo>
                        <a:lnTo>
                          <a:pt x="89" y="240"/>
                        </a:lnTo>
                        <a:lnTo>
                          <a:pt x="105" y="252"/>
                        </a:lnTo>
                        <a:lnTo>
                          <a:pt x="112" y="233"/>
                        </a:lnTo>
                        <a:lnTo>
                          <a:pt x="134" y="233"/>
                        </a:lnTo>
                        <a:lnTo>
                          <a:pt x="138" y="195"/>
                        </a:lnTo>
                        <a:lnTo>
                          <a:pt x="179" y="185"/>
                        </a:lnTo>
                        <a:lnTo>
                          <a:pt x="205" y="189"/>
                        </a:lnTo>
                        <a:lnTo>
                          <a:pt x="217" y="166"/>
                        </a:lnTo>
                        <a:lnTo>
                          <a:pt x="195" y="122"/>
                        </a:lnTo>
                        <a:lnTo>
                          <a:pt x="166" y="118"/>
                        </a:lnTo>
                        <a:lnTo>
                          <a:pt x="150" y="73"/>
                        </a:lnTo>
                        <a:lnTo>
                          <a:pt x="77" y="45"/>
                        </a:lnTo>
                        <a:lnTo>
                          <a:pt x="49" y="0"/>
                        </a:lnTo>
                        <a:lnTo>
                          <a:pt x="6" y="28"/>
                        </a:lnTo>
                        <a:lnTo>
                          <a:pt x="0" y="6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9" name="Freeform 130">
                    <a:extLst>
                      <a:ext uri="{FF2B5EF4-FFF2-40B4-BE49-F238E27FC236}">
                        <a16:creationId xmlns:a16="http://schemas.microsoft.com/office/drawing/2014/main" id="{D428795D-115F-4594-AF14-9F7068C72294}"/>
                      </a:ext>
                    </a:extLst>
                  </p:cNvPr>
                  <p:cNvSpPr>
                    <a:spLocks/>
                  </p:cNvSpPr>
                  <p:nvPr/>
                </p:nvSpPr>
                <p:spPr bwMode="auto">
                  <a:xfrm>
                    <a:off x="2219255" y="4373189"/>
                    <a:ext cx="108998" cy="73681"/>
                  </a:xfrm>
                  <a:custGeom>
                    <a:avLst/>
                    <a:gdLst>
                      <a:gd name="T0" fmla="*/ 22 w 83"/>
                      <a:gd name="T1" fmla="*/ 26 h 55"/>
                      <a:gd name="T2" fmla="*/ 0 w 83"/>
                      <a:gd name="T3" fmla="*/ 39 h 55"/>
                      <a:gd name="T4" fmla="*/ 38 w 83"/>
                      <a:gd name="T5" fmla="*/ 45 h 55"/>
                      <a:gd name="T6" fmla="*/ 57 w 83"/>
                      <a:gd name="T7" fmla="*/ 55 h 55"/>
                      <a:gd name="T8" fmla="*/ 83 w 83"/>
                      <a:gd name="T9" fmla="*/ 55 h 55"/>
                      <a:gd name="T10" fmla="*/ 67 w 83"/>
                      <a:gd name="T11" fmla="*/ 10 h 55"/>
                      <a:gd name="T12" fmla="*/ 67 w 83"/>
                      <a:gd name="T13" fmla="*/ 0 h 55"/>
                      <a:gd name="T14" fmla="*/ 44 w 83"/>
                      <a:gd name="T15" fmla="*/ 22 h 55"/>
                      <a:gd name="T16" fmla="*/ 22 w 83"/>
                      <a:gd name="T17" fmla="*/ 26 h 55"/>
                      <a:gd name="T18" fmla="*/ 22 w 83"/>
                      <a:gd name="T19" fmla="*/ 26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55"/>
                      <a:gd name="T32" fmla="*/ 83 w 8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55">
                        <a:moveTo>
                          <a:pt x="22" y="26"/>
                        </a:moveTo>
                        <a:lnTo>
                          <a:pt x="0" y="39"/>
                        </a:lnTo>
                        <a:lnTo>
                          <a:pt x="38" y="45"/>
                        </a:lnTo>
                        <a:lnTo>
                          <a:pt x="57" y="55"/>
                        </a:lnTo>
                        <a:lnTo>
                          <a:pt x="83" y="55"/>
                        </a:lnTo>
                        <a:lnTo>
                          <a:pt x="67" y="10"/>
                        </a:lnTo>
                        <a:lnTo>
                          <a:pt x="67" y="0"/>
                        </a:lnTo>
                        <a:lnTo>
                          <a:pt x="44" y="22"/>
                        </a:lnTo>
                        <a:lnTo>
                          <a:pt x="22" y="2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0" name="Freeform 131">
                    <a:extLst>
                      <a:ext uri="{FF2B5EF4-FFF2-40B4-BE49-F238E27FC236}">
                        <a16:creationId xmlns:a16="http://schemas.microsoft.com/office/drawing/2014/main" id="{3DFD1EDC-A3D8-4F16-A395-9CAA0176A45E}"/>
                      </a:ext>
                    </a:extLst>
                  </p:cNvPr>
                  <p:cNvSpPr>
                    <a:spLocks/>
                  </p:cNvSpPr>
                  <p:nvPr/>
                </p:nvSpPr>
                <p:spPr bwMode="auto">
                  <a:xfrm>
                    <a:off x="2087933" y="3600209"/>
                    <a:ext cx="357196" cy="778339"/>
                  </a:xfrm>
                  <a:custGeom>
                    <a:avLst/>
                    <a:gdLst>
                      <a:gd name="T0" fmla="*/ 27 w 272"/>
                      <a:gd name="T1" fmla="*/ 23 h 581"/>
                      <a:gd name="T2" fmla="*/ 6 w 272"/>
                      <a:gd name="T3" fmla="*/ 63 h 581"/>
                      <a:gd name="T4" fmla="*/ 23 w 272"/>
                      <a:gd name="T5" fmla="*/ 90 h 581"/>
                      <a:gd name="T6" fmla="*/ 6 w 272"/>
                      <a:gd name="T7" fmla="*/ 141 h 581"/>
                      <a:gd name="T8" fmla="*/ 0 w 272"/>
                      <a:gd name="T9" fmla="*/ 191 h 581"/>
                      <a:gd name="T10" fmla="*/ 27 w 272"/>
                      <a:gd name="T11" fmla="*/ 230 h 581"/>
                      <a:gd name="T12" fmla="*/ 16 w 272"/>
                      <a:gd name="T13" fmla="*/ 258 h 581"/>
                      <a:gd name="T14" fmla="*/ 23 w 272"/>
                      <a:gd name="T15" fmla="*/ 268 h 581"/>
                      <a:gd name="T16" fmla="*/ 10 w 272"/>
                      <a:gd name="T17" fmla="*/ 287 h 581"/>
                      <a:gd name="T18" fmla="*/ 27 w 272"/>
                      <a:gd name="T19" fmla="*/ 315 h 581"/>
                      <a:gd name="T20" fmla="*/ 27 w 272"/>
                      <a:gd name="T21" fmla="*/ 376 h 581"/>
                      <a:gd name="T22" fmla="*/ 55 w 272"/>
                      <a:gd name="T23" fmla="*/ 437 h 581"/>
                      <a:gd name="T24" fmla="*/ 67 w 272"/>
                      <a:gd name="T25" fmla="*/ 482 h 581"/>
                      <a:gd name="T26" fmla="*/ 61 w 272"/>
                      <a:gd name="T27" fmla="*/ 532 h 581"/>
                      <a:gd name="T28" fmla="*/ 83 w 272"/>
                      <a:gd name="T29" fmla="*/ 555 h 581"/>
                      <a:gd name="T30" fmla="*/ 144 w 272"/>
                      <a:gd name="T31" fmla="*/ 581 h 581"/>
                      <a:gd name="T32" fmla="*/ 157 w 272"/>
                      <a:gd name="T33" fmla="*/ 571 h 581"/>
                      <a:gd name="T34" fmla="*/ 138 w 272"/>
                      <a:gd name="T35" fmla="*/ 565 h 581"/>
                      <a:gd name="T36" fmla="*/ 132 w 272"/>
                      <a:gd name="T37" fmla="*/ 543 h 581"/>
                      <a:gd name="T38" fmla="*/ 144 w 272"/>
                      <a:gd name="T39" fmla="*/ 536 h 581"/>
                      <a:gd name="T40" fmla="*/ 144 w 272"/>
                      <a:gd name="T41" fmla="*/ 510 h 581"/>
                      <a:gd name="T42" fmla="*/ 161 w 272"/>
                      <a:gd name="T43" fmla="*/ 504 h 581"/>
                      <a:gd name="T44" fmla="*/ 161 w 272"/>
                      <a:gd name="T45" fmla="*/ 482 h 581"/>
                      <a:gd name="T46" fmla="*/ 128 w 272"/>
                      <a:gd name="T47" fmla="*/ 465 h 581"/>
                      <a:gd name="T48" fmla="*/ 128 w 272"/>
                      <a:gd name="T49" fmla="*/ 453 h 581"/>
                      <a:gd name="T50" fmla="*/ 144 w 272"/>
                      <a:gd name="T51" fmla="*/ 443 h 581"/>
                      <a:gd name="T52" fmla="*/ 150 w 272"/>
                      <a:gd name="T53" fmla="*/ 409 h 581"/>
                      <a:gd name="T54" fmla="*/ 144 w 272"/>
                      <a:gd name="T55" fmla="*/ 398 h 581"/>
                      <a:gd name="T56" fmla="*/ 167 w 272"/>
                      <a:gd name="T57" fmla="*/ 402 h 581"/>
                      <a:gd name="T58" fmla="*/ 167 w 272"/>
                      <a:gd name="T59" fmla="*/ 386 h 581"/>
                      <a:gd name="T60" fmla="*/ 150 w 272"/>
                      <a:gd name="T61" fmla="*/ 386 h 581"/>
                      <a:gd name="T62" fmla="*/ 138 w 272"/>
                      <a:gd name="T63" fmla="*/ 392 h 581"/>
                      <a:gd name="T64" fmla="*/ 128 w 272"/>
                      <a:gd name="T65" fmla="*/ 364 h 581"/>
                      <a:gd name="T66" fmla="*/ 173 w 272"/>
                      <a:gd name="T67" fmla="*/ 370 h 581"/>
                      <a:gd name="T68" fmla="*/ 179 w 272"/>
                      <a:gd name="T69" fmla="*/ 354 h 581"/>
                      <a:gd name="T70" fmla="*/ 167 w 272"/>
                      <a:gd name="T71" fmla="*/ 335 h 581"/>
                      <a:gd name="T72" fmla="*/ 183 w 272"/>
                      <a:gd name="T73" fmla="*/ 319 h 581"/>
                      <a:gd name="T74" fmla="*/ 228 w 272"/>
                      <a:gd name="T75" fmla="*/ 319 h 581"/>
                      <a:gd name="T76" fmla="*/ 256 w 272"/>
                      <a:gd name="T77" fmla="*/ 291 h 581"/>
                      <a:gd name="T78" fmla="*/ 244 w 272"/>
                      <a:gd name="T79" fmla="*/ 275 h 581"/>
                      <a:gd name="T80" fmla="*/ 244 w 272"/>
                      <a:gd name="T81" fmla="*/ 264 h 581"/>
                      <a:gd name="T82" fmla="*/ 211 w 272"/>
                      <a:gd name="T83" fmla="*/ 242 h 581"/>
                      <a:gd name="T84" fmla="*/ 222 w 272"/>
                      <a:gd name="T85" fmla="*/ 230 h 581"/>
                      <a:gd name="T86" fmla="*/ 217 w 272"/>
                      <a:gd name="T87" fmla="*/ 181 h 581"/>
                      <a:gd name="T88" fmla="*/ 228 w 272"/>
                      <a:gd name="T89" fmla="*/ 157 h 581"/>
                      <a:gd name="T90" fmla="*/ 228 w 272"/>
                      <a:gd name="T91" fmla="*/ 147 h 581"/>
                      <a:gd name="T92" fmla="*/ 272 w 272"/>
                      <a:gd name="T93" fmla="*/ 114 h 581"/>
                      <a:gd name="T94" fmla="*/ 272 w 272"/>
                      <a:gd name="T95" fmla="*/ 74 h 581"/>
                      <a:gd name="T96" fmla="*/ 256 w 272"/>
                      <a:gd name="T97" fmla="*/ 74 h 581"/>
                      <a:gd name="T98" fmla="*/ 256 w 272"/>
                      <a:gd name="T99" fmla="*/ 90 h 581"/>
                      <a:gd name="T100" fmla="*/ 234 w 272"/>
                      <a:gd name="T101" fmla="*/ 108 h 581"/>
                      <a:gd name="T102" fmla="*/ 199 w 272"/>
                      <a:gd name="T103" fmla="*/ 102 h 581"/>
                      <a:gd name="T104" fmla="*/ 183 w 272"/>
                      <a:gd name="T105" fmla="*/ 90 h 581"/>
                      <a:gd name="T106" fmla="*/ 199 w 272"/>
                      <a:gd name="T107" fmla="*/ 63 h 581"/>
                      <a:gd name="T108" fmla="*/ 138 w 272"/>
                      <a:gd name="T109" fmla="*/ 41 h 581"/>
                      <a:gd name="T110" fmla="*/ 112 w 272"/>
                      <a:gd name="T111" fmla="*/ 0 h 581"/>
                      <a:gd name="T112" fmla="*/ 90 w 272"/>
                      <a:gd name="T113" fmla="*/ 0 h 581"/>
                      <a:gd name="T114" fmla="*/ 83 w 272"/>
                      <a:gd name="T115" fmla="*/ 19 h 581"/>
                      <a:gd name="T116" fmla="*/ 67 w 272"/>
                      <a:gd name="T117" fmla="*/ 7 h 581"/>
                      <a:gd name="T118" fmla="*/ 27 w 272"/>
                      <a:gd name="T119" fmla="*/ 23 h 581"/>
                      <a:gd name="T120" fmla="*/ 27 w 272"/>
                      <a:gd name="T121" fmla="*/ 23 h 5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2"/>
                      <a:gd name="T184" fmla="*/ 0 h 581"/>
                      <a:gd name="T185" fmla="*/ 272 w 272"/>
                      <a:gd name="T186" fmla="*/ 581 h 5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2" h="581">
                        <a:moveTo>
                          <a:pt x="27" y="23"/>
                        </a:moveTo>
                        <a:lnTo>
                          <a:pt x="6" y="63"/>
                        </a:lnTo>
                        <a:lnTo>
                          <a:pt x="23" y="90"/>
                        </a:lnTo>
                        <a:lnTo>
                          <a:pt x="6" y="141"/>
                        </a:lnTo>
                        <a:lnTo>
                          <a:pt x="0" y="191"/>
                        </a:lnTo>
                        <a:lnTo>
                          <a:pt x="27" y="230"/>
                        </a:lnTo>
                        <a:lnTo>
                          <a:pt x="16" y="258"/>
                        </a:lnTo>
                        <a:lnTo>
                          <a:pt x="23" y="268"/>
                        </a:lnTo>
                        <a:lnTo>
                          <a:pt x="10" y="287"/>
                        </a:lnTo>
                        <a:lnTo>
                          <a:pt x="27" y="315"/>
                        </a:lnTo>
                        <a:lnTo>
                          <a:pt x="27" y="376"/>
                        </a:lnTo>
                        <a:lnTo>
                          <a:pt x="55" y="437"/>
                        </a:lnTo>
                        <a:lnTo>
                          <a:pt x="67" y="482"/>
                        </a:lnTo>
                        <a:lnTo>
                          <a:pt x="61" y="532"/>
                        </a:lnTo>
                        <a:lnTo>
                          <a:pt x="83" y="555"/>
                        </a:lnTo>
                        <a:lnTo>
                          <a:pt x="144" y="581"/>
                        </a:lnTo>
                        <a:lnTo>
                          <a:pt x="157" y="571"/>
                        </a:lnTo>
                        <a:lnTo>
                          <a:pt x="138" y="565"/>
                        </a:lnTo>
                        <a:lnTo>
                          <a:pt x="132" y="543"/>
                        </a:lnTo>
                        <a:lnTo>
                          <a:pt x="144" y="536"/>
                        </a:lnTo>
                        <a:lnTo>
                          <a:pt x="144" y="510"/>
                        </a:lnTo>
                        <a:lnTo>
                          <a:pt x="161" y="504"/>
                        </a:lnTo>
                        <a:lnTo>
                          <a:pt x="161" y="482"/>
                        </a:lnTo>
                        <a:lnTo>
                          <a:pt x="128" y="465"/>
                        </a:lnTo>
                        <a:lnTo>
                          <a:pt x="128" y="453"/>
                        </a:lnTo>
                        <a:lnTo>
                          <a:pt x="144" y="443"/>
                        </a:lnTo>
                        <a:lnTo>
                          <a:pt x="150" y="409"/>
                        </a:lnTo>
                        <a:lnTo>
                          <a:pt x="144" y="398"/>
                        </a:lnTo>
                        <a:lnTo>
                          <a:pt x="167" y="402"/>
                        </a:lnTo>
                        <a:lnTo>
                          <a:pt x="167" y="386"/>
                        </a:lnTo>
                        <a:lnTo>
                          <a:pt x="150" y="386"/>
                        </a:lnTo>
                        <a:lnTo>
                          <a:pt x="138" y="392"/>
                        </a:lnTo>
                        <a:lnTo>
                          <a:pt x="128" y="364"/>
                        </a:lnTo>
                        <a:lnTo>
                          <a:pt x="173" y="370"/>
                        </a:lnTo>
                        <a:lnTo>
                          <a:pt x="179" y="354"/>
                        </a:lnTo>
                        <a:lnTo>
                          <a:pt x="167" y="335"/>
                        </a:lnTo>
                        <a:lnTo>
                          <a:pt x="183" y="319"/>
                        </a:lnTo>
                        <a:lnTo>
                          <a:pt x="228" y="319"/>
                        </a:lnTo>
                        <a:lnTo>
                          <a:pt x="256" y="291"/>
                        </a:lnTo>
                        <a:lnTo>
                          <a:pt x="244" y="275"/>
                        </a:lnTo>
                        <a:lnTo>
                          <a:pt x="244" y="264"/>
                        </a:lnTo>
                        <a:lnTo>
                          <a:pt x="211" y="242"/>
                        </a:lnTo>
                        <a:lnTo>
                          <a:pt x="222" y="230"/>
                        </a:lnTo>
                        <a:lnTo>
                          <a:pt x="217" y="181"/>
                        </a:lnTo>
                        <a:lnTo>
                          <a:pt x="228" y="157"/>
                        </a:lnTo>
                        <a:lnTo>
                          <a:pt x="228" y="147"/>
                        </a:lnTo>
                        <a:lnTo>
                          <a:pt x="272" y="114"/>
                        </a:lnTo>
                        <a:lnTo>
                          <a:pt x="272" y="74"/>
                        </a:lnTo>
                        <a:lnTo>
                          <a:pt x="256" y="74"/>
                        </a:lnTo>
                        <a:lnTo>
                          <a:pt x="256" y="90"/>
                        </a:lnTo>
                        <a:lnTo>
                          <a:pt x="234" y="108"/>
                        </a:lnTo>
                        <a:lnTo>
                          <a:pt x="199" y="102"/>
                        </a:lnTo>
                        <a:lnTo>
                          <a:pt x="183" y="90"/>
                        </a:lnTo>
                        <a:lnTo>
                          <a:pt x="199" y="63"/>
                        </a:lnTo>
                        <a:lnTo>
                          <a:pt x="138" y="41"/>
                        </a:lnTo>
                        <a:lnTo>
                          <a:pt x="112" y="0"/>
                        </a:lnTo>
                        <a:lnTo>
                          <a:pt x="90" y="0"/>
                        </a:lnTo>
                        <a:lnTo>
                          <a:pt x="83" y="19"/>
                        </a:lnTo>
                        <a:lnTo>
                          <a:pt x="67" y="7"/>
                        </a:lnTo>
                        <a:lnTo>
                          <a:pt x="27" y="2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1" name="Freeform 132">
                    <a:extLst>
                      <a:ext uri="{FF2B5EF4-FFF2-40B4-BE49-F238E27FC236}">
                        <a16:creationId xmlns:a16="http://schemas.microsoft.com/office/drawing/2014/main" id="{90AAC7A8-4874-4219-8504-86242EEFFF13}"/>
                      </a:ext>
                    </a:extLst>
                  </p:cNvPr>
                  <p:cNvSpPr>
                    <a:spLocks/>
                  </p:cNvSpPr>
                  <p:nvPr/>
                </p:nvSpPr>
                <p:spPr bwMode="auto">
                  <a:xfrm>
                    <a:off x="2307241" y="4386585"/>
                    <a:ext cx="80107" cy="60285"/>
                  </a:xfrm>
                  <a:custGeom>
                    <a:avLst/>
                    <a:gdLst>
                      <a:gd name="T0" fmla="*/ 0 w 61"/>
                      <a:gd name="T1" fmla="*/ 0 h 45"/>
                      <a:gd name="T2" fmla="*/ 16 w 61"/>
                      <a:gd name="T3" fmla="*/ 45 h 45"/>
                      <a:gd name="T4" fmla="*/ 61 w 61"/>
                      <a:gd name="T5" fmla="*/ 39 h 45"/>
                      <a:gd name="T6" fmla="*/ 0 w 61"/>
                      <a:gd name="T7" fmla="*/ 0 h 45"/>
                      <a:gd name="T8" fmla="*/ 0 w 61"/>
                      <a:gd name="T9" fmla="*/ 0 h 45"/>
                      <a:gd name="T10" fmla="*/ 0 60000 65536"/>
                      <a:gd name="T11" fmla="*/ 0 60000 65536"/>
                      <a:gd name="T12" fmla="*/ 0 60000 65536"/>
                      <a:gd name="T13" fmla="*/ 0 60000 65536"/>
                      <a:gd name="T14" fmla="*/ 0 60000 65536"/>
                      <a:gd name="T15" fmla="*/ 0 w 61"/>
                      <a:gd name="T16" fmla="*/ 0 h 45"/>
                      <a:gd name="T17" fmla="*/ 61 w 61"/>
                      <a:gd name="T18" fmla="*/ 45 h 45"/>
                    </a:gdLst>
                    <a:ahLst/>
                    <a:cxnLst>
                      <a:cxn ang="T10">
                        <a:pos x="T0" y="T1"/>
                      </a:cxn>
                      <a:cxn ang="T11">
                        <a:pos x="T2" y="T3"/>
                      </a:cxn>
                      <a:cxn ang="T12">
                        <a:pos x="T4" y="T5"/>
                      </a:cxn>
                      <a:cxn ang="T13">
                        <a:pos x="T6" y="T7"/>
                      </a:cxn>
                      <a:cxn ang="T14">
                        <a:pos x="T8" y="T9"/>
                      </a:cxn>
                    </a:cxnLst>
                    <a:rect l="T15" t="T16" r="T17" b="T18"/>
                    <a:pathLst>
                      <a:path w="61" h="45">
                        <a:moveTo>
                          <a:pt x="0" y="0"/>
                        </a:moveTo>
                        <a:lnTo>
                          <a:pt x="16" y="45"/>
                        </a:lnTo>
                        <a:lnTo>
                          <a:pt x="61" y="39"/>
                        </a:lnTo>
                        <a:lnTo>
                          <a:pt x="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2" name="Freeform 133">
                    <a:extLst>
                      <a:ext uri="{FF2B5EF4-FFF2-40B4-BE49-F238E27FC236}">
                        <a16:creationId xmlns:a16="http://schemas.microsoft.com/office/drawing/2014/main" id="{9212802F-5315-4A98-AFA5-0954055EAFC4}"/>
                      </a:ext>
                    </a:extLst>
                  </p:cNvPr>
                  <p:cNvSpPr>
                    <a:spLocks/>
                  </p:cNvSpPr>
                  <p:nvPr/>
                </p:nvSpPr>
                <p:spPr bwMode="auto">
                  <a:xfrm>
                    <a:off x="1940852" y="2907608"/>
                    <a:ext cx="899558" cy="971249"/>
                  </a:xfrm>
                  <a:custGeom>
                    <a:avLst/>
                    <a:gdLst>
                      <a:gd name="T0" fmla="*/ 78 w 685"/>
                      <a:gd name="T1" fmla="*/ 83 h 725"/>
                      <a:gd name="T2" fmla="*/ 74 w 685"/>
                      <a:gd name="T3" fmla="*/ 117 h 725"/>
                      <a:gd name="T4" fmla="*/ 51 w 685"/>
                      <a:gd name="T5" fmla="*/ 172 h 725"/>
                      <a:gd name="T6" fmla="*/ 0 w 685"/>
                      <a:gd name="T7" fmla="*/ 233 h 725"/>
                      <a:gd name="T8" fmla="*/ 55 w 685"/>
                      <a:gd name="T9" fmla="*/ 284 h 725"/>
                      <a:gd name="T10" fmla="*/ 96 w 685"/>
                      <a:gd name="T11" fmla="*/ 312 h 725"/>
                      <a:gd name="T12" fmla="*/ 167 w 685"/>
                      <a:gd name="T13" fmla="*/ 329 h 725"/>
                      <a:gd name="T14" fmla="*/ 256 w 685"/>
                      <a:gd name="T15" fmla="*/ 402 h 725"/>
                      <a:gd name="T16" fmla="*/ 307 w 685"/>
                      <a:gd name="T17" fmla="*/ 450 h 725"/>
                      <a:gd name="T18" fmla="*/ 307 w 685"/>
                      <a:gd name="T19" fmla="*/ 491 h 725"/>
                      <a:gd name="T20" fmla="*/ 346 w 685"/>
                      <a:gd name="T21" fmla="*/ 540 h 725"/>
                      <a:gd name="T22" fmla="*/ 368 w 685"/>
                      <a:gd name="T23" fmla="*/ 591 h 725"/>
                      <a:gd name="T24" fmla="*/ 384 w 685"/>
                      <a:gd name="T25" fmla="*/ 631 h 725"/>
                      <a:gd name="T26" fmla="*/ 340 w 685"/>
                      <a:gd name="T27" fmla="*/ 674 h 725"/>
                      <a:gd name="T28" fmla="*/ 451 w 685"/>
                      <a:gd name="T29" fmla="*/ 658 h 725"/>
                      <a:gd name="T30" fmla="*/ 461 w 685"/>
                      <a:gd name="T31" fmla="*/ 597 h 725"/>
                      <a:gd name="T32" fmla="*/ 579 w 685"/>
                      <a:gd name="T33" fmla="*/ 536 h 725"/>
                      <a:gd name="T34" fmla="*/ 612 w 685"/>
                      <a:gd name="T35" fmla="*/ 446 h 725"/>
                      <a:gd name="T36" fmla="*/ 612 w 685"/>
                      <a:gd name="T37" fmla="*/ 351 h 725"/>
                      <a:gd name="T38" fmla="*/ 640 w 685"/>
                      <a:gd name="T39" fmla="*/ 318 h 725"/>
                      <a:gd name="T40" fmla="*/ 685 w 685"/>
                      <a:gd name="T41" fmla="*/ 233 h 725"/>
                      <a:gd name="T42" fmla="*/ 646 w 685"/>
                      <a:gd name="T43" fmla="*/ 189 h 725"/>
                      <a:gd name="T44" fmla="*/ 528 w 685"/>
                      <a:gd name="T45" fmla="*/ 144 h 725"/>
                      <a:gd name="T46" fmla="*/ 518 w 685"/>
                      <a:gd name="T47" fmla="*/ 134 h 725"/>
                      <a:gd name="T48" fmla="*/ 474 w 685"/>
                      <a:gd name="T49" fmla="*/ 117 h 725"/>
                      <a:gd name="T50" fmla="*/ 435 w 685"/>
                      <a:gd name="T51" fmla="*/ 134 h 725"/>
                      <a:gd name="T52" fmla="*/ 435 w 685"/>
                      <a:gd name="T53" fmla="*/ 122 h 725"/>
                      <a:gd name="T54" fmla="*/ 413 w 685"/>
                      <a:gd name="T55" fmla="*/ 95 h 725"/>
                      <a:gd name="T56" fmla="*/ 374 w 685"/>
                      <a:gd name="T57" fmla="*/ 122 h 725"/>
                      <a:gd name="T58" fmla="*/ 394 w 685"/>
                      <a:gd name="T59" fmla="*/ 16 h 725"/>
                      <a:gd name="T60" fmla="*/ 340 w 685"/>
                      <a:gd name="T61" fmla="*/ 44 h 725"/>
                      <a:gd name="T62" fmla="*/ 240 w 685"/>
                      <a:gd name="T63" fmla="*/ 44 h 725"/>
                      <a:gd name="T64" fmla="*/ 234 w 685"/>
                      <a:gd name="T65" fmla="*/ 0 h 725"/>
                      <a:gd name="T66" fmla="*/ 157 w 685"/>
                      <a:gd name="T67" fmla="*/ 16 h 725"/>
                      <a:gd name="T68" fmla="*/ 139 w 685"/>
                      <a:gd name="T69" fmla="*/ 83 h 725"/>
                      <a:gd name="T70" fmla="*/ 74 w 685"/>
                      <a:gd name="T71" fmla="*/ 73 h 7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85"/>
                      <a:gd name="T109" fmla="*/ 0 h 725"/>
                      <a:gd name="T110" fmla="*/ 685 w 685"/>
                      <a:gd name="T111" fmla="*/ 725 h 7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85" h="725">
                        <a:moveTo>
                          <a:pt x="74" y="73"/>
                        </a:moveTo>
                        <a:lnTo>
                          <a:pt x="78" y="83"/>
                        </a:lnTo>
                        <a:lnTo>
                          <a:pt x="55" y="95"/>
                        </a:lnTo>
                        <a:lnTo>
                          <a:pt x="74" y="117"/>
                        </a:lnTo>
                        <a:lnTo>
                          <a:pt x="67" y="178"/>
                        </a:lnTo>
                        <a:lnTo>
                          <a:pt x="51" y="172"/>
                        </a:lnTo>
                        <a:lnTo>
                          <a:pt x="23" y="189"/>
                        </a:lnTo>
                        <a:lnTo>
                          <a:pt x="0" y="233"/>
                        </a:lnTo>
                        <a:lnTo>
                          <a:pt x="29" y="290"/>
                        </a:lnTo>
                        <a:lnTo>
                          <a:pt x="55" y="284"/>
                        </a:lnTo>
                        <a:lnTo>
                          <a:pt x="61" y="312"/>
                        </a:lnTo>
                        <a:lnTo>
                          <a:pt x="96" y="312"/>
                        </a:lnTo>
                        <a:lnTo>
                          <a:pt x="139" y="284"/>
                        </a:lnTo>
                        <a:lnTo>
                          <a:pt x="167" y="329"/>
                        </a:lnTo>
                        <a:lnTo>
                          <a:pt x="240" y="357"/>
                        </a:lnTo>
                        <a:lnTo>
                          <a:pt x="256" y="402"/>
                        </a:lnTo>
                        <a:lnTo>
                          <a:pt x="285" y="406"/>
                        </a:lnTo>
                        <a:lnTo>
                          <a:pt x="307" y="450"/>
                        </a:lnTo>
                        <a:lnTo>
                          <a:pt x="295" y="473"/>
                        </a:lnTo>
                        <a:lnTo>
                          <a:pt x="307" y="491"/>
                        </a:lnTo>
                        <a:lnTo>
                          <a:pt x="307" y="513"/>
                        </a:lnTo>
                        <a:lnTo>
                          <a:pt x="346" y="540"/>
                        </a:lnTo>
                        <a:lnTo>
                          <a:pt x="362" y="546"/>
                        </a:lnTo>
                        <a:lnTo>
                          <a:pt x="368" y="591"/>
                        </a:lnTo>
                        <a:lnTo>
                          <a:pt x="384" y="591"/>
                        </a:lnTo>
                        <a:lnTo>
                          <a:pt x="384" y="631"/>
                        </a:lnTo>
                        <a:lnTo>
                          <a:pt x="340" y="664"/>
                        </a:lnTo>
                        <a:lnTo>
                          <a:pt x="340" y="674"/>
                        </a:lnTo>
                        <a:lnTo>
                          <a:pt x="423" y="725"/>
                        </a:lnTo>
                        <a:lnTo>
                          <a:pt x="451" y="658"/>
                        </a:lnTo>
                        <a:lnTo>
                          <a:pt x="474" y="641"/>
                        </a:lnTo>
                        <a:lnTo>
                          <a:pt x="461" y="597"/>
                        </a:lnTo>
                        <a:lnTo>
                          <a:pt x="518" y="552"/>
                        </a:lnTo>
                        <a:lnTo>
                          <a:pt x="579" y="536"/>
                        </a:lnTo>
                        <a:lnTo>
                          <a:pt x="612" y="463"/>
                        </a:lnTo>
                        <a:lnTo>
                          <a:pt x="612" y="446"/>
                        </a:lnTo>
                        <a:lnTo>
                          <a:pt x="624" y="434"/>
                        </a:lnTo>
                        <a:lnTo>
                          <a:pt x="612" y="351"/>
                        </a:lnTo>
                        <a:lnTo>
                          <a:pt x="640" y="339"/>
                        </a:lnTo>
                        <a:lnTo>
                          <a:pt x="640" y="318"/>
                        </a:lnTo>
                        <a:lnTo>
                          <a:pt x="679" y="272"/>
                        </a:lnTo>
                        <a:lnTo>
                          <a:pt x="685" y="233"/>
                        </a:lnTo>
                        <a:lnTo>
                          <a:pt x="669" y="189"/>
                        </a:lnTo>
                        <a:lnTo>
                          <a:pt x="646" y="189"/>
                        </a:lnTo>
                        <a:lnTo>
                          <a:pt x="606" y="150"/>
                        </a:lnTo>
                        <a:lnTo>
                          <a:pt x="528" y="144"/>
                        </a:lnTo>
                        <a:lnTo>
                          <a:pt x="518" y="156"/>
                        </a:lnTo>
                        <a:lnTo>
                          <a:pt x="518" y="134"/>
                        </a:lnTo>
                        <a:lnTo>
                          <a:pt x="490" y="117"/>
                        </a:lnTo>
                        <a:lnTo>
                          <a:pt x="474" y="117"/>
                        </a:lnTo>
                        <a:lnTo>
                          <a:pt x="457" y="105"/>
                        </a:lnTo>
                        <a:lnTo>
                          <a:pt x="435" y="134"/>
                        </a:lnTo>
                        <a:lnTo>
                          <a:pt x="407" y="128"/>
                        </a:lnTo>
                        <a:lnTo>
                          <a:pt x="435" y="122"/>
                        </a:lnTo>
                        <a:lnTo>
                          <a:pt x="451" y="99"/>
                        </a:lnTo>
                        <a:lnTo>
                          <a:pt x="413" y="95"/>
                        </a:lnTo>
                        <a:lnTo>
                          <a:pt x="394" y="117"/>
                        </a:lnTo>
                        <a:lnTo>
                          <a:pt x="374" y="122"/>
                        </a:lnTo>
                        <a:lnTo>
                          <a:pt x="423" y="73"/>
                        </a:lnTo>
                        <a:lnTo>
                          <a:pt x="394" y="16"/>
                        </a:lnTo>
                        <a:lnTo>
                          <a:pt x="368" y="50"/>
                        </a:lnTo>
                        <a:lnTo>
                          <a:pt x="340" y="44"/>
                        </a:lnTo>
                        <a:lnTo>
                          <a:pt x="262" y="67"/>
                        </a:lnTo>
                        <a:lnTo>
                          <a:pt x="240" y="44"/>
                        </a:lnTo>
                        <a:lnTo>
                          <a:pt x="250" y="22"/>
                        </a:lnTo>
                        <a:lnTo>
                          <a:pt x="234" y="0"/>
                        </a:lnTo>
                        <a:lnTo>
                          <a:pt x="195" y="28"/>
                        </a:lnTo>
                        <a:lnTo>
                          <a:pt x="157" y="16"/>
                        </a:lnTo>
                        <a:lnTo>
                          <a:pt x="173" y="61"/>
                        </a:lnTo>
                        <a:lnTo>
                          <a:pt x="139" y="83"/>
                        </a:lnTo>
                        <a:lnTo>
                          <a:pt x="112" y="61"/>
                        </a:lnTo>
                        <a:lnTo>
                          <a:pt x="74" y="7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3" name="Freeform 135">
                    <a:extLst>
                      <a:ext uri="{FF2B5EF4-FFF2-40B4-BE49-F238E27FC236}">
                        <a16:creationId xmlns:a16="http://schemas.microsoft.com/office/drawing/2014/main" id="{6CF87FC9-B2F9-47D5-80DD-031C4FE3C60F}"/>
                      </a:ext>
                    </a:extLst>
                  </p:cNvPr>
                  <p:cNvSpPr>
                    <a:spLocks/>
                  </p:cNvSpPr>
                  <p:nvPr/>
                </p:nvSpPr>
                <p:spPr bwMode="auto">
                  <a:xfrm>
                    <a:off x="2235014" y="3535906"/>
                    <a:ext cx="189104" cy="208986"/>
                  </a:xfrm>
                  <a:custGeom>
                    <a:avLst/>
                    <a:gdLst>
                      <a:gd name="T0" fmla="*/ 138 w 144"/>
                      <a:gd name="T1" fmla="*/ 77 h 156"/>
                      <a:gd name="T2" fmla="*/ 122 w 144"/>
                      <a:gd name="T3" fmla="*/ 71 h 156"/>
                      <a:gd name="T4" fmla="*/ 83 w 144"/>
                      <a:gd name="T5" fmla="*/ 44 h 156"/>
                      <a:gd name="T6" fmla="*/ 83 w 144"/>
                      <a:gd name="T7" fmla="*/ 22 h 156"/>
                      <a:gd name="T8" fmla="*/ 71 w 144"/>
                      <a:gd name="T9" fmla="*/ 4 h 156"/>
                      <a:gd name="T10" fmla="*/ 45 w 144"/>
                      <a:gd name="T11" fmla="*/ 0 h 156"/>
                      <a:gd name="T12" fmla="*/ 4 w 144"/>
                      <a:gd name="T13" fmla="*/ 10 h 156"/>
                      <a:gd name="T14" fmla="*/ 0 w 144"/>
                      <a:gd name="T15" fmla="*/ 48 h 156"/>
                      <a:gd name="T16" fmla="*/ 26 w 144"/>
                      <a:gd name="T17" fmla="*/ 89 h 156"/>
                      <a:gd name="T18" fmla="*/ 87 w 144"/>
                      <a:gd name="T19" fmla="*/ 111 h 156"/>
                      <a:gd name="T20" fmla="*/ 71 w 144"/>
                      <a:gd name="T21" fmla="*/ 138 h 156"/>
                      <a:gd name="T22" fmla="*/ 87 w 144"/>
                      <a:gd name="T23" fmla="*/ 150 h 156"/>
                      <a:gd name="T24" fmla="*/ 122 w 144"/>
                      <a:gd name="T25" fmla="*/ 156 h 156"/>
                      <a:gd name="T26" fmla="*/ 144 w 144"/>
                      <a:gd name="T27" fmla="*/ 138 h 156"/>
                      <a:gd name="T28" fmla="*/ 144 w 144"/>
                      <a:gd name="T29" fmla="*/ 122 h 156"/>
                      <a:gd name="T30" fmla="*/ 138 w 144"/>
                      <a:gd name="T31" fmla="*/ 77 h 156"/>
                      <a:gd name="T32" fmla="*/ 138 w 144"/>
                      <a:gd name="T33" fmla="*/ 77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4"/>
                      <a:gd name="T52" fmla="*/ 0 h 156"/>
                      <a:gd name="T53" fmla="*/ 144 w 144"/>
                      <a:gd name="T54" fmla="*/ 156 h 1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4" h="156">
                        <a:moveTo>
                          <a:pt x="138" y="77"/>
                        </a:moveTo>
                        <a:lnTo>
                          <a:pt x="122" y="71"/>
                        </a:lnTo>
                        <a:lnTo>
                          <a:pt x="83" y="44"/>
                        </a:lnTo>
                        <a:lnTo>
                          <a:pt x="83" y="22"/>
                        </a:lnTo>
                        <a:lnTo>
                          <a:pt x="71" y="4"/>
                        </a:lnTo>
                        <a:lnTo>
                          <a:pt x="45" y="0"/>
                        </a:lnTo>
                        <a:lnTo>
                          <a:pt x="4" y="10"/>
                        </a:lnTo>
                        <a:lnTo>
                          <a:pt x="0" y="48"/>
                        </a:lnTo>
                        <a:lnTo>
                          <a:pt x="26" y="89"/>
                        </a:lnTo>
                        <a:lnTo>
                          <a:pt x="87" y="111"/>
                        </a:lnTo>
                        <a:lnTo>
                          <a:pt x="71" y="138"/>
                        </a:lnTo>
                        <a:lnTo>
                          <a:pt x="87" y="150"/>
                        </a:lnTo>
                        <a:lnTo>
                          <a:pt x="122" y="156"/>
                        </a:lnTo>
                        <a:lnTo>
                          <a:pt x="144" y="138"/>
                        </a:lnTo>
                        <a:lnTo>
                          <a:pt x="144" y="122"/>
                        </a:lnTo>
                        <a:lnTo>
                          <a:pt x="138" y="7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4" name="Freeform 136">
                    <a:extLst>
                      <a:ext uri="{FF2B5EF4-FFF2-40B4-BE49-F238E27FC236}">
                        <a16:creationId xmlns:a16="http://schemas.microsoft.com/office/drawing/2014/main" id="{91A7F4EA-C70E-4585-A380-68E412DFC5BA}"/>
                      </a:ext>
                    </a:extLst>
                  </p:cNvPr>
                  <p:cNvSpPr>
                    <a:spLocks/>
                  </p:cNvSpPr>
                  <p:nvPr/>
                </p:nvSpPr>
                <p:spPr bwMode="auto">
                  <a:xfrm>
                    <a:off x="1963177" y="2736132"/>
                    <a:ext cx="292848" cy="282667"/>
                  </a:xfrm>
                  <a:custGeom>
                    <a:avLst/>
                    <a:gdLst>
                      <a:gd name="T0" fmla="*/ 144 w 223"/>
                      <a:gd name="T1" fmla="*/ 22 h 211"/>
                      <a:gd name="T2" fmla="*/ 150 w 223"/>
                      <a:gd name="T3" fmla="*/ 28 h 211"/>
                      <a:gd name="T4" fmla="*/ 134 w 223"/>
                      <a:gd name="T5" fmla="*/ 38 h 211"/>
                      <a:gd name="T6" fmla="*/ 118 w 223"/>
                      <a:gd name="T7" fmla="*/ 28 h 211"/>
                      <a:gd name="T8" fmla="*/ 79 w 223"/>
                      <a:gd name="T9" fmla="*/ 28 h 211"/>
                      <a:gd name="T10" fmla="*/ 73 w 223"/>
                      <a:gd name="T11" fmla="*/ 10 h 211"/>
                      <a:gd name="T12" fmla="*/ 44 w 223"/>
                      <a:gd name="T13" fmla="*/ 0 h 211"/>
                      <a:gd name="T14" fmla="*/ 44 w 223"/>
                      <a:gd name="T15" fmla="*/ 10 h 211"/>
                      <a:gd name="T16" fmla="*/ 34 w 223"/>
                      <a:gd name="T17" fmla="*/ 22 h 211"/>
                      <a:gd name="T18" fmla="*/ 38 w 223"/>
                      <a:gd name="T19" fmla="*/ 61 h 211"/>
                      <a:gd name="T20" fmla="*/ 18 w 223"/>
                      <a:gd name="T21" fmla="*/ 49 h 211"/>
                      <a:gd name="T22" fmla="*/ 18 w 223"/>
                      <a:gd name="T23" fmla="*/ 28 h 211"/>
                      <a:gd name="T24" fmla="*/ 28 w 223"/>
                      <a:gd name="T25" fmla="*/ 0 h 211"/>
                      <a:gd name="T26" fmla="*/ 0 w 223"/>
                      <a:gd name="T27" fmla="*/ 28 h 211"/>
                      <a:gd name="T28" fmla="*/ 0 w 223"/>
                      <a:gd name="T29" fmla="*/ 67 h 211"/>
                      <a:gd name="T30" fmla="*/ 44 w 223"/>
                      <a:gd name="T31" fmla="*/ 93 h 211"/>
                      <a:gd name="T32" fmla="*/ 57 w 223"/>
                      <a:gd name="T33" fmla="*/ 111 h 211"/>
                      <a:gd name="T34" fmla="*/ 95 w 223"/>
                      <a:gd name="T35" fmla="*/ 105 h 211"/>
                      <a:gd name="T36" fmla="*/ 89 w 223"/>
                      <a:gd name="T37" fmla="*/ 128 h 211"/>
                      <a:gd name="T38" fmla="*/ 95 w 223"/>
                      <a:gd name="T39" fmla="*/ 160 h 211"/>
                      <a:gd name="T40" fmla="*/ 95 w 223"/>
                      <a:gd name="T41" fmla="*/ 189 h 211"/>
                      <a:gd name="T42" fmla="*/ 122 w 223"/>
                      <a:gd name="T43" fmla="*/ 211 h 211"/>
                      <a:gd name="T44" fmla="*/ 156 w 223"/>
                      <a:gd name="T45" fmla="*/ 189 h 211"/>
                      <a:gd name="T46" fmla="*/ 140 w 223"/>
                      <a:gd name="T47" fmla="*/ 144 h 211"/>
                      <a:gd name="T48" fmla="*/ 178 w 223"/>
                      <a:gd name="T49" fmla="*/ 156 h 211"/>
                      <a:gd name="T50" fmla="*/ 217 w 223"/>
                      <a:gd name="T51" fmla="*/ 128 h 211"/>
                      <a:gd name="T52" fmla="*/ 201 w 223"/>
                      <a:gd name="T53" fmla="*/ 105 h 211"/>
                      <a:gd name="T54" fmla="*/ 217 w 223"/>
                      <a:gd name="T55" fmla="*/ 93 h 211"/>
                      <a:gd name="T56" fmla="*/ 223 w 223"/>
                      <a:gd name="T57" fmla="*/ 67 h 211"/>
                      <a:gd name="T58" fmla="*/ 207 w 223"/>
                      <a:gd name="T59" fmla="*/ 44 h 211"/>
                      <a:gd name="T60" fmla="*/ 195 w 223"/>
                      <a:gd name="T61" fmla="*/ 49 h 211"/>
                      <a:gd name="T62" fmla="*/ 178 w 223"/>
                      <a:gd name="T63" fmla="*/ 32 h 211"/>
                      <a:gd name="T64" fmla="*/ 185 w 223"/>
                      <a:gd name="T65" fmla="*/ 22 h 211"/>
                      <a:gd name="T66" fmla="*/ 144 w 223"/>
                      <a:gd name="T67" fmla="*/ 22 h 211"/>
                      <a:gd name="T68" fmla="*/ 144 w 223"/>
                      <a:gd name="T69" fmla="*/ 22 h 2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3"/>
                      <a:gd name="T106" fmla="*/ 0 h 211"/>
                      <a:gd name="T107" fmla="*/ 223 w 223"/>
                      <a:gd name="T108" fmla="*/ 211 h 21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3" h="211">
                        <a:moveTo>
                          <a:pt x="144" y="22"/>
                        </a:moveTo>
                        <a:lnTo>
                          <a:pt x="150" y="28"/>
                        </a:lnTo>
                        <a:lnTo>
                          <a:pt x="134" y="38"/>
                        </a:lnTo>
                        <a:lnTo>
                          <a:pt x="118" y="28"/>
                        </a:lnTo>
                        <a:lnTo>
                          <a:pt x="79" y="28"/>
                        </a:lnTo>
                        <a:lnTo>
                          <a:pt x="73" y="10"/>
                        </a:lnTo>
                        <a:lnTo>
                          <a:pt x="44" y="0"/>
                        </a:lnTo>
                        <a:lnTo>
                          <a:pt x="44" y="10"/>
                        </a:lnTo>
                        <a:lnTo>
                          <a:pt x="34" y="22"/>
                        </a:lnTo>
                        <a:lnTo>
                          <a:pt x="38" y="61"/>
                        </a:lnTo>
                        <a:lnTo>
                          <a:pt x="18" y="49"/>
                        </a:lnTo>
                        <a:lnTo>
                          <a:pt x="18" y="28"/>
                        </a:lnTo>
                        <a:lnTo>
                          <a:pt x="28" y="0"/>
                        </a:lnTo>
                        <a:lnTo>
                          <a:pt x="0" y="28"/>
                        </a:lnTo>
                        <a:lnTo>
                          <a:pt x="0" y="67"/>
                        </a:lnTo>
                        <a:lnTo>
                          <a:pt x="44" y="93"/>
                        </a:lnTo>
                        <a:lnTo>
                          <a:pt x="57" y="111"/>
                        </a:lnTo>
                        <a:lnTo>
                          <a:pt x="95" y="105"/>
                        </a:lnTo>
                        <a:lnTo>
                          <a:pt x="89" y="128"/>
                        </a:lnTo>
                        <a:lnTo>
                          <a:pt x="95" y="160"/>
                        </a:lnTo>
                        <a:lnTo>
                          <a:pt x="95" y="189"/>
                        </a:lnTo>
                        <a:lnTo>
                          <a:pt x="122" y="211"/>
                        </a:lnTo>
                        <a:lnTo>
                          <a:pt x="156" y="189"/>
                        </a:lnTo>
                        <a:lnTo>
                          <a:pt x="140" y="144"/>
                        </a:lnTo>
                        <a:lnTo>
                          <a:pt x="178" y="156"/>
                        </a:lnTo>
                        <a:lnTo>
                          <a:pt x="217" y="128"/>
                        </a:lnTo>
                        <a:lnTo>
                          <a:pt x="201" y="105"/>
                        </a:lnTo>
                        <a:lnTo>
                          <a:pt x="217" y="93"/>
                        </a:lnTo>
                        <a:lnTo>
                          <a:pt x="223" y="67"/>
                        </a:lnTo>
                        <a:lnTo>
                          <a:pt x="207" y="44"/>
                        </a:lnTo>
                        <a:lnTo>
                          <a:pt x="195" y="49"/>
                        </a:lnTo>
                        <a:lnTo>
                          <a:pt x="178" y="32"/>
                        </a:lnTo>
                        <a:lnTo>
                          <a:pt x="185" y="22"/>
                        </a:lnTo>
                        <a:lnTo>
                          <a:pt x="144"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5" name="Freeform 137">
                    <a:extLst>
                      <a:ext uri="{FF2B5EF4-FFF2-40B4-BE49-F238E27FC236}">
                        <a16:creationId xmlns:a16="http://schemas.microsoft.com/office/drawing/2014/main" id="{83EEE94E-B543-4A51-B9DA-6AB5D153D6B9}"/>
                      </a:ext>
                    </a:extLst>
                  </p:cNvPr>
                  <p:cNvSpPr>
                    <a:spLocks/>
                  </p:cNvSpPr>
                  <p:nvPr/>
                </p:nvSpPr>
                <p:spPr bwMode="auto">
                  <a:xfrm>
                    <a:off x="2387348" y="2884834"/>
                    <a:ext cx="70914" cy="89757"/>
                  </a:xfrm>
                  <a:custGeom>
                    <a:avLst/>
                    <a:gdLst>
                      <a:gd name="T0" fmla="*/ 0 w 54"/>
                      <a:gd name="T1" fmla="*/ 61 h 67"/>
                      <a:gd name="T2" fmla="*/ 28 w 54"/>
                      <a:gd name="T3" fmla="*/ 67 h 67"/>
                      <a:gd name="T4" fmla="*/ 54 w 54"/>
                      <a:gd name="T5" fmla="*/ 33 h 67"/>
                      <a:gd name="T6" fmla="*/ 12 w 54"/>
                      <a:gd name="T7" fmla="*/ 0 h 67"/>
                      <a:gd name="T8" fmla="*/ 0 w 54"/>
                      <a:gd name="T9" fmla="*/ 61 h 67"/>
                      <a:gd name="T10" fmla="*/ 0 w 54"/>
                      <a:gd name="T11" fmla="*/ 61 h 67"/>
                      <a:gd name="T12" fmla="*/ 0 60000 65536"/>
                      <a:gd name="T13" fmla="*/ 0 60000 65536"/>
                      <a:gd name="T14" fmla="*/ 0 60000 65536"/>
                      <a:gd name="T15" fmla="*/ 0 60000 65536"/>
                      <a:gd name="T16" fmla="*/ 0 60000 65536"/>
                      <a:gd name="T17" fmla="*/ 0 60000 65536"/>
                      <a:gd name="T18" fmla="*/ 0 w 54"/>
                      <a:gd name="T19" fmla="*/ 0 h 67"/>
                      <a:gd name="T20" fmla="*/ 54 w 54"/>
                      <a:gd name="T21" fmla="*/ 67 h 67"/>
                    </a:gdLst>
                    <a:ahLst/>
                    <a:cxnLst>
                      <a:cxn ang="T12">
                        <a:pos x="T0" y="T1"/>
                      </a:cxn>
                      <a:cxn ang="T13">
                        <a:pos x="T2" y="T3"/>
                      </a:cxn>
                      <a:cxn ang="T14">
                        <a:pos x="T4" y="T5"/>
                      </a:cxn>
                      <a:cxn ang="T15">
                        <a:pos x="T6" y="T7"/>
                      </a:cxn>
                      <a:cxn ang="T16">
                        <a:pos x="T8" y="T9"/>
                      </a:cxn>
                      <a:cxn ang="T17">
                        <a:pos x="T10" y="T11"/>
                      </a:cxn>
                    </a:cxnLst>
                    <a:rect l="T18" t="T19" r="T20" b="T21"/>
                    <a:pathLst>
                      <a:path w="54" h="67">
                        <a:moveTo>
                          <a:pt x="0" y="61"/>
                        </a:moveTo>
                        <a:lnTo>
                          <a:pt x="28" y="67"/>
                        </a:lnTo>
                        <a:lnTo>
                          <a:pt x="54" y="33"/>
                        </a:lnTo>
                        <a:lnTo>
                          <a:pt x="12" y="0"/>
                        </a:lnTo>
                        <a:lnTo>
                          <a:pt x="0" y="6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6" name="Freeform 138">
                    <a:extLst>
                      <a:ext uri="{FF2B5EF4-FFF2-40B4-BE49-F238E27FC236}">
                        <a16:creationId xmlns:a16="http://schemas.microsoft.com/office/drawing/2014/main" id="{5315AF0C-CFA0-4E40-9B72-44F07565B6FB}"/>
                      </a:ext>
                    </a:extLst>
                  </p:cNvPr>
                  <p:cNvSpPr>
                    <a:spLocks/>
                  </p:cNvSpPr>
                  <p:nvPr/>
                </p:nvSpPr>
                <p:spPr bwMode="auto">
                  <a:xfrm>
                    <a:off x="2315120" y="2884834"/>
                    <a:ext cx="87986" cy="96455"/>
                  </a:xfrm>
                  <a:custGeom>
                    <a:avLst/>
                    <a:gdLst>
                      <a:gd name="T0" fmla="*/ 67 w 67"/>
                      <a:gd name="T1" fmla="*/ 0 h 72"/>
                      <a:gd name="T2" fmla="*/ 6 w 67"/>
                      <a:gd name="T3" fmla="*/ 0 h 72"/>
                      <a:gd name="T4" fmla="*/ 0 w 67"/>
                      <a:gd name="T5" fmla="*/ 33 h 72"/>
                      <a:gd name="T6" fmla="*/ 22 w 67"/>
                      <a:gd name="T7" fmla="*/ 72 h 72"/>
                      <a:gd name="T8" fmla="*/ 55 w 67"/>
                      <a:gd name="T9" fmla="*/ 61 h 72"/>
                      <a:gd name="T10" fmla="*/ 67 w 67"/>
                      <a:gd name="T11" fmla="*/ 0 h 72"/>
                      <a:gd name="T12" fmla="*/ 67 w 67"/>
                      <a:gd name="T13" fmla="*/ 0 h 72"/>
                      <a:gd name="T14" fmla="*/ 0 60000 65536"/>
                      <a:gd name="T15" fmla="*/ 0 60000 65536"/>
                      <a:gd name="T16" fmla="*/ 0 60000 65536"/>
                      <a:gd name="T17" fmla="*/ 0 60000 65536"/>
                      <a:gd name="T18" fmla="*/ 0 60000 65536"/>
                      <a:gd name="T19" fmla="*/ 0 60000 65536"/>
                      <a:gd name="T20" fmla="*/ 0 60000 65536"/>
                      <a:gd name="T21" fmla="*/ 0 w 67"/>
                      <a:gd name="T22" fmla="*/ 0 h 72"/>
                      <a:gd name="T23" fmla="*/ 67 w 67"/>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72">
                        <a:moveTo>
                          <a:pt x="67" y="0"/>
                        </a:moveTo>
                        <a:lnTo>
                          <a:pt x="6" y="0"/>
                        </a:lnTo>
                        <a:lnTo>
                          <a:pt x="0" y="33"/>
                        </a:lnTo>
                        <a:lnTo>
                          <a:pt x="22" y="72"/>
                        </a:lnTo>
                        <a:lnTo>
                          <a:pt x="55" y="61"/>
                        </a:lnTo>
                        <a:lnTo>
                          <a:pt x="6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7" name="Freeform 139">
                    <a:extLst>
                      <a:ext uri="{FF2B5EF4-FFF2-40B4-BE49-F238E27FC236}">
                        <a16:creationId xmlns:a16="http://schemas.microsoft.com/office/drawing/2014/main" id="{67B7FBB0-FD0F-456E-B60D-AC683FBCBC9E}"/>
                      </a:ext>
                    </a:extLst>
                  </p:cNvPr>
                  <p:cNvSpPr>
                    <a:spLocks/>
                  </p:cNvSpPr>
                  <p:nvPr/>
                </p:nvSpPr>
                <p:spPr bwMode="auto">
                  <a:xfrm>
                    <a:off x="2227134" y="2825889"/>
                    <a:ext cx="116877" cy="171476"/>
                  </a:xfrm>
                  <a:custGeom>
                    <a:avLst/>
                    <a:gdLst>
                      <a:gd name="T0" fmla="*/ 22 w 89"/>
                      <a:gd name="T1" fmla="*/ 0 h 128"/>
                      <a:gd name="T2" fmla="*/ 16 w 89"/>
                      <a:gd name="T3" fmla="*/ 26 h 128"/>
                      <a:gd name="T4" fmla="*/ 0 w 89"/>
                      <a:gd name="T5" fmla="*/ 38 h 128"/>
                      <a:gd name="T6" fmla="*/ 32 w 89"/>
                      <a:gd name="T7" fmla="*/ 83 h 128"/>
                      <a:gd name="T8" fmla="*/ 22 w 89"/>
                      <a:gd name="T9" fmla="*/ 105 h 128"/>
                      <a:gd name="T10" fmla="*/ 44 w 89"/>
                      <a:gd name="T11" fmla="*/ 128 h 128"/>
                      <a:gd name="T12" fmla="*/ 89 w 89"/>
                      <a:gd name="T13" fmla="*/ 116 h 128"/>
                      <a:gd name="T14" fmla="*/ 67 w 89"/>
                      <a:gd name="T15" fmla="*/ 77 h 128"/>
                      <a:gd name="T16" fmla="*/ 73 w 89"/>
                      <a:gd name="T17" fmla="*/ 44 h 128"/>
                      <a:gd name="T18" fmla="*/ 22 w 89"/>
                      <a:gd name="T19" fmla="*/ 0 h 128"/>
                      <a:gd name="T20" fmla="*/ 22 w 89"/>
                      <a:gd name="T21" fmla="*/ 0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9"/>
                      <a:gd name="T34" fmla="*/ 0 h 128"/>
                      <a:gd name="T35" fmla="*/ 89 w 89"/>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9" h="128">
                        <a:moveTo>
                          <a:pt x="22" y="0"/>
                        </a:moveTo>
                        <a:lnTo>
                          <a:pt x="16" y="26"/>
                        </a:lnTo>
                        <a:lnTo>
                          <a:pt x="0" y="38"/>
                        </a:lnTo>
                        <a:lnTo>
                          <a:pt x="32" y="83"/>
                        </a:lnTo>
                        <a:lnTo>
                          <a:pt x="22" y="105"/>
                        </a:lnTo>
                        <a:lnTo>
                          <a:pt x="44" y="128"/>
                        </a:lnTo>
                        <a:lnTo>
                          <a:pt x="89" y="116"/>
                        </a:lnTo>
                        <a:lnTo>
                          <a:pt x="67" y="77"/>
                        </a:lnTo>
                        <a:lnTo>
                          <a:pt x="73" y="44"/>
                        </a:lnTo>
                        <a:lnTo>
                          <a:pt x="2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8" name="Freeform 220">
                    <a:extLst>
                      <a:ext uri="{FF2B5EF4-FFF2-40B4-BE49-F238E27FC236}">
                        <a16:creationId xmlns:a16="http://schemas.microsoft.com/office/drawing/2014/main" id="{62241C24-B4F2-4FBD-AB21-F1EF11D581AE}"/>
                      </a:ext>
                    </a:extLst>
                  </p:cNvPr>
                  <p:cNvSpPr>
                    <a:spLocks/>
                  </p:cNvSpPr>
                  <p:nvPr/>
                </p:nvSpPr>
                <p:spPr bwMode="auto">
                  <a:xfrm rot="15839930">
                    <a:off x="2010867" y="2518969"/>
                    <a:ext cx="52807" cy="78178"/>
                  </a:xfrm>
                  <a:custGeom>
                    <a:avLst/>
                    <a:gdLst>
                      <a:gd name="T0" fmla="*/ 59 w 59"/>
                      <a:gd name="T1" fmla="*/ 12 h 96"/>
                      <a:gd name="T2" fmla="*/ 13 w 59"/>
                      <a:gd name="T3" fmla="*/ 0 h 96"/>
                      <a:gd name="T4" fmla="*/ 15 w 59"/>
                      <a:gd name="T5" fmla="*/ 29 h 96"/>
                      <a:gd name="T6" fmla="*/ 0 w 59"/>
                      <a:gd name="T7" fmla="*/ 59 h 96"/>
                      <a:gd name="T8" fmla="*/ 11 w 59"/>
                      <a:gd name="T9" fmla="*/ 96 h 96"/>
                      <a:gd name="T10" fmla="*/ 39 w 59"/>
                      <a:gd name="T11" fmla="*/ 94 h 96"/>
                      <a:gd name="T12" fmla="*/ 45 w 59"/>
                      <a:gd name="T13" fmla="*/ 55 h 96"/>
                      <a:gd name="T14" fmla="*/ 59 w 59"/>
                      <a:gd name="T15" fmla="*/ 12 h 96"/>
                      <a:gd name="T16" fmla="*/ 59 w 59"/>
                      <a:gd name="T17" fmla="*/ 12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96"/>
                      <a:gd name="T29" fmla="*/ 59 w 5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96">
                        <a:moveTo>
                          <a:pt x="59" y="12"/>
                        </a:moveTo>
                        <a:lnTo>
                          <a:pt x="13" y="0"/>
                        </a:lnTo>
                        <a:lnTo>
                          <a:pt x="15" y="29"/>
                        </a:lnTo>
                        <a:lnTo>
                          <a:pt x="0" y="59"/>
                        </a:lnTo>
                        <a:lnTo>
                          <a:pt x="11" y="96"/>
                        </a:lnTo>
                        <a:lnTo>
                          <a:pt x="39" y="94"/>
                        </a:lnTo>
                        <a:lnTo>
                          <a:pt x="45" y="55"/>
                        </a:lnTo>
                        <a:lnTo>
                          <a:pt x="59"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grpSp>
          </p:grpSp>
        </p:grpSp>
        <p:grpSp>
          <p:nvGrpSpPr>
            <p:cNvPr id="407" name="Group 494">
              <a:extLst>
                <a:ext uri="{FF2B5EF4-FFF2-40B4-BE49-F238E27FC236}">
                  <a16:creationId xmlns:a16="http://schemas.microsoft.com/office/drawing/2014/main" id="{A001F01E-D486-4614-BF42-9EAE4EC22BED}"/>
                </a:ext>
              </a:extLst>
            </p:cNvPr>
            <p:cNvGrpSpPr/>
            <p:nvPr/>
          </p:nvGrpSpPr>
          <p:grpSpPr>
            <a:xfrm>
              <a:off x="3146812" y="1133094"/>
              <a:ext cx="4394888" cy="1330493"/>
              <a:chOff x="3092752" y="973285"/>
              <a:chExt cx="4652429" cy="1411881"/>
            </a:xfrm>
            <a:grpFill/>
          </p:grpSpPr>
          <p:grpSp>
            <p:nvGrpSpPr>
              <p:cNvPr id="408" name="Group 414">
                <a:extLst>
                  <a:ext uri="{FF2B5EF4-FFF2-40B4-BE49-F238E27FC236}">
                    <a16:creationId xmlns:a16="http://schemas.microsoft.com/office/drawing/2014/main" id="{E79B81A4-694F-4A03-8BCF-FC5E4F8D737F}"/>
                  </a:ext>
                </a:extLst>
              </p:cNvPr>
              <p:cNvGrpSpPr/>
              <p:nvPr/>
            </p:nvGrpSpPr>
            <p:grpSpPr>
              <a:xfrm>
                <a:off x="4278368" y="1779442"/>
                <a:ext cx="746548" cy="362550"/>
                <a:chOff x="4278368" y="1779442"/>
                <a:chExt cx="746548" cy="362550"/>
              </a:xfrm>
              <a:grpFill/>
            </p:grpSpPr>
            <p:sp>
              <p:nvSpPr>
                <p:cNvPr id="487" name="Freeform 186">
                  <a:extLst>
                    <a:ext uri="{FF2B5EF4-FFF2-40B4-BE49-F238E27FC236}">
                      <a16:creationId xmlns:a16="http://schemas.microsoft.com/office/drawing/2014/main" id="{BB77474B-7B6B-4AE6-AB31-E0156DCF95E3}"/>
                    </a:ext>
                  </a:extLst>
                </p:cNvPr>
                <p:cNvSpPr>
                  <a:spLocks/>
                </p:cNvSpPr>
                <p:nvPr/>
              </p:nvSpPr>
              <p:spPr bwMode="auto">
                <a:xfrm>
                  <a:off x="4786685" y="1990192"/>
                  <a:ext cx="87259" cy="33897"/>
                </a:xfrm>
                <a:custGeom>
                  <a:avLst/>
                  <a:gdLst/>
                  <a:ahLst/>
                  <a:cxnLst>
                    <a:cxn ang="0">
                      <a:pos x="6" y="10"/>
                    </a:cxn>
                    <a:cxn ang="0">
                      <a:pos x="0" y="17"/>
                    </a:cxn>
                    <a:cxn ang="0">
                      <a:pos x="12" y="23"/>
                    </a:cxn>
                    <a:cxn ang="0">
                      <a:pos x="63" y="10"/>
                    </a:cxn>
                    <a:cxn ang="0">
                      <a:pos x="40" y="0"/>
                    </a:cxn>
                    <a:cxn ang="0">
                      <a:pos x="6" y="10"/>
                    </a:cxn>
                    <a:cxn ang="0">
                      <a:pos x="6" y="10"/>
                    </a:cxn>
                  </a:cxnLst>
                  <a:rect l="0" t="0" r="r" b="b"/>
                  <a:pathLst>
                    <a:path w="63" h="23">
                      <a:moveTo>
                        <a:pt x="6" y="10"/>
                      </a:moveTo>
                      <a:lnTo>
                        <a:pt x="0" y="17"/>
                      </a:lnTo>
                      <a:lnTo>
                        <a:pt x="12" y="23"/>
                      </a:lnTo>
                      <a:lnTo>
                        <a:pt x="63" y="10"/>
                      </a:lnTo>
                      <a:lnTo>
                        <a:pt x="40" y="0"/>
                      </a:lnTo>
                      <a:lnTo>
                        <a:pt x="6" y="10"/>
                      </a:lnTo>
                      <a:lnTo>
                        <a:pt x="6"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88" name="Freeform 195">
                  <a:extLst>
                    <a:ext uri="{FF2B5EF4-FFF2-40B4-BE49-F238E27FC236}">
                      <a16:creationId xmlns:a16="http://schemas.microsoft.com/office/drawing/2014/main" id="{33E3A3A7-63B2-4946-BB63-F58C9E92EC60}"/>
                    </a:ext>
                  </a:extLst>
                </p:cNvPr>
                <p:cNvSpPr>
                  <a:spLocks/>
                </p:cNvSpPr>
                <p:nvPr/>
              </p:nvSpPr>
              <p:spPr bwMode="auto">
                <a:xfrm>
                  <a:off x="5002755" y="1891450"/>
                  <a:ext cx="22161" cy="16211"/>
                </a:xfrm>
                <a:custGeom>
                  <a:avLst/>
                  <a:gdLst/>
                  <a:ahLst/>
                  <a:cxnLst>
                    <a:cxn ang="0">
                      <a:pos x="16" y="0"/>
                    </a:cxn>
                    <a:cxn ang="0">
                      <a:pos x="0" y="7"/>
                    </a:cxn>
                    <a:cxn ang="0">
                      <a:pos x="10" y="11"/>
                    </a:cxn>
                    <a:cxn ang="0">
                      <a:pos x="16" y="0"/>
                    </a:cxn>
                    <a:cxn ang="0">
                      <a:pos x="16" y="0"/>
                    </a:cxn>
                  </a:cxnLst>
                  <a:rect l="0" t="0" r="r" b="b"/>
                  <a:pathLst>
                    <a:path w="16" h="11">
                      <a:moveTo>
                        <a:pt x="16" y="0"/>
                      </a:moveTo>
                      <a:lnTo>
                        <a:pt x="0" y="7"/>
                      </a:lnTo>
                      <a:lnTo>
                        <a:pt x="10" y="11"/>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89" name="Freeform 196">
                  <a:extLst>
                    <a:ext uri="{FF2B5EF4-FFF2-40B4-BE49-F238E27FC236}">
                      <a16:creationId xmlns:a16="http://schemas.microsoft.com/office/drawing/2014/main" id="{5C34489B-5B18-4606-995B-4DBA332F5144}"/>
                    </a:ext>
                  </a:extLst>
                </p:cNvPr>
                <p:cNvSpPr>
                  <a:spLocks/>
                </p:cNvSpPr>
                <p:nvPr/>
              </p:nvSpPr>
              <p:spPr bwMode="auto">
                <a:xfrm>
                  <a:off x="4803306" y="1808918"/>
                  <a:ext cx="70638" cy="82532"/>
                </a:xfrm>
                <a:custGeom>
                  <a:avLst/>
                  <a:gdLst/>
                  <a:ahLst/>
                  <a:cxnLst>
                    <a:cxn ang="0">
                      <a:pos x="16" y="0"/>
                    </a:cxn>
                    <a:cxn ang="0">
                      <a:pos x="0" y="6"/>
                    </a:cxn>
                    <a:cxn ang="0">
                      <a:pos x="22" y="28"/>
                    </a:cxn>
                    <a:cxn ang="0">
                      <a:pos x="32" y="56"/>
                    </a:cxn>
                    <a:cxn ang="0">
                      <a:pos x="51" y="34"/>
                    </a:cxn>
                    <a:cxn ang="0">
                      <a:pos x="38" y="12"/>
                    </a:cxn>
                    <a:cxn ang="0">
                      <a:pos x="16" y="0"/>
                    </a:cxn>
                    <a:cxn ang="0">
                      <a:pos x="16" y="0"/>
                    </a:cxn>
                  </a:cxnLst>
                  <a:rect l="0" t="0" r="r" b="b"/>
                  <a:pathLst>
                    <a:path w="51" h="56">
                      <a:moveTo>
                        <a:pt x="16" y="0"/>
                      </a:moveTo>
                      <a:lnTo>
                        <a:pt x="0" y="6"/>
                      </a:lnTo>
                      <a:lnTo>
                        <a:pt x="22" y="28"/>
                      </a:lnTo>
                      <a:lnTo>
                        <a:pt x="32" y="56"/>
                      </a:lnTo>
                      <a:lnTo>
                        <a:pt x="51" y="34"/>
                      </a:lnTo>
                      <a:lnTo>
                        <a:pt x="38" y="12"/>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90" name="Freeform 201">
                  <a:extLst>
                    <a:ext uri="{FF2B5EF4-FFF2-40B4-BE49-F238E27FC236}">
                      <a16:creationId xmlns:a16="http://schemas.microsoft.com/office/drawing/2014/main" id="{66164D36-F4BD-4BF9-A34E-94F0DE39AFB8}"/>
                    </a:ext>
                  </a:extLst>
                </p:cNvPr>
                <p:cNvSpPr>
                  <a:spLocks/>
                </p:cNvSpPr>
                <p:nvPr/>
              </p:nvSpPr>
              <p:spPr bwMode="auto">
                <a:xfrm>
                  <a:off x="4594162" y="1779442"/>
                  <a:ext cx="120501" cy="51582"/>
                </a:xfrm>
                <a:custGeom>
                  <a:avLst/>
                  <a:gdLst>
                    <a:gd name="T0" fmla="*/ 0 w 87"/>
                    <a:gd name="T1" fmla="*/ 16 h 35"/>
                    <a:gd name="T2" fmla="*/ 4 w 87"/>
                    <a:gd name="T3" fmla="*/ 28 h 35"/>
                    <a:gd name="T4" fmla="*/ 20 w 87"/>
                    <a:gd name="T5" fmla="*/ 35 h 35"/>
                    <a:gd name="T6" fmla="*/ 43 w 87"/>
                    <a:gd name="T7" fmla="*/ 24 h 35"/>
                    <a:gd name="T8" fmla="*/ 81 w 87"/>
                    <a:gd name="T9" fmla="*/ 16 h 35"/>
                    <a:gd name="T10" fmla="*/ 87 w 87"/>
                    <a:gd name="T11" fmla="*/ 0 h 35"/>
                    <a:gd name="T12" fmla="*/ 32 w 87"/>
                    <a:gd name="T13" fmla="*/ 0 h 35"/>
                    <a:gd name="T14" fmla="*/ 16 w 87"/>
                    <a:gd name="T15" fmla="*/ 12 h 35"/>
                    <a:gd name="T16" fmla="*/ 0 w 87"/>
                    <a:gd name="T17" fmla="*/ 6 h 35"/>
                    <a:gd name="T18" fmla="*/ 0 w 87"/>
                    <a:gd name="T19" fmla="*/ 16 h 35"/>
                    <a:gd name="T20" fmla="*/ 0 w 87"/>
                    <a:gd name="T21" fmla="*/ 16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35"/>
                    <a:gd name="T35" fmla="*/ 87 w 87"/>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35">
                      <a:moveTo>
                        <a:pt x="0" y="16"/>
                      </a:moveTo>
                      <a:lnTo>
                        <a:pt x="4" y="28"/>
                      </a:lnTo>
                      <a:lnTo>
                        <a:pt x="20" y="35"/>
                      </a:lnTo>
                      <a:lnTo>
                        <a:pt x="43" y="24"/>
                      </a:lnTo>
                      <a:lnTo>
                        <a:pt x="81" y="16"/>
                      </a:lnTo>
                      <a:lnTo>
                        <a:pt x="87" y="0"/>
                      </a:lnTo>
                      <a:lnTo>
                        <a:pt x="32" y="0"/>
                      </a:lnTo>
                      <a:lnTo>
                        <a:pt x="16" y="12"/>
                      </a:lnTo>
                      <a:lnTo>
                        <a:pt x="0" y="6"/>
                      </a:lnTo>
                      <a:lnTo>
                        <a:pt x="0"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1" name="Freeform 202">
                  <a:extLst>
                    <a:ext uri="{FF2B5EF4-FFF2-40B4-BE49-F238E27FC236}">
                      <a16:creationId xmlns:a16="http://schemas.microsoft.com/office/drawing/2014/main" id="{084E3E41-CB61-4FFE-8C28-624ACD016BD1}"/>
                    </a:ext>
                  </a:extLst>
                </p:cNvPr>
                <p:cNvSpPr>
                  <a:spLocks/>
                </p:cNvSpPr>
                <p:nvPr/>
              </p:nvSpPr>
              <p:spPr bwMode="auto">
                <a:xfrm>
                  <a:off x="4577541" y="1803022"/>
                  <a:ext cx="145432" cy="66321"/>
                </a:xfrm>
                <a:custGeom>
                  <a:avLst/>
                  <a:gdLst>
                    <a:gd name="T0" fmla="*/ 105 w 105"/>
                    <a:gd name="T1" fmla="*/ 12 h 45"/>
                    <a:gd name="T2" fmla="*/ 93 w 105"/>
                    <a:gd name="T3" fmla="*/ 0 h 45"/>
                    <a:gd name="T4" fmla="*/ 55 w 105"/>
                    <a:gd name="T5" fmla="*/ 6 h 45"/>
                    <a:gd name="T6" fmla="*/ 32 w 105"/>
                    <a:gd name="T7" fmla="*/ 19 h 45"/>
                    <a:gd name="T8" fmla="*/ 16 w 105"/>
                    <a:gd name="T9" fmla="*/ 12 h 45"/>
                    <a:gd name="T10" fmla="*/ 0 w 105"/>
                    <a:gd name="T11" fmla="*/ 35 h 45"/>
                    <a:gd name="T12" fmla="*/ 12 w 105"/>
                    <a:gd name="T13" fmla="*/ 41 h 45"/>
                    <a:gd name="T14" fmla="*/ 50 w 105"/>
                    <a:gd name="T15" fmla="*/ 45 h 45"/>
                    <a:gd name="T16" fmla="*/ 71 w 105"/>
                    <a:gd name="T17" fmla="*/ 45 h 45"/>
                    <a:gd name="T18" fmla="*/ 105 w 105"/>
                    <a:gd name="T19" fmla="*/ 12 h 45"/>
                    <a:gd name="T20" fmla="*/ 105 w 105"/>
                    <a:gd name="T21" fmla="*/ 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5"/>
                    <a:gd name="T34" fmla="*/ 0 h 45"/>
                    <a:gd name="T35" fmla="*/ 105 w 105"/>
                    <a:gd name="T36" fmla="*/ 45 h 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5" h="45">
                      <a:moveTo>
                        <a:pt x="105" y="12"/>
                      </a:moveTo>
                      <a:lnTo>
                        <a:pt x="93" y="0"/>
                      </a:lnTo>
                      <a:lnTo>
                        <a:pt x="55" y="6"/>
                      </a:lnTo>
                      <a:lnTo>
                        <a:pt x="32" y="19"/>
                      </a:lnTo>
                      <a:lnTo>
                        <a:pt x="16" y="12"/>
                      </a:lnTo>
                      <a:lnTo>
                        <a:pt x="0" y="35"/>
                      </a:lnTo>
                      <a:lnTo>
                        <a:pt x="12" y="41"/>
                      </a:lnTo>
                      <a:lnTo>
                        <a:pt x="50" y="45"/>
                      </a:lnTo>
                      <a:lnTo>
                        <a:pt x="71" y="45"/>
                      </a:lnTo>
                      <a:lnTo>
                        <a:pt x="105"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2" name="Freeform 203">
                  <a:extLst>
                    <a:ext uri="{FF2B5EF4-FFF2-40B4-BE49-F238E27FC236}">
                      <a16:creationId xmlns:a16="http://schemas.microsoft.com/office/drawing/2014/main" id="{08F900B2-E762-4031-B68C-F38214C2D1F4}"/>
                    </a:ext>
                  </a:extLst>
                </p:cNvPr>
                <p:cNvSpPr>
                  <a:spLocks/>
                </p:cNvSpPr>
                <p:nvPr/>
              </p:nvSpPr>
              <p:spPr bwMode="auto">
                <a:xfrm>
                  <a:off x="4678651" y="1811865"/>
                  <a:ext cx="193910" cy="132640"/>
                </a:xfrm>
                <a:custGeom>
                  <a:avLst/>
                  <a:gdLst>
                    <a:gd name="T0" fmla="*/ 38 w 140"/>
                    <a:gd name="T1" fmla="*/ 80 h 90"/>
                    <a:gd name="T2" fmla="*/ 61 w 140"/>
                    <a:gd name="T3" fmla="*/ 90 h 90"/>
                    <a:gd name="T4" fmla="*/ 95 w 140"/>
                    <a:gd name="T5" fmla="*/ 74 h 90"/>
                    <a:gd name="T6" fmla="*/ 128 w 140"/>
                    <a:gd name="T7" fmla="*/ 80 h 90"/>
                    <a:gd name="T8" fmla="*/ 122 w 140"/>
                    <a:gd name="T9" fmla="*/ 67 h 90"/>
                    <a:gd name="T10" fmla="*/ 140 w 140"/>
                    <a:gd name="T11" fmla="*/ 57 h 90"/>
                    <a:gd name="T12" fmla="*/ 122 w 140"/>
                    <a:gd name="T13" fmla="*/ 51 h 90"/>
                    <a:gd name="T14" fmla="*/ 111 w 140"/>
                    <a:gd name="T15" fmla="*/ 23 h 90"/>
                    <a:gd name="T16" fmla="*/ 89 w 140"/>
                    <a:gd name="T17" fmla="*/ 0 h 90"/>
                    <a:gd name="T18" fmla="*/ 73 w 140"/>
                    <a:gd name="T19" fmla="*/ 13 h 90"/>
                    <a:gd name="T20" fmla="*/ 34 w 140"/>
                    <a:gd name="T21" fmla="*/ 6 h 90"/>
                    <a:gd name="T22" fmla="*/ 0 w 140"/>
                    <a:gd name="T23" fmla="*/ 41 h 90"/>
                    <a:gd name="T24" fmla="*/ 38 w 140"/>
                    <a:gd name="T25" fmla="*/ 80 h 90"/>
                    <a:gd name="T26" fmla="*/ 38 w 140"/>
                    <a:gd name="T27" fmla="*/ 8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0"/>
                    <a:gd name="T43" fmla="*/ 0 h 90"/>
                    <a:gd name="T44" fmla="*/ 140 w 140"/>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0" h="90">
                      <a:moveTo>
                        <a:pt x="38" y="80"/>
                      </a:moveTo>
                      <a:lnTo>
                        <a:pt x="61" y="90"/>
                      </a:lnTo>
                      <a:lnTo>
                        <a:pt x="95" y="74"/>
                      </a:lnTo>
                      <a:lnTo>
                        <a:pt x="128" y="80"/>
                      </a:lnTo>
                      <a:lnTo>
                        <a:pt x="122" y="67"/>
                      </a:lnTo>
                      <a:lnTo>
                        <a:pt x="140" y="57"/>
                      </a:lnTo>
                      <a:lnTo>
                        <a:pt x="122" y="51"/>
                      </a:lnTo>
                      <a:lnTo>
                        <a:pt x="111" y="23"/>
                      </a:lnTo>
                      <a:lnTo>
                        <a:pt x="89" y="0"/>
                      </a:lnTo>
                      <a:lnTo>
                        <a:pt x="73" y="13"/>
                      </a:lnTo>
                      <a:lnTo>
                        <a:pt x="34" y="6"/>
                      </a:lnTo>
                      <a:lnTo>
                        <a:pt x="0" y="41"/>
                      </a:lnTo>
                      <a:lnTo>
                        <a:pt x="38" y="8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3" name="Freeform 205">
                  <a:extLst>
                    <a:ext uri="{FF2B5EF4-FFF2-40B4-BE49-F238E27FC236}">
                      <a16:creationId xmlns:a16="http://schemas.microsoft.com/office/drawing/2014/main" id="{CEFD490F-2F78-421A-B636-68D921CCE2E6}"/>
                    </a:ext>
                  </a:extLst>
                </p:cNvPr>
                <p:cNvSpPr>
                  <a:spLocks/>
                </p:cNvSpPr>
                <p:nvPr/>
              </p:nvSpPr>
              <p:spPr bwMode="auto">
                <a:xfrm>
                  <a:off x="4678651" y="1994614"/>
                  <a:ext cx="114961" cy="147378"/>
                </a:xfrm>
                <a:custGeom>
                  <a:avLst/>
                  <a:gdLst>
                    <a:gd name="T0" fmla="*/ 55 w 83"/>
                    <a:gd name="T1" fmla="*/ 33 h 100"/>
                    <a:gd name="T2" fmla="*/ 55 w 83"/>
                    <a:gd name="T3" fmla="*/ 23 h 100"/>
                    <a:gd name="T4" fmla="*/ 77 w 83"/>
                    <a:gd name="T5" fmla="*/ 11 h 100"/>
                    <a:gd name="T6" fmla="*/ 83 w 83"/>
                    <a:gd name="T7" fmla="*/ 4 h 100"/>
                    <a:gd name="T8" fmla="*/ 55 w 83"/>
                    <a:gd name="T9" fmla="*/ 0 h 100"/>
                    <a:gd name="T10" fmla="*/ 16 w 83"/>
                    <a:gd name="T11" fmla="*/ 23 h 100"/>
                    <a:gd name="T12" fmla="*/ 0 w 83"/>
                    <a:gd name="T13" fmla="*/ 39 h 100"/>
                    <a:gd name="T14" fmla="*/ 6 w 83"/>
                    <a:gd name="T15" fmla="*/ 61 h 100"/>
                    <a:gd name="T16" fmla="*/ 22 w 83"/>
                    <a:gd name="T17" fmla="*/ 68 h 100"/>
                    <a:gd name="T18" fmla="*/ 22 w 83"/>
                    <a:gd name="T19" fmla="*/ 96 h 100"/>
                    <a:gd name="T20" fmla="*/ 34 w 83"/>
                    <a:gd name="T21" fmla="*/ 96 h 100"/>
                    <a:gd name="T22" fmla="*/ 38 w 83"/>
                    <a:gd name="T23" fmla="*/ 100 h 100"/>
                    <a:gd name="T24" fmla="*/ 51 w 83"/>
                    <a:gd name="T25" fmla="*/ 90 h 100"/>
                    <a:gd name="T26" fmla="*/ 44 w 83"/>
                    <a:gd name="T27" fmla="*/ 84 h 100"/>
                    <a:gd name="T28" fmla="*/ 51 w 83"/>
                    <a:gd name="T29" fmla="*/ 78 h 100"/>
                    <a:gd name="T30" fmla="*/ 51 w 83"/>
                    <a:gd name="T31" fmla="*/ 45 h 100"/>
                    <a:gd name="T32" fmla="*/ 34 w 83"/>
                    <a:gd name="T33" fmla="*/ 29 h 100"/>
                    <a:gd name="T34" fmla="*/ 55 w 83"/>
                    <a:gd name="T35" fmla="*/ 33 h 100"/>
                    <a:gd name="T36" fmla="*/ 55 w 83"/>
                    <a:gd name="T37" fmla="*/ 33 h 1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3"/>
                    <a:gd name="T58" fmla="*/ 0 h 100"/>
                    <a:gd name="T59" fmla="*/ 83 w 83"/>
                    <a:gd name="T60" fmla="*/ 100 h 1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3" h="100">
                      <a:moveTo>
                        <a:pt x="55" y="33"/>
                      </a:moveTo>
                      <a:lnTo>
                        <a:pt x="55" y="23"/>
                      </a:lnTo>
                      <a:lnTo>
                        <a:pt x="77" y="11"/>
                      </a:lnTo>
                      <a:lnTo>
                        <a:pt x="83" y="4"/>
                      </a:lnTo>
                      <a:lnTo>
                        <a:pt x="55" y="0"/>
                      </a:lnTo>
                      <a:lnTo>
                        <a:pt x="16" y="23"/>
                      </a:lnTo>
                      <a:lnTo>
                        <a:pt x="0" y="39"/>
                      </a:lnTo>
                      <a:lnTo>
                        <a:pt x="6" y="61"/>
                      </a:lnTo>
                      <a:lnTo>
                        <a:pt x="22" y="68"/>
                      </a:lnTo>
                      <a:lnTo>
                        <a:pt x="22" y="96"/>
                      </a:lnTo>
                      <a:lnTo>
                        <a:pt x="34" y="96"/>
                      </a:lnTo>
                      <a:lnTo>
                        <a:pt x="38" y="100"/>
                      </a:lnTo>
                      <a:lnTo>
                        <a:pt x="51" y="90"/>
                      </a:lnTo>
                      <a:lnTo>
                        <a:pt x="44" y="84"/>
                      </a:lnTo>
                      <a:lnTo>
                        <a:pt x="51" y="78"/>
                      </a:lnTo>
                      <a:lnTo>
                        <a:pt x="51" y="45"/>
                      </a:lnTo>
                      <a:lnTo>
                        <a:pt x="34" y="29"/>
                      </a:lnTo>
                      <a:lnTo>
                        <a:pt x="55" y="3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4" name="Freeform 209">
                  <a:extLst>
                    <a:ext uri="{FF2B5EF4-FFF2-40B4-BE49-F238E27FC236}">
                      <a16:creationId xmlns:a16="http://schemas.microsoft.com/office/drawing/2014/main" id="{D1D20141-FC68-45BE-989D-4184782A6A3E}"/>
                    </a:ext>
                  </a:extLst>
                </p:cNvPr>
                <p:cNvSpPr>
                  <a:spLocks/>
                </p:cNvSpPr>
                <p:nvPr/>
              </p:nvSpPr>
              <p:spPr bwMode="auto">
                <a:xfrm>
                  <a:off x="4403024" y="2010825"/>
                  <a:ext cx="33241" cy="64847"/>
                </a:xfrm>
                <a:custGeom>
                  <a:avLst/>
                  <a:gdLst>
                    <a:gd name="T0" fmla="*/ 16 w 24"/>
                    <a:gd name="T1" fmla="*/ 0 h 44"/>
                    <a:gd name="T2" fmla="*/ 0 w 24"/>
                    <a:gd name="T3" fmla="*/ 6 h 44"/>
                    <a:gd name="T4" fmla="*/ 0 w 24"/>
                    <a:gd name="T5" fmla="*/ 34 h 44"/>
                    <a:gd name="T6" fmla="*/ 14 w 24"/>
                    <a:gd name="T7" fmla="*/ 44 h 44"/>
                    <a:gd name="T8" fmla="*/ 24 w 24"/>
                    <a:gd name="T9" fmla="*/ 24 h 44"/>
                    <a:gd name="T10" fmla="*/ 22 w 24"/>
                    <a:gd name="T11" fmla="*/ 12 h 44"/>
                    <a:gd name="T12" fmla="*/ 16 w 24"/>
                    <a:gd name="T13" fmla="*/ 0 h 44"/>
                    <a:gd name="T14" fmla="*/ 16 w 24"/>
                    <a:gd name="T15" fmla="*/ 0 h 4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44"/>
                    <a:gd name="T26" fmla="*/ 24 w 2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44">
                      <a:moveTo>
                        <a:pt x="16" y="0"/>
                      </a:moveTo>
                      <a:lnTo>
                        <a:pt x="0" y="6"/>
                      </a:lnTo>
                      <a:lnTo>
                        <a:pt x="0" y="34"/>
                      </a:lnTo>
                      <a:lnTo>
                        <a:pt x="14" y="44"/>
                      </a:lnTo>
                      <a:lnTo>
                        <a:pt x="24" y="24"/>
                      </a:lnTo>
                      <a:lnTo>
                        <a:pt x="22" y="12"/>
                      </a:lnTo>
                      <a:lnTo>
                        <a:pt x="16"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5" name="Freeform 213">
                  <a:extLst>
                    <a:ext uri="{FF2B5EF4-FFF2-40B4-BE49-F238E27FC236}">
                      <a16:creationId xmlns:a16="http://schemas.microsoft.com/office/drawing/2014/main" id="{637B30CB-47DF-4E6E-8497-617E8EA78529}"/>
                    </a:ext>
                  </a:extLst>
                </p:cNvPr>
                <p:cNvSpPr>
                  <a:spLocks/>
                </p:cNvSpPr>
                <p:nvPr/>
              </p:nvSpPr>
              <p:spPr bwMode="auto">
                <a:xfrm>
                  <a:off x="4646794" y="1971034"/>
                  <a:ext cx="54018" cy="81058"/>
                </a:xfrm>
                <a:custGeom>
                  <a:avLst/>
                  <a:gdLst>
                    <a:gd name="T0" fmla="*/ 39 w 39"/>
                    <a:gd name="T1" fmla="*/ 39 h 55"/>
                    <a:gd name="T2" fmla="*/ 29 w 39"/>
                    <a:gd name="T3" fmla="*/ 16 h 55"/>
                    <a:gd name="T4" fmla="*/ 17 w 39"/>
                    <a:gd name="T5" fmla="*/ 0 h 55"/>
                    <a:gd name="T6" fmla="*/ 7 w 39"/>
                    <a:gd name="T7" fmla="*/ 0 h 55"/>
                    <a:gd name="T8" fmla="*/ 0 w 39"/>
                    <a:gd name="T9" fmla="*/ 10 h 55"/>
                    <a:gd name="T10" fmla="*/ 7 w 39"/>
                    <a:gd name="T11" fmla="*/ 45 h 55"/>
                    <a:gd name="T12" fmla="*/ 23 w 39"/>
                    <a:gd name="T13" fmla="*/ 55 h 55"/>
                    <a:gd name="T14" fmla="*/ 39 w 39"/>
                    <a:gd name="T15" fmla="*/ 39 h 55"/>
                    <a:gd name="T16" fmla="*/ 39 w 39"/>
                    <a:gd name="T17" fmla="*/ 39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55"/>
                    <a:gd name="T29" fmla="*/ 39 w 39"/>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55">
                      <a:moveTo>
                        <a:pt x="39" y="39"/>
                      </a:moveTo>
                      <a:lnTo>
                        <a:pt x="29" y="16"/>
                      </a:lnTo>
                      <a:lnTo>
                        <a:pt x="17" y="0"/>
                      </a:lnTo>
                      <a:lnTo>
                        <a:pt x="7" y="0"/>
                      </a:lnTo>
                      <a:lnTo>
                        <a:pt x="0" y="10"/>
                      </a:lnTo>
                      <a:lnTo>
                        <a:pt x="7" y="45"/>
                      </a:lnTo>
                      <a:lnTo>
                        <a:pt x="23" y="55"/>
                      </a:lnTo>
                      <a:lnTo>
                        <a:pt x="39"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6" name="Freeform 214">
                  <a:extLst>
                    <a:ext uri="{FF2B5EF4-FFF2-40B4-BE49-F238E27FC236}">
                      <a16:creationId xmlns:a16="http://schemas.microsoft.com/office/drawing/2014/main" id="{174919B8-F462-4E8A-B5D1-3F6B3825E2B9}"/>
                    </a:ext>
                  </a:extLst>
                </p:cNvPr>
                <p:cNvSpPr>
                  <a:spLocks/>
                </p:cNvSpPr>
                <p:nvPr/>
              </p:nvSpPr>
              <p:spPr bwMode="auto">
                <a:xfrm>
                  <a:off x="4686961" y="1971034"/>
                  <a:ext cx="67868" cy="57477"/>
                </a:xfrm>
                <a:custGeom>
                  <a:avLst/>
                  <a:gdLst>
                    <a:gd name="T0" fmla="*/ 45 w 49"/>
                    <a:gd name="T1" fmla="*/ 4 h 39"/>
                    <a:gd name="T2" fmla="*/ 28 w 49"/>
                    <a:gd name="T3" fmla="*/ 0 h 39"/>
                    <a:gd name="T4" fmla="*/ 0 w 49"/>
                    <a:gd name="T5" fmla="*/ 16 h 39"/>
                    <a:gd name="T6" fmla="*/ 10 w 49"/>
                    <a:gd name="T7" fmla="*/ 39 h 39"/>
                    <a:gd name="T8" fmla="*/ 49 w 49"/>
                    <a:gd name="T9" fmla="*/ 16 h 39"/>
                    <a:gd name="T10" fmla="*/ 45 w 49"/>
                    <a:gd name="T11" fmla="*/ 4 h 39"/>
                    <a:gd name="T12" fmla="*/ 45 w 49"/>
                    <a:gd name="T13" fmla="*/ 4 h 39"/>
                    <a:gd name="T14" fmla="*/ 0 60000 65536"/>
                    <a:gd name="T15" fmla="*/ 0 60000 65536"/>
                    <a:gd name="T16" fmla="*/ 0 60000 65536"/>
                    <a:gd name="T17" fmla="*/ 0 60000 65536"/>
                    <a:gd name="T18" fmla="*/ 0 60000 65536"/>
                    <a:gd name="T19" fmla="*/ 0 60000 65536"/>
                    <a:gd name="T20" fmla="*/ 0 60000 65536"/>
                    <a:gd name="T21" fmla="*/ 0 w 49"/>
                    <a:gd name="T22" fmla="*/ 0 h 39"/>
                    <a:gd name="T23" fmla="*/ 49 w 4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39">
                      <a:moveTo>
                        <a:pt x="45" y="4"/>
                      </a:moveTo>
                      <a:lnTo>
                        <a:pt x="28" y="0"/>
                      </a:lnTo>
                      <a:lnTo>
                        <a:pt x="0" y="16"/>
                      </a:lnTo>
                      <a:lnTo>
                        <a:pt x="10" y="39"/>
                      </a:lnTo>
                      <a:lnTo>
                        <a:pt x="49" y="16"/>
                      </a:lnTo>
                      <a:lnTo>
                        <a:pt x="45"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7" name="Freeform 216">
                  <a:extLst>
                    <a:ext uri="{FF2B5EF4-FFF2-40B4-BE49-F238E27FC236}">
                      <a16:creationId xmlns:a16="http://schemas.microsoft.com/office/drawing/2014/main" id="{0BB982E4-7274-4AD3-A2A0-E5955B36C8FF}"/>
                    </a:ext>
                  </a:extLst>
                </p:cNvPr>
                <p:cNvSpPr>
                  <a:spLocks/>
                </p:cNvSpPr>
                <p:nvPr/>
              </p:nvSpPr>
              <p:spPr bwMode="auto">
                <a:xfrm>
                  <a:off x="4278368" y="2043249"/>
                  <a:ext cx="15235" cy="20633"/>
                </a:xfrm>
                <a:custGeom>
                  <a:avLst/>
                  <a:gdLst>
                    <a:gd name="T0" fmla="*/ 0 w 11"/>
                    <a:gd name="T1" fmla="*/ 0 h 14"/>
                    <a:gd name="T2" fmla="*/ 11 w 11"/>
                    <a:gd name="T3" fmla="*/ 14 h 14"/>
                    <a:gd name="T4" fmla="*/ 11 w 11"/>
                    <a:gd name="T5" fmla="*/ 6 h 14"/>
                    <a:gd name="T6" fmla="*/ 6 w 11"/>
                    <a:gd name="T7" fmla="*/ 0 h 14"/>
                    <a:gd name="T8" fmla="*/ 0 w 11"/>
                    <a:gd name="T9" fmla="*/ 0 h 14"/>
                    <a:gd name="T10" fmla="*/ 0 w 11"/>
                    <a:gd name="T11" fmla="*/ 0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0" y="0"/>
                      </a:moveTo>
                      <a:lnTo>
                        <a:pt x="11" y="14"/>
                      </a:lnTo>
                      <a:lnTo>
                        <a:pt x="11" y="6"/>
                      </a:lnTo>
                      <a:lnTo>
                        <a:pt x="6" y="0"/>
                      </a:lnTo>
                      <a:lnTo>
                        <a:pt x="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8" name="Freeform 230">
                  <a:extLst>
                    <a:ext uri="{FF2B5EF4-FFF2-40B4-BE49-F238E27FC236}">
                      <a16:creationId xmlns:a16="http://schemas.microsoft.com/office/drawing/2014/main" id="{65DA84CB-36F0-4B04-A807-1E5B848685FB}"/>
                    </a:ext>
                  </a:extLst>
                </p:cNvPr>
                <p:cNvSpPr>
                  <a:spLocks/>
                </p:cNvSpPr>
                <p:nvPr/>
              </p:nvSpPr>
              <p:spPr bwMode="auto">
                <a:xfrm>
                  <a:off x="4371167" y="1831025"/>
                  <a:ext cx="76178" cy="47161"/>
                </a:xfrm>
                <a:custGeom>
                  <a:avLst/>
                  <a:gdLst>
                    <a:gd name="T0" fmla="*/ 17 w 55"/>
                    <a:gd name="T1" fmla="*/ 0 h 32"/>
                    <a:gd name="T2" fmla="*/ 0 w 55"/>
                    <a:gd name="T3" fmla="*/ 22 h 32"/>
                    <a:gd name="T4" fmla="*/ 11 w 55"/>
                    <a:gd name="T5" fmla="*/ 32 h 32"/>
                    <a:gd name="T6" fmla="*/ 29 w 55"/>
                    <a:gd name="T7" fmla="*/ 28 h 32"/>
                    <a:gd name="T8" fmla="*/ 39 w 55"/>
                    <a:gd name="T9" fmla="*/ 28 h 32"/>
                    <a:gd name="T10" fmla="*/ 49 w 55"/>
                    <a:gd name="T11" fmla="*/ 22 h 32"/>
                    <a:gd name="T12" fmla="*/ 45 w 55"/>
                    <a:gd name="T13" fmla="*/ 16 h 32"/>
                    <a:gd name="T14" fmla="*/ 55 w 55"/>
                    <a:gd name="T15" fmla="*/ 0 h 32"/>
                    <a:gd name="T16" fmla="*/ 17 w 55"/>
                    <a:gd name="T17" fmla="*/ 0 h 32"/>
                    <a:gd name="T18" fmla="*/ 17 w 55"/>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
                    <a:gd name="T31" fmla="*/ 0 h 32"/>
                    <a:gd name="T32" fmla="*/ 55 w 55"/>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 h="32">
                      <a:moveTo>
                        <a:pt x="17" y="0"/>
                      </a:moveTo>
                      <a:lnTo>
                        <a:pt x="0" y="22"/>
                      </a:lnTo>
                      <a:lnTo>
                        <a:pt x="11" y="32"/>
                      </a:lnTo>
                      <a:lnTo>
                        <a:pt x="29" y="28"/>
                      </a:lnTo>
                      <a:lnTo>
                        <a:pt x="39" y="28"/>
                      </a:lnTo>
                      <a:lnTo>
                        <a:pt x="49" y="22"/>
                      </a:lnTo>
                      <a:lnTo>
                        <a:pt x="45" y="16"/>
                      </a:lnTo>
                      <a:lnTo>
                        <a:pt x="55" y="0"/>
                      </a:lnTo>
                      <a:lnTo>
                        <a:pt x="1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9" name="Freeform 231">
                  <a:extLst>
                    <a:ext uri="{FF2B5EF4-FFF2-40B4-BE49-F238E27FC236}">
                      <a16:creationId xmlns:a16="http://schemas.microsoft.com/office/drawing/2014/main" id="{CBA5C208-FF11-4D41-9F8B-DA532196B5DB}"/>
                    </a:ext>
                  </a:extLst>
                </p:cNvPr>
                <p:cNvSpPr>
                  <a:spLocks/>
                </p:cNvSpPr>
                <p:nvPr/>
              </p:nvSpPr>
              <p:spPr bwMode="auto">
                <a:xfrm>
                  <a:off x="4433495" y="1788285"/>
                  <a:ext cx="168979" cy="75162"/>
                </a:xfrm>
                <a:custGeom>
                  <a:avLst/>
                  <a:gdLst>
                    <a:gd name="T0" fmla="*/ 122 w 122"/>
                    <a:gd name="T1" fmla="*/ 22 h 51"/>
                    <a:gd name="T2" fmla="*/ 116 w 122"/>
                    <a:gd name="T3" fmla="*/ 10 h 51"/>
                    <a:gd name="T4" fmla="*/ 100 w 122"/>
                    <a:gd name="T5" fmla="*/ 0 h 51"/>
                    <a:gd name="T6" fmla="*/ 61 w 122"/>
                    <a:gd name="T7" fmla="*/ 6 h 51"/>
                    <a:gd name="T8" fmla="*/ 55 w 122"/>
                    <a:gd name="T9" fmla="*/ 29 h 51"/>
                    <a:gd name="T10" fmla="*/ 10 w 122"/>
                    <a:gd name="T11" fmla="*/ 29 h 51"/>
                    <a:gd name="T12" fmla="*/ 0 w 122"/>
                    <a:gd name="T13" fmla="*/ 45 h 51"/>
                    <a:gd name="T14" fmla="*/ 4 w 122"/>
                    <a:gd name="T15" fmla="*/ 51 h 51"/>
                    <a:gd name="T16" fmla="*/ 16 w 122"/>
                    <a:gd name="T17" fmla="*/ 45 h 51"/>
                    <a:gd name="T18" fmla="*/ 39 w 122"/>
                    <a:gd name="T19" fmla="*/ 45 h 51"/>
                    <a:gd name="T20" fmla="*/ 45 w 122"/>
                    <a:gd name="T21" fmla="*/ 51 h 51"/>
                    <a:gd name="T22" fmla="*/ 71 w 122"/>
                    <a:gd name="T23" fmla="*/ 51 h 51"/>
                    <a:gd name="T24" fmla="*/ 106 w 122"/>
                    <a:gd name="T25" fmla="*/ 45 h 51"/>
                    <a:gd name="T26" fmla="*/ 122 w 122"/>
                    <a:gd name="T27" fmla="*/ 22 h 51"/>
                    <a:gd name="T28" fmla="*/ 122 w 122"/>
                    <a:gd name="T29" fmla="*/ 22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51"/>
                    <a:gd name="T47" fmla="*/ 122 w 122"/>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51">
                      <a:moveTo>
                        <a:pt x="122" y="22"/>
                      </a:moveTo>
                      <a:lnTo>
                        <a:pt x="116" y="10"/>
                      </a:lnTo>
                      <a:lnTo>
                        <a:pt x="100" y="0"/>
                      </a:lnTo>
                      <a:lnTo>
                        <a:pt x="61" y="6"/>
                      </a:lnTo>
                      <a:lnTo>
                        <a:pt x="55" y="29"/>
                      </a:lnTo>
                      <a:lnTo>
                        <a:pt x="10" y="29"/>
                      </a:lnTo>
                      <a:lnTo>
                        <a:pt x="0" y="45"/>
                      </a:lnTo>
                      <a:lnTo>
                        <a:pt x="4" y="51"/>
                      </a:lnTo>
                      <a:lnTo>
                        <a:pt x="16" y="45"/>
                      </a:lnTo>
                      <a:lnTo>
                        <a:pt x="39" y="45"/>
                      </a:lnTo>
                      <a:lnTo>
                        <a:pt x="45" y="51"/>
                      </a:lnTo>
                      <a:lnTo>
                        <a:pt x="71" y="51"/>
                      </a:lnTo>
                      <a:lnTo>
                        <a:pt x="106" y="45"/>
                      </a:lnTo>
                      <a:lnTo>
                        <a:pt x="122"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grpSp>
            <p:nvGrpSpPr>
              <p:cNvPr id="409" name="Group 415">
                <a:extLst>
                  <a:ext uri="{FF2B5EF4-FFF2-40B4-BE49-F238E27FC236}">
                    <a16:creationId xmlns:a16="http://schemas.microsoft.com/office/drawing/2014/main" id="{3D781AC9-EC0A-4B7C-BE13-3155DD2EEF61}"/>
                  </a:ext>
                </a:extLst>
              </p:cNvPr>
              <p:cNvGrpSpPr/>
              <p:nvPr/>
            </p:nvGrpSpPr>
            <p:grpSpPr>
              <a:xfrm>
                <a:off x="3092752" y="973285"/>
                <a:ext cx="4652429" cy="1411881"/>
                <a:chOff x="3092752" y="973285"/>
                <a:chExt cx="4652429" cy="1411881"/>
              </a:xfrm>
              <a:grpFill/>
            </p:grpSpPr>
            <p:sp>
              <p:nvSpPr>
                <p:cNvPr id="410" name="Freeform 142">
                  <a:extLst>
                    <a:ext uri="{FF2B5EF4-FFF2-40B4-BE49-F238E27FC236}">
                      <a16:creationId xmlns:a16="http://schemas.microsoft.com/office/drawing/2014/main" id="{F4409CE1-9F58-4D71-84C3-61EDC2F6C34A}"/>
                    </a:ext>
                  </a:extLst>
                </p:cNvPr>
                <p:cNvSpPr>
                  <a:spLocks/>
                </p:cNvSpPr>
                <p:nvPr/>
              </p:nvSpPr>
              <p:spPr bwMode="auto">
                <a:xfrm>
                  <a:off x="6116346" y="1710174"/>
                  <a:ext cx="714693" cy="288861"/>
                </a:xfrm>
                <a:custGeom>
                  <a:avLst/>
                  <a:gdLst/>
                  <a:ahLst/>
                  <a:cxnLst>
                    <a:cxn ang="0">
                      <a:pos x="271" y="34"/>
                    </a:cxn>
                    <a:cxn ang="0">
                      <a:pos x="222" y="34"/>
                    </a:cxn>
                    <a:cxn ang="0">
                      <a:pos x="200" y="12"/>
                    </a:cxn>
                    <a:cxn ang="0">
                      <a:pos x="139" y="0"/>
                    </a:cxn>
                    <a:cxn ang="0">
                      <a:pos x="149" y="40"/>
                    </a:cxn>
                    <a:cxn ang="0">
                      <a:pos x="95" y="40"/>
                    </a:cxn>
                    <a:cxn ang="0">
                      <a:pos x="83" y="28"/>
                    </a:cxn>
                    <a:cxn ang="0">
                      <a:pos x="44" y="28"/>
                    </a:cxn>
                    <a:cxn ang="0">
                      <a:pos x="0" y="51"/>
                    </a:cxn>
                    <a:cxn ang="0">
                      <a:pos x="10" y="73"/>
                    </a:cxn>
                    <a:cxn ang="0">
                      <a:pos x="50" y="79"/>
                    </a:cxn>
                    <a:cxn ang="0">
                      <a:pos x="76" y="107"/>
                    </a:cxn>
                    <a:cxn ang="0">
                      <a:pos x="76" y="130"/>
                    </a:cxn>
                    <a:cxn ang="0">
                      <a:pos x="166" y="152"/>
                    </a:cxn>
                    <a:cxn ang="0">
                      <a:pos x="194" y="174"/>
                    </a:cxn>
                    <a:cxn ang="0">
                      <a:pos x="271" y="180"/>
                    </a:cxn>
                    <a:cxn ang="0">
                      <a:pos x="344" y="196"/>
                    </a:cxn>
                    <a:cxn ang="0">
                      <a:pos x="376" y="180"/>
                    </a:cxn>
                    <a:cxn ang="0">
                      <a:pos x="411" y="180"/>
                    </a:cxn>
                    <a:cxn ang="0">
                      <a:pos x="433" y="152"/>
                    </a:cxn>
                    <a:cxn ang="0">
                      <a:pos x="421" y="130"/>
                    </a:cxn>
                    <a:cxn ang="0">
                      <a:pos x="449" y="130"/>
                    </a:cxn>
                    <a:cxn ang="0">
                      <a:pos x="516" y="95"/>
                    </a:cxn>
                    <a:cxn ang="0">
                      <a:pos x="500" y="73"/>
                    </a:cxn>
                    <a:cxn ang="0">
                      <a:pos x="477" y="79"/>
                    </a:cxn>
                    <a:cxn ang="0">
                      <a:pos x="449" y="73"/>
                    </a:cxn>
                    <a:cxn ang="0">
                      <a:pos x="437" y="57"/>
                    </a:cxn>
                    <a:cxn ang="0">
                      <a:pos x="443" y="40"/>
                    </a:cxn>
                    <a:cxn ang="0">
                      <a:pos x="394" y="40"/>
                    </a:cxn>
                    <a:cxn ang="0">
                      <a:pos x="382" y="51"/>
                    </a:cxn>
                    <a:cxn ang="0">
                      <a:pos x="311" y="51"/>
                    </a:cxn>
                    <a:cxn ang="0">
                      <a:pos x="271" y="34"/>
                    </a:cxn>
                    <a:cxn ang="0">
                      <a:pos x="271" y="34"/>
                    </a:cxn>
                  </a:cxnLst>
                  <a:rect l="0" t="0" r="r" b="b"/>
                  <a:pathLst>
                    <a:path w="516" h="196">
                      <a:moveTo>
                        <a:pt x="271" y="34"/>
                      </a:moveTo>
                      <a:lnTo>
                        <a:pt x="222" y="34"/>
                      </a:lnTo>
                      <a:lnTo>
                        <a:pt x="200" y="12"/>
                      </a:lnTo>
                      <a:lnTo>
                        <a:pt x="139" y="0"/>
                      </a:lnTo>
                      <a:lnTo>
                        <a:pt x="149" y="40"/>
                      </a:lnTo>
                      <a:lnTo>
                        <a:pt x="95" y="40"/>
                      </a:lnTo>
                      <a:lnTo>
                        <a:pt x="83" y="28"/>
                      </a:lnTo>
                      <a:lnTo>
                        <a:pt x="44" y="28"/>
                      </a:lnTo>
                      <a:lnTo>
                        <a:pt x="0" y="51"/>
                      </a:lnTo>
                      <a:lnTo>
                        <a:pt x="10" y="73"/>
                      </a:lnTo>
                      <a:lnTo>
                        <a:pt x="50" y="79"/>
                      </a:lnTo>
                      <a:lnTo>
                        <a:pt x="76" y="107"/>
                      </a:lnTo>
                      <a:lnTo>
                        <a:pt x="76" y="130"/>
                      </a:lnTo>
                      <a:lnTo>
                        <a:pt x="166" y="152"/>
                      </a:lnTo>
                      <a:lnTo>
                        <a:pt x="194" y="174"/>
                      </a:lnTo>
                      <a:lnTo>
                        <a:pt x="271" y="180"/>
                      </a:lnTo>
                      <a:lnTo>
                        <a:pt x="344" y="196"/>
                      </a:lnTo>
                      <a:lnTo>
                        <a:pt x="376" y="180"/>
                      </a:lnTo>
                      <a:lnTo>
                        <a:pt x="411" y="180"/>
                      </a:lnTo>
                      <a:lnTo>
                        <a:pt x="433" y="152"/>
                      </a:lnTo>
                      <a:lnTo>
                        <a:pt x="421" y="130"/>
                      </a:lnTo>
                      <a:lnTo>
                        <a:pt x="449" y="130"/>
                      </a:lnTo>
                      <a:lnTo>
                        <a:pt x="516" y="95"/>
                      </a:lnTo>
                      <a:lnTo>
                        <a:pt x="500" y="73"/>
                      </a:lnTo>
                      <a:lnTo>
                        <a:pt x="477" y="79"/>
                      </a:lnTo>
                      <a:lnTo>
                        <a:pt x="449" y="73"/>
                      </a:lnTo>
                      <a:lnTo>
                        <a:pt x="437" y="57"/>
                      </a:lnTo>
                      <a:lnTo>
                        <a:pt x="443" y="40"/>
                      </a:lnTo>
                      <a:lnTo>
                        <a:pt x="394" y="40"/>
                      </a:lnTo>
                      <a:lnTo>
                        <a:pt x="382" y="51"/>
                      </a:lnTo>
                      <a:lnTo>
                        <a:pt x="311" y="51"/>
                      </a:lnTo>
                      <a:lnTo>
                        <a:pt x="271" y="34"/>
                      </a:lnTo>
                      <a:lnTo>
                        <a:pt x="271" y="3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1" name="Freeform 143">
                  <a:extLst>
                    <a:ext uri="{FF2B5EF4-FFF2-40B4-BE49-F238E27FC236}">
                      <a16:creationId xmlns:a16="http://schemas.microsoft.com/office/drawing/2014/main" id="{D4506046-CD7F-4212-831E-213E9FC7E2EE}"/>
                    </a:ext>
                  </a:extLst>
                </p:cNvPr>
                <p:cNvSpPr>
                  <a:spLocks noEditPoints="1"/>
                </p:cNvSpPr>
                <p:nvPr/>
              </p:nvSpPr>
              <p:spPr bwMode="auto">
                <a:xfrm>
                  <a:off x="5232676" y="1620275"/>
                  <a:ext cx="851814" cy="403816"/>
                </a:xfrm>
                <a:custGeom>
                  <a:avLst/>
                  <a:gdLst/>
                  <a:ahLst/>
                  <a:cxnLst>
                    <a:cxn ang="0">
                      <a:pos x="204" y="35"/>
                    </a:cxn>
                    <a:cxn ang="0">
                      <a:pos x="204" y="51"/>
                    </a:cxn>
                    <a:cxn ang="0">
                      <a:pos x="229" y="73"/>
                    </a:cxn>
                    <a:cxn ang="0">
                      <a:pos x="194" y="89"/>
                    </a:cxn>
                    <a:cxn ang="0">
                      <a:pos x="150" y="85"/>
                    </a:cxn>
                    <a:cxn ang="0">
                      <a:pos x="111" y="79"/>
                    </a:cxn>
                    <a:cxn ang="0">
                      <a:pos x="50" y="79"/>
                    </a:cxn>
                    <a:cxn ang="0">
                      <a:pos x="38" y="101"/>
                    </a:cxn>
                    <a:cxn ang="0">
                      <a:pos x="12" y="95"/>
                    </a:cxn>
                    <a:cxn ang="0">
                      <a:pos x="6" y="134"/>
                    </a:cxn>
                    <a:cxn ang="0">
                      <a:pos x="16" y="146"/>
                    </a:cxn>
                    <a:cxn ang="0">
                      <a:pos x="44" y="168"/>
                    </a:cxn>
                    <a:cxn ang="0">
                      <a:pos x="99" y="156"/>
                    </a:cxn>
                    <a:cxn ang="0">
                      <a:pos x="83" y="191"/>
                    </a:cxn>
                    <a:cxn ang="0">
                      <a:pos x="99" y="235"/>
                    </a:cxn>
                    <a:cxn ang="0">
                      <a:pos x="121" y="251"/>
                    </a:cxn>
                    <a:cxn ang="0">
                      <a:pos x="162" y="257"/>
                    </a:cxn>
                    <a:cxn ang="0">
                      <a:pos x="166" y="195"/>
                    </a:cxn>
                    <a:cxn ang="0">
                      <a:pos x="200" y="178"/>
                    </a:cxn>
                    <a:cxn ang="0">
                      <a:pos x="289" y="223"/>
                    </a:cxn>
                    <a:cxn ang="0">
                      <a:pos x="316" y="223"/>
                    </a:cxn>
                    <a:cxn ang="0">
                      <a:pos x="354" y="268"/>
                    </a:cxn>
                    <a:cxn ang="0">
                      <a:pos x="388" y="274"/>
                    </a:cxn>
                    <a:cxn ang="0">
                      <a:pos x="417" y="245"/>
                    </a:cxn>
                    <a:cxn ang="0">
                      <a:pos x="455" y="245"/>
                    </a:cxn>
                    <a:cxn ang="0">
                      <a:pos x="544" y="241"/>
                    </a:cxn>
                    <a:cxn ang="0">
                      <a:pos x="565" y="219"/>
                    </a:cxn>
                    <a:cxn ang="0">
                      <a:pos x="583" y="191"/>
                    </a:cxn>
                    <a:cxn ang="0">
                      <a:pos x="615" y="152"/>
                    </a:cxn>
                    <a:cxn ang="0">
                      <a:pos x="615" y="124"/>
                    </a:cxn>
                    <a:cxn ang="0">
                      <a:pos x="565" y="89"/>
                    </a:cxn>
                    <a:cxn ang="0">
                      <a:pos x="459" y="41"/>
                    </a:cxn>
                    <a:cxn ang="0">
                      <a:pos x="395" y="45"/>
                    </a:cxn>
                    <a:cxn ang="0">
                      <a:pos x="350" y="23"/>
                    </a:cxn>
                    <a:cxn ang="0">
                      <a:pos x="305" y="0"/>
                    </a:cxn>
                    <a:cxn ang="0">
                      <a:pos x="267" y="18"/>
                    </a:cxn>
                    <a:cxn ang="0">
                      <a:pos x="255" y="29"/>
                    </a:cxn>
                    <a:cxn ang="0">
                      <a:pos x="532" y="178"/>
                    </a:cxn>
                    <a:cxn ang="0">
                      <a:pos x="522" y="195"/>
                    </a:cxn>
                    <a:cxn ang="0">
                      <a:pos x="478" y="201"/>
                    </a:cxn>
                    <a:cxn ang="0">
                      <a:pos x="455" y="213"/>
                    </a:cxn>
                    <a:cxn ang="0">
                      <a:pos x="471" y="184"/>
                    </a:cxn>
                    <a:cxn ang="0">
                      <a:pos x="516" y="184"/>
                    </a:cxn>
                  </a:cxnLst>
                  <a:rect l="0" t="0" r="r" b="b"/>
                  <a:pathLst>
                    <a:path w="615" h="274">
                      <a:moveTo>
                        <a:pt x="255" y="29"/>
                      </a:moveTo>
                      <a:lnTo>
                        <a:pt x="204" y="35"/>
                      </a:lnTo>
                      <a:lnTo>
                        <a:pt x="222" y="51"/>
                      </a:lnTo>
                      <a:lnTo>
                        <a:pt x="204" y="51"/>
                      </a:lnTo>
                      <a:lnTo>
                        <a:pt x="200" y="67"/>
                      </a:lnTo>
                      <a:lnTo>
                        <a:pt x="229" y="73"/>
                      </a:lnTo>
                      <a:lnTo>
                        <a:pt x="229" y="85"/>
                      </a:lnTo>
                      <a:lnTo>
                        <a:pt x="194" y="89"/>
                      </a:lnTo>
                      <a:lnTo>
                        <a:pt x="172" y="85"/>
                      </a:lnTo>
                      <a:lnTo>
                        <a:pt x="150" y="85"/>
                      </a:lnTo>
                      <a:lnTo>
                        <a:pt x="121" y="95"/>
                      </a:lnTo>
                      <a:lnTo>
                        <a:pt x="111" y="79"/>
                      </a:lnTo>
                      <a:lnTo>
                        <a:pt x="79" y="73"/>
                      </a:lnTo>
                      <a:lnTo>
                        <a:pt x="50" y="79"/>
                      </a:lnTo>
                      <a:lnTo>
                        <a:pt x="34" y="95"/>
                      </a:lnTo>
                      <a:lnTo>
                        <a:pt x="38" y="101"/>
                      </a:lnTo>
                      <a:lnTo>
                        <a:pt x="28" y="108"/>
                      </a:lnTo>
                      <a:lnTo>
                        <a:pt x="12" y="95"/>
                      </a:lnTo>
                      <a:lnTo>
                        <a:pt x="0" y="112"/>
                      </a:lnTo>
                      <a:lnTo>
                        <a:pt x="6" y="134"/>
                      </a:lnTo>
                      <a:lnTo>
                        <a:pt x="16" y="134"/>
                      </a:lnTo>
                      <a:lnTo>
                        <a:pt x="16" y="146"/>
                      </a:lnTo>
                      <a:lnTo>
                        <a:pt x="28" y="146"/>
                      </a:lnTo>
                      <a:lnTo>
                        <a:pt x="44" y="168"/>
                      </a:lnTo>
                      <a:lnTo>
                        <a:pt x="73" y="156"/>
                      </a:lnTo>
                      <a:lnTo>
                        <a:pt x="99" y="156"/>
                      </a:lnTo>
                      <a:lnTo>
                        <a:pt x="111" y="184"/>
                      </a:lnTo>
                      <a:lnTo>
                        <a:pt x="83" y="191"/>
                      </a:lnTo>
                      <a:lnTo>
                        <a:pt x="79" y="207"/>
                      </a:lnTo>
                      <a:lnTo>
                        <a:pt x="99" y="235"/>
                      </a:lnTo>
                      <a:lnTo>
                        <a:pt x="121" y="241"/>
                      </a:lnTo>
                      <a:lnTo>
                        <a:pt x="121" y="251"/>
                      </a:lnTo>
                      <a:lnTo>
                        <a:pt x="144" y="245"/>
                      </a:lnTo>
                      <a:lnTo>
                        <a:pt x="162" y="257"/>
                      </a:lnTo>
                      <a:lnTo>
                        <a:pt x="178" y="261"/>
                      </a:lnTo>
                      <a:lnTo>
                        <a:pt x="166" y="195"/>
                      </a:lnTo>
                      <a:lnTo>
                        <a:pt x="188" y="191"/>
                      </a:lnTo>
                      <a:lnTo>
                        <a:pt x="200" y="178"/>
                      </a:lnTo>
                      <a:lnTo>
                        <a:pt x="267" y="223"/>
                      </a:lnTo>
                      <a:lnTo>
                        <a:pt x="289" y="223"/>
                      </a:lnTo>
                      <a:lnTo>
                        <a:pt x="305" y="229"/>
                      </a:lnTo>
                      <a:lnTo>
                        <a:pt x="316" y="223"/>
                      </a:lnTo>
                      <a:lnTo>
                        <a:pt x="338" y="241"/>
                      </a:lnTo>
                      <a:lnTo>
                        <a:pt x="354" y="268"/>
                      </a:lnTo>
                      <a:lnTo>
                        <a:pt x="372" y="268"/>
                      </a:lnTo>
                      <a:lnTo>
                        <a:pt x="388" y="274"/>
                      </a:lnTo>
                      <a:lnTo>
                        <a:pt x="399" y="257"/>
                      </a:lnTo>
                      <a:lnTo>
                        <a:pt x="417" y="245"/>
                      </a:lnTo>
                      <a:lnTo>
                        <a:pt x="427" y="235"/>
                      </a:lnTo>
                      <a:lnTo>
                        <a:pt x="455" y="245"/>
                      </a:lnTo>
                      <a:lnTo>
                        <a:pt x="459" y="235"/>
                      </a:lnTo>
                      <a:lnTo>
                        <a:pt x="544" y="241"/>
                      </a:lnTo>
                      <a:lnTo>
                        <a:pt x="565" y="245"/>
                      </a:lnTo>
                      <a:lnTo>
                        <a:pt x="565" y="219"/>
                      </a:lnTo>
                      <a:lnTo>
                        <a:pt x="548" y="191"/>
                      </a:lnTo>
                      <a:lnTo>
                        <a:pt x="583" y="191"/>
                      </a:lnTo>
                      <a:lnTo>
                        <a:pt x="577" y="156"/>
                      </a:lnTo>
                      <a:lnTo>
                        <a:pt x="615" y="152"/>
                      </a:lnTo>
                      <a:lnTo>
                        <a:pt x="605" y="134"/>
                      </a:lnTo>
                      <a:lnTo>
                        <a:pt x="615" y="124"/>
                      </a:lnTo>
                      <a:lnTo>
                        <a:pt x="615" y="112"/>
                      </a:lnTo>
                      <a:lnTo>
                        <a:pt x="565" y="89"/>
                      </a:lnTo>
                      <a:lnTo>
                        <a:pt x="510" y="89"/>
                      </a:lnTo>
                      <a:lnTo>
                        <a:pt x="459" y="41"/>
                      </a:lnTo>
                      <a:lnTo>
                        <a:pt x="439" y="23"/>
                      </a:lnTo>
                      <a:lnTo>
                        <a:pt x="395" y="45"/>
                      </a:lnTo>
                      <a:lnTo>
                        <a:pt x="388" y="35"/>
                      </a:lnTo>
                      <a:lnTo>
                        <a:pt x="350" y="23"/>
                      </a:lnTo>
                      <a:lnTo>
                        <a:pt x="338" y="6"/>
                      </a:lnTo>
                      <a:lnTo>
                        <a:pt x="305" y="0"/>
                      </a:lnTo>
                      <a:lnTo>
                        <a:pt x="299" y="12"/>
                      </a:lnTo>
                      <a:lnTo>
                        <a:pt x="267" y="18"/>
                      </a:lnTo>
                      <a:lnTo>
                        <a:pt x="255" y="29"/>
                      </a:lnTo>
                      <a:lnTo>
                        <a:pt x="255" y="29"/>
                      </a:lnTo>
                      <a:close/>
                      <a:moveTo>
                        <a:pt x="516" y="184"/>
                      </a:moveTo>
                      <a:lnTo>
                        <a:pt x="532" y="178"/>
                      </a:lnTo>
                      <a:lnTo>
                        <a:pt x="532" y="191"/>
                      </a:lnTo>
                      <a:lnTo>
                        <a:pt x="522" y="195"/>
                      </a:lnTo>
                      <a:lnTo>
                        <a:pt x="500" y="195"/>
                      </a:lnTo>
                      <a:lnTo>
                        <a:pt x="478" y="201"/>
                      </a:lnTo>
                      <a:lnTo>
                        <a:pt x="465" y="213"/>
                      </a:lnTo>
                      <a:lnTo>
                        <a:pt x="455" y="213"/>
                      </a:lnTo>
                      <a:lnTo>
                        <a:pt x="455" y="201"/>
                      </a:lnTo>
                      <a:lnTo>
                        <a:pt x="471" y="184"/>
                      </a:lnTo>
                      <a:lnTo>
                        <a:pt x="500" y="178"/>
                      </a:lnTo>
                      <a:lnTo>
                        <a:pt x="516" y="184"/>
                      </a:lnTo>
                      <a:lnTo>
                        <a:pt x="516" y="18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2" name="Freeform 144">
                  <a:extLst>
                    <a:ext uri="{FF2B5EF4-FFF2-40B4-BE49-F238E27FC236}">
                      <a16:creationId xmlns:a16="http://schemas.microsoft.com/office/drawing/2014/main" id="{33D3D315-6288-4A6F-B8FF-3399A64040B7}"/>
                    </a:ext>
                  </a:extLst>
                </p:cNvPr>
                <p:cNvSpPr>
                  <a:spLocks/>
                </p:cNvSpPr>
                <p:nvPr/>
              </p:nvSpPr>
              <p:spPr bwMode="auto">
                <a:xfrm>
                  <a:off x="5753460" y="2024089"/>
                  <a:ext cx="193910" cy="106112"/>
                </a:xfrm>
                <a:custGeom>
                  <a:avLst/>
                  <a:gdLst/>
                  <a:ahLst/>
                  <a:cxnLst>
                    <a:cxn ang="0">
                      <a:pos x="118" y="38"/>
                    </a:cxn>
                    <a:cxn ang="0">
                      <a:pos x="112" y="28"/>
                    </a:cxn>
                    <a:cxn ang="0">
                      <a:pos x="79" y="34"/>
                    </a:cxn>
                    <a:cxn ang="0">
                      <a:pos x="41" y="28"/>
                    </a:cxn>
                    <a:cxn ang="0">
                      <a:pos x="29" y="16"/>
                    </a:cxn>
                    <a:cxn ang="0">
                      <a:pos x="45" y="12"/>
                    </a:cxn>
                    <a:cxn ang="0">
                      <a:pos x="41" y="0"/>
                    </a:cxn>
                    <a:cxn ang="0">
                      <a:pos x="23" y="0"/>
                    </a:cxn>
                    <a:cxn ang="0">
                      <a:pos x="19" y="16"/>
                    </a:cxn>
                    <a:cxn ang="0">
                      <a:pos x="12" y="22"/>
                    </a:cxn>
                    <a:cxn ang="0">
                      <a:pos x="0" y="28"/>
                    </a:cxn>
                    <a:cxn ang="0">
                      <a:pos x="12" y="38"/>
                    </a:cxn>
                    <a:cxn ang="0">
                      <a:pos x="19" y="54"/>
                    </a:cxn>
                    <a:cxn ang="0">
                      <a:pos x="12" y="60"/>
                    </a:cxn>
                    <a:cxn ang="0">
                      <a:pos x="23" y="72"/>
                    </a:cxn>
                    <a:cxn ang="0">
                      <a:pos x="57" y="60"/>
                    </a:cxn>
                    <a:cxn ang="0">
                      <a:pos x="67" y="44"/>
                    </a:cxn>
                    <a:cxn ang="0">
                      <a:pos x="83" y="54"/>
                    </a:cxn>
                    <a:cxn ang="0">
                      <a:pos x="83" y="72"/>
                    </a:cxn>
                    <a:cxn ang="0">
                      <a:pos x="102" y="66"/>
                    </a:cxn>
                    <a:cxn ang="0">
                      <a:pos x="106" y="54"/>
                    </a:cxn>
                    <a:cxn ang="0">
                      <a:pos x="140" y="60"/>
                    </a:cxn>
                    <a:cxn ang="0">
                      <a:pos x="134" y="44"/>
                    </a:cxn>
                    <a:cxn ang="0">
                      <a:pos x="118" y="38"/>
                    </a:cxn>
                    <a:cxn ang="0">
                      <a:pos x="118" y="38"/>
                    </a:cxn>
                  </a:cxnLst>
                  <a:rect l="0" t="0" r="r" b="b"/>
                  <a:pathLst>
                    <a:path w="140" h="72">
                      <a:moveTo>
                        <a:pt x="118" y="38"/>
                      </a:moveTo>
                      <a:lnTo>
                        <a:pt x="112" y="28"/>
                      </a:lnTo>
                      <a:lnTo>
                        <a:pt x="79" y="34"/>
                      </a:lnTo>
                      <a:lnTo>
                        <a:pt x="41" y="28"/>
                      </a:lnTo>
                      <a:lnTo>
                        <a:pt x="29" y="16"/>
                      </a:lnTo>
                      <a:lnTo>
                        <a:pt x="45" y="12"/>
                      </a:lnTo>
                      <a:lnTo>
                        <a:pt x="41" y="0"/>
                      </a:lnTo>
                      <a:lnTo>
                        <a:pt x="23" y="0"/>
                      </a:lnTo>
                      <a:lnTo>
                        <a:pt x="19" y="16"/>
                      </a:lnTo>
                      <a:lnTo>
                        <a:pt x="12" y="22"/>
                      </a:lnTo>
                      <a:lnTo>
                        <a:pt x="0" y="28"/>
                      </a:lnTo>
                      <a:lnTo>
                        <a:pt x="12" y="38"/>
                      </a:lnTo>
                      <a:lnTo>
                        <a:pt x="19" y="54"/>
                      </a:lnTo>
                      <a:lnTo>
                        <a:pt x="12" y="60"/>
                      </a:lnTo>
                      <a:lnTo>
                        <a:pt x="23" y="72"/>
                      </a:lnTo>
                      <a:lnTo>
                        <a:pt x="57" y="60"/>
                      </a:lnTo>
                      <a:lnTo>
                        <a:pt x="67" y="44"/>
                      </a:lnTo>
                      <a:lnTo>
                        <a:pt x="83" y="54"/>
                      </a:lnTo>
                      <a:lnTo>
                        <a:pt x="83" y="72"/>
                      </a:lnTo>
                      <a:lnTo>
                        <a:pt x="102" y="66"/>
                      </a:lnTo>
                      <a:lnTo>
                        <a:pt x="106" y="54"/>
                      </a:lnTo>
                      <a:lnTo>
                        <a:pt x="140" y="60"/>
                      </a:lnTo>
                      <a:lnTo>
                        <a:pt x="134" y="44"/>
                      </a:lnTo>
                      <a:lnTo>
                        <a:pt x="118" y="38"/>
                      </a:lnTo>
                      <a:lnTo>
                        <a:pt x="118" y="3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3" name="Freeform 145">
                  <a:extLst>
                    <a:ext uri="{FF2B5EF4-FFF2-40B4-BE49-F238E27FC236}">
                      <a16:creationId xmlns:a16="http://schemas.microsoft.com/office/drawing/2014/main" id="{3F52F743-6A34-4BAE-8C52-6BF6B7026674}"/>
                    </a:ext>
                  </a:extLst>
                </p:cNvPr>
                <p:cNvSpPr>
                  <a:spLocks/>
                </p:cNvSpPr>
                <p:nvPr/>
              </p:nvSpPr>
              <p:spPr bwMode="auto">
                <a:xfrm>
                  <a:off x="3092752" y="973285"/>
                  <a:ext cx="950153" cy="539403"/>
                </a:xfrm>
                <a:custGeom>
                  <a:avLst/>
                  <a:gdLst/>
                  <a:ahLst/>
                  <a:cxnLst>
                    <a:cxn ang="0">
                      <a:pos x="664" y="16"/>
                    </a:cxn>
                    <a:cxn ang="0">
                      <a:pos x="581" y="12"/>
                    </a:cxn>
                    <a:cxn ang="0">
                      <a:pos x="537" y="34"/>
                    </a:cxn>
                    <a:cxn ang="0">
                      <a:pos x="476" y="22"/>
                    </a:cxn>
                    <a:cxn ang="0">
                      <a:pos x="447" y="12"/>
                    </a:cxn>
                    <a:cxn ang="0">
                      <a:pos x="415" y="0"/>
                    </a:cxn>
                    <a:cxn ang="0">
                      <a:pos x="377" y="12"/>
                    </a:cxn>
                    <a:cxn ang="0">
                      <a:pos x="332" y="6"/>
                    </a:cxn>
                    <a:cxn ang="0">
                      <a:pos x="332" y="28"/>
                    </a:cxn>
                    <a:cxn ang="0">
                      <a:pos x="288" y="16"/>
                    </a:cxn>
                    <a:cxn ang="0">
                      <a:pos x="259" y="22"/>
                    </a:cxn>
                    <a:cxn ang="0">
                      <a:pos x="237" y="16"/>
                    </a:cxn>
                    <a:cxn ang="0">
                      <a:pos x="192" y="22"/>
                    </a:cxn>
                    <a:cxn ang="0">
                      <a:pos x="105" y="38"/>
                    </a:cxn>
                    <a:cxn ang="0">
                      <a:pos x="83" y="57"/>
                    </a:cxn>
                    <a:cxn ang="0">
                      <a:pos x="4" y="73"/>
                    </a:cxn>
                    <a:cxn ang="0">
                      <a:pos x="4" y="95"/>
                    </a:cxn>
                    <a:cxn ang="0">
                      <a:pos x="55" y="101"/>
                    </a:cxn>
                    <a:cxn ang="0">
                      <a:pos x="144" y="117"/>
                    </a:cxn>
                    <a:cxn ang="0">
                      <a:pos x="132" y="156"/>
                    </a:cxn>
                    <a:cxn ang="0">
                      <a:pos x="144" y="168"/>
                    </a:cxn>
                    <a:cxn ang="0">
                      <a:pos x="160" y="172"/>
                    </a:cxn>
                    <a:cxn ang="0">
                      <a:pos x="170" y="190"/>
                    </a:cxn>
                    <a:cxn ang="0">
                      <a:pos x="144" y="190"/>
                    </a:cxn>
                    <a:cxn ang="0">
                      <a:pos x="166" y="213"/>
                    </a:cxn>
                    <a:cxn ang="0">
                      <a:pos x="126" y="235"/>
                    </a:cxn>
                    <a:cxn ang="0">
                      <a:pos x="115" y="261"/>
                    </a:cxn>
                    <a:cxn ang="0">
                      <a:pos x="121" y="279"/>
                    </a:cxn>
                    <a:cxn ang="0">
                      <a:pos x="121" y="289"/>
                    </a:cxn>
                    <a:cxn ang="0">
                      <a:pos x="126" y="302"/>
                    </a:cxn>
                    <a:cxn ang="0">
                      <a:pos x="144" y="340"/>
                    </a:cxn>
                    <a:cxn ang="0">
                      <a:pos x="176" y="346"/>
                    </a:cxn>
                    <a:cxn ang="0">
                      <a:pos x="204" y="362"/>
                    </a:cxn>
                    <a:cxn ang="0">
                      <a:pos x="227" y="318"/>
                    </a:cxn>
                    <a:cxn ang="0">
                      <a:pos x="275" y="283"/>
                    </a:cxn>
                    <a:cxn ang="0">
                      <a:pos x="310" y="267"/>
                    </a:cxn>
                    <a:cxn ang="0">
                      <a:pos x="381" y="229"/>
                    </a:cxn>
                    <a:cxn ang="0">
                      <a:pos x="537" y="194"/>
                    </a:cxn>
                    <a:cxn ang="0">
                      <a:pos x="464" y="190"/>
                    </a:cxn>
                    <a:cxn ang="0">
                      <a:pos x="492" y="178"/>
                    </a:cxn>
                    <a:cxn ang="0">
                      <a:pos x="510" y="168"/>
                    </a:cxn>
                    <a:cxn ang="0">
                      <a:pos x="530" y="178"/>
                    </a:cxn>
                    <a:cxn ang="0">
                      <a:pos x="549" y="178"/>
                    </a:cxn>
                    <a:cxn ang="0">
                      <a:pos x="520" y="156"/>
                    </a:cxn>
                    <a:cxn ang="0">
                      <a:pos x="530" y="150"/>
                    </a:cxn>
                    <a:cxn ang="0">
                      <a:pos x="543" y="134"/>
                    </a:cxn>
                    <a:cxn ang="0">
                      <a:pos x="571" y="127"/>
                    </a:cxn>
                    <a:cxn ang="0">
                      <a:pos x="581" y="123"/>
                    </a:cxn>
                    <a:cxn ang="0">
                      <a:pos x="587" y="111"/>
                    </a:cxn>
                    <a:cxn ang="0">
                      <a:pos x="587" y="95"/>
                    </a:cxn>
                    <a:cxn ang="0">
                      <a:pos x="597" y="117"/>
                    </a:cxn>
                    <a:cxn ang="0">
                      <a:pos x="609" y="101"/>
                    </a:cxn>
                    <a:cxn ang="0">
                      <a:pos x="565" y="73"/>
                    </a:cxn>
                    <a:cxn ang="0">
                      <a:pos x="609" y="44"/>
                    </a:cxn>
                    <a:cxn ang="0">
                      <a:pos x="686" y="28"/>
                    </a:cxn>
                  </a:cxnLst>
                  <a:rect l="0" t="0" r="r" b="b"/>
                  <a:pathLst>
                    <a:path w="686" h="366">
                      <a:moveTo>
                        <a:pt x="686" y="28"/>
                      </a:moveTo>
                      <a:lnTo>
                        <a:pt x="664" y="16"/>
                      </a:lnTo>
                      <a:lnTo>
                        <a:pt x="565" y="38"/>
                      </a:lnTo>
                      <a:lnTo>
                        <a:pt x="581" y="12"/>
                      </a:lnTo>
                      <a:lnTo>
                        <a:pt x="553" y="16"/>
                      </a:lnTo>
                      <a:lnTo>
                        <a:pt x="537" y="34"/>
                      </a:lnTo>
                      <a:lnTo>
                        <a:pt x="537" y="16"/>
                      </a:lnTo>
                      <a:lnTo>
                        <a:pt x="476" y="22"/>
                      </a:lnTo>
                      <a:lnTo>
                        <a:pt x="526" y="6"/>
                      </a:lnTo>
                      <a:lnTo>
                        <a:pt x="447" y="12"/>
                      </a:lnTo>
                      <a:lnTo>
                        <a:pt x="447" y="0"/>
                      </a:lnTo>
                      <a:lnTo>
                        <a:pt x="415" y="0"/>
                      </a:lnTo>
                      <a:lnTo>
                        <a:pt x="403" y="12"/>
                      </a:lnTo>
                      <a:lnTo>
                        <a:pt x="377" y="12"/>
                      </a:lnTo>
                      <a:lnTo>
                        <a:pt x="377" y="0"/>
                      </a:lnTo>
                      <a:lnTo>
                        <a:pt x="332" y="6"/>
                      </a:lnTo>
                      <a:lnTo>
                        <a:pt x="354" y="16"/>
                      </a:lnTo>
                      <a:lnTo>
                        <a:pt x="332" y="28"/>
                      </a:lnTo>
                      <a:lnTo>
                        <a:pt x="326" y="16"/>
                      </a:lnTo>
                      <a:lnTo>
                        <a:pt x="288" y="16"/>
                      </a:lnTo>
                      <a:lnTo>
                        <a:pt x="275" y="28"/>
                      </a:lnTo>
                      <a:lnTo>
                        <a:pt x="259" y="22"/>
                      </a:lnTo>
                      <a:lnTo>
                        <a:pt x="243" y="28"/>
                      </a:lnTo>
                      <a:lnTo>
                        <a:pt x="237" y="16"/>
                      </a:lnTo>
                      <a:lnTo>
                        <a:pt x="188" y="12"/>
                      </a:lnTo>
                      <a:lnTo>
                        <a:pt x="192" y="22"/>
                      </a:lnTo>
                      <a:lnTo>
                        <a:pt x="150" y="28"/>
                      </a:lnTo>
                      <a:lnTo>
                        <a:pt x="105" y="38"/>
                      </a:lnTo>
                      <a:lnTo>
                        <a:pt x="115" y="51"/>
                      </a:lnTo>
                      <a:lnTo>
                        <a:pt x="83" y="57"/>
                      </a:lnTo>
                      <a:lnTo>
                        <a:pt x="0" y="61"/>
                      </a:lnTo>
                      <a:lnTo>
                        <a:pt x="4" y="73"/>
                      </a:lnTo>
                      <a:lnTo>
                        <a:pt x="61" y="83"/>
                      </a:lnTo>
                      <a:lnTo>
                        <a:pt x="4" y="95"/>
                      </a:lnTo>
                      <a:lnTo>
                        <a:pt x="20" y="111"/>
                      </a:lnTo>
                      <a:lnTo>
                        <a:pt x="55" y="101"/>
                      </a:lnTo>
                      <a:lnTo>
                        <a:pt x="93" y="101"/>
                      </a:lnTo>
                      <a:lnTo>
                        <a:pt x="144" y="117"/>
                      </a:lnTo>
                      <a:lnTo>
                        <a:pt x="144" y="146"/>
                      </a:lnTo>
                      <a:lnTo>
                        <a:pt x="132" y="156"/>
                      </a:lnTo>
                      <a:lnTo>
                        <a:pt x="132" y="178"/>
                      </a:lnTo>
                      <a:lnTo>
                        <a:pt x="144" y="168"/>
                      </a:lnTo>
                      <a:lnTo>
                        <a:pt x="150" y="156"/>
                      </a:lnTo>
                      <a:lnTo>
                        <a:pt x="160" y="172"/>
                      </a:lnTo>
                      <a:lnTo>
                        <a:pt x="176" y="178"/>
                      </a:lnTo>
                      <a:lnTo>
                        <a:pt x="170" y="190"/>
                      </a:lnTo>
                      <a:lnTo>
                        <a:pt x="150" y="178"/>
                      </a:lnTo>
                      <a:lnTo>
                        <a:pt x="144" y="190"/>
                      </a:lnTo>
                      <a:lnTo>
                        <a:pt x="166" y="200"/>
                      </a:lnTo>
                      <a:lnTo>
                        <a:pt x="166" y="213"/>
                      </a:lnTo>
                      <a:lnTo>
                        <a:pt x="138" y="213"/>
                      </a:lnTo>
                      <a:lnTo>
                        <a:pt x="126" y="235"/>
                      </a:lnTo>
                      <a:lnTo>
                        <a:pt x="109" y="245"/>
                      </a:lnTo>
                      <a:lnTo>
                        <a:pt x="115" y="261"/>
                      </a:lnTo>
                      <a:lnTo>
                        <a:pt x="105" y="261"/>
                      </a:lnTo>
                      <a:lnTo>
                        <a:pt x="121" y="279"/>
                      </a:lnTo>
                      <a:lnTo>
                        <a:pt x="105" y="283"/>
                      </a:lnTo>
                      <a:lnTo>
                        <a:pt x="121" y="289"/>
                      </a:lnTo>
                      <a:lnTo>
                        <a:pt x="115" y="302"/>
                      </a:lnTo>
                      <a:lnTo>
                        <a:pt x="126" y="302"/>
                      </a:lnTo>
                      <a:lnTo>
                        <a:pt x="126" y="318"/>
                      </a:lnTo>
                      <a:lnTo>
                        <a:pt x="144" y="340"/>
                      </a:lnTo>
                      <a:lnTo>
                        <a:pt x="154" y="350"/>
                      </a:lnTo>
                      <a:lnTo>
                        <a:pt x="176" y="346"/>
                      </a:lnTo>
                      <a:lnTo>
                        <a:pt x="192" y="366"/>
                      </a:lnTo>
                      <a:lnTo>
                        <a:pt x="204" y="362"/>
                      </a:lnTo>
                      <a:lnTo>
                        <a:pt x="227" y="334"/>
                      </a:lnTo>
                      <a:lnTo>
                        <a:pt x="227" y="318"/>
                      </a:lnTo>
                      <a:lnTo>
                        <a:pt x="259" y="302"/>
                      </a:lnTo>
                      <a:lnTo>
                        <a:pt x="275" y="283"/>
                      </a:lnTo>
                      <a:lnTo>
                        <a:pt x="271" y="267"/>
                      </a:lnTo>
                      <a:lnTo>
                        <a:pt x="310" y="267"/>
                      </a:lnTo>
                      <a:lnTo>
                        <a:pt x="371" y="251"/>
                      </a:lnTo>
                      <a:lnTo>
                        <a:pt x="381" y="229"/>
                      </a:lnTo>
                      <a:lnTo>
                        <a:pt x="425" y="229"/>
                      </a:lnTo>
                      <a:lnTo>
                        <a:pt x="537" y="194"/>
                      </a:lnTo>
                      <a:lnTo>
                        <a:pt x="510" y="190"/>
                      </a:lnTo>
                      <a:lnTo>
                        <a:pt x="464" y="190"/>
                      </a:lnTo>
                      <a:lnTo>
                        <a:pt x="460" y="178"/>
                      </a:lnTo>
                      <a:lnTo>
                        <a:pt x="492" y="178"/>
                      </a:lnTo>
                      <a:lnTo>
                        <a:pt x="470" y="168"/>
                      </a:lnTo>
                      <a:lnTo>
                        <a:pt x="510" y="168"/>
                      </a:lnTo>
                      <a:lnTo>
                        <a:pt x="514" y="184"/>
                      </a:lnTo>
                      <a:lnTo>
                        <a:pt x="530" y="178"/>
                      </a:lnTo>
                      <a:lnTo>
                        <a:pt x="537" y="190"/>
                      </a:lnTo>
                      <a:lnTo>
                        <a:pt x="549" y="178"/>
                      </a:lnTo>
                      <a:lnTo>
                        <a:pt x="543" y="162"/>
                      </a:lnTo>
                      <a:lnTo>
                        <a:pt x="520" y="156"/>
                      </a:lnTo>
                      <a:lnTo>
                        <a:pt x="504" y="146"/>
                      </a:lnTo>
                      <a:lnTo>
                        <a:pt x="530" y="150"/>
                      </a:lnTo>
                      <a:lnTo>
                        <a:pt x="549" y="156"/>
                      </a:lnTo>
                      <a:lnTo>
                        <a:pt x="543" y="134"/>
                      </a:lnTo>
                      <a:lnTo>
                        <a:pt x="559" y="140"/>
                      </a:lnTo>
                      <a:lnTo>
                        <a:pt x="571" y="127"/>
                      </a:lnTo>
                      <a:lnTo>
                        <a:pt x="559" y="123"/>
                      </a:lnTo>
                      <a:lnTo>
                        <a:pt x="581" y="123"/>
                      </a:lnTo>
                      <a:lnTo>
                        <a:pt x="571" y="111"/>
                      </a:lnTo>
                      <a:lnTo>
                        <a:pt x="587" y="111"/>
                      </a:lnTo>
                      <a:lnTo>
                        <a:pt x="571" y="95"/>
                      </a:lnTo>
                      <a:lnTo>
                        <a:pt x="587" y="95"/>
                      </a:lnTo>
                      <a:lnTo>
                        <a:pt x="597" y="105"/>
                      </a:lnTo>
                      <a:lnTo>
                        <a:pt x="597" y="117"/>
                      </a:lnTo>
                      <a:lnTo>
                        <a:pt x="615" y="117"/>
                      </a:lnTo>
                      <a:lnTo>
                        <a:pt x="609" y="101"/>
                      </a:lnTo>
                      <a:lnTo>
                        <a:pt x="615" y="73"/>
                      </a:lnTo>
                      <a:lnTo>
                        <a:pt x="565" y="73"/>
                      </a:lnTo>
                      <a:lnTo>
                        <a:pt x="597" y="57"/>
                      </a:lnTo>
                      <a:lnTo>
                        <a:pt x="609" y="44"/>
                      </a:lnTo>
                      <a:lnTo>
                        <a:pt x="686" y="28"/>
                      </a:lnTo>
                      <a:lnTo>
                        <a:pt x="686" y="2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4" name="Freeform 147">
                  <a:extLst>
                    <a:ext uri="{FF2B5EF4-FFF2-40B4-BE49-F238E27FC236}">
                      <a16:creationId xmlns:a16="http://schemas.microsoft.com/office/drawing/2014/main" id="{4D6A997D-2794-4271-9C20-C5412D627708}"/>
                    </a:ext>
                  </a:extLst>
                </p:cNvPr>
                <p:cNvSpPr>
                  <a:spLocks/>
                </p:cNvSpPr>
                <p:nvPr/>
              </p:nvSpPr>
              <p:spPr bwMode="auto">
                <a:xfrm>
                  <a:off x="3774204" y="1334361"/>
                  <a:ext cx="199449" cy="89901"/>
                </a:xfrm>
                <a:custGeom>
                  <a:avLst/>
                  <a:gdLst/>
                  <a:ahLst/>
                  <a:cxnLst>
                    <a:cxn ang="0">
                      <a:pos x="144" y="28"/>
                    </a:cxn>
                    <a:cxn ang="0">
                      <a:pos x="128" y="16"/>
                    </a:cxn>
                    <a:cxn ang="0">
                      <a:pos x="117" y="0"/>
                    </a:cxn>
                    <a:cxn ang="0">
                      <a:pos x="89" y="12"/>
                    </a:cxn>
                    <a:cxn ang="0">
                      <a:pos x="67" y="12"/>
                    </a:cxn>
                    <a:cxn ang="0">
                      <a:pos x="45" y="22"/>
                    </a:cxn>
                    <a:cxn ang="0">
                      <a:pos x="22" y="6"/>
                    </a:cxn>
                    <a:cxn ang="0">
                      <a:pos x="6" y="16"/>
                    </a:cxn>
                    <a:cxn ang="0">
                      <a:pos x="18" y="28"/>
                    </a:cxn>
                    <a:cxn ang="0">
                      <a:pos x="0" y="34"/>
                    </a:cxn>
                    <a:cxn ang="0">
                      <a:pos x="22" y="38"/>
                    </a:cxn>
                    <a:cxn ang="0">
                      <a:pos x="28" y="57"/>
                    </a:cxn>
                    <a:cxn ang="0">
                      <a:pos x="57" y="61"/>
                    </a:cxn>
                    <a:cxn ang="0">
                      <a:pos x="105" y="44"/>
                    </a:cxn>
                    <a:cxn ang="0">
                      <a:pos x="128" y="44"/>
                    </a:cxn>
                    <a:cxn ang="0">
                      <a:pos x="144" y="28"/>
                    </a:cxn>
                    <a:cxn ang="0">
                      <a:pos x="144" y="28"/>
                    </a:cxn>
                  </a:cxnLst>
                  <a:rect l="0" t="0" r="r" b="b"/>
                  <a:pathLst>
                    <a:path w="144" h="61">
                      <a:moveTo>
                        <a:pt x="144" y="28"/>
                      </a:moveTo>
                      <a:lnTo>
                        <a:pt x="128" y="16"/>
                      </a:lnTo>
                      <a:lnTo>
                        <a:pt x="117" y="0"/>
                      </a:lnTo>
                      <a:lnTo>
                        <a:pt x="89" y="12"/>
                      </a:lnTo>
                      <a:lnTo>
                        <a:pt x="67" y="12"/>
                      </a:lnTo>
                      <a:lnTo>
                        <a:pt x="45" y="22"/>
                      </a:lnTo>
                      <a:lnTo>
                        <a:pt x="22" y="6"/>
                      </a:lnTo>
                      <a:lnTo>
                        <a:pt x="6" y="16"/>
                      </a:lnTo>
                      <a:lnTo>
                        <a:pt x="18" y="28"/>
                      </a:lnTo>
                      <a:lnTo>
                        <a:pt x="0" y="34"/>
                      </a:lnTo>
                      <a:lnTo>
                        <a:pt x="22" y="38"/>
                      </a:lnTo>
                      <a:lnTo>
                        <a:pt x="28" y="57"/>
                      </a:lnTo>
                      <a:lnTo>
                        <a:pt x="57" y="61"/>
                      </a:lnTo>
                      <a:lnTo>
                        <a:pt x="105" y="44"/>
                      </a:lnTo>
                      <a:lnTo>
                        <a:pt x="128" y="44"/>
                      </a:lnTo>
                      <a:lnTo>
                        <a:pt x="144" y="28"/>
                      </a:lnTo>
                      <a:lnTo>
                        <a:pt x="144" y="2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5" name="Freeform 148">
                  <a:extLst>
                    <a:ext uri="{FF2B5EF4-FFF2-40B4-BE49-F238E27FC236}">
                      <a16:creationId xmlns:a16="http://schemas.microsoft.com/office/drawing/2014/main" id="{DEC5E35B-7805-4A32-B58B-F83CC1CDFAFE}"/>
                    </a:ext>
                  </a:extLst>
                </p:cNvPr>
                <p:cNvSpPr>
                  <a:spLocks/>
                </p:cNvSpPr>
                <p:nvPr/>
              </p:nvSpPr>
              <p:spPr bwMode="auto">
                <a:xfrm>
                  <a:off x="4382247" y="1023393"/>
                  <a:ext cx="235461" cy="81058"/>
                </a:xfrm>
                <a:custGeom>
                  <a:avLst/>
                  <a:gdLst/>
                  <a:ahLst/>
                  <a:cxnLst>
                    <a:cxn ang="0">
                      <a:pos x="170" y="4"/>
                    </a:cxn>
                    <a:cxn ang="0">
                      <a:pos x="144" y="0"/>
                    </a:cxn>
                    <a:cxn ang="0">
                      <a:pos x="122" y="4"/>
                    </a:cxn>
                    <a:cxn ang="0">
                      <a:pos x="106" y="4"/>
                    </a:cxn>
                    <a:cxn ang="0">
                      <a:pos x="87" y="10"/>
                    </a:cxn>
                    <a:cxn ang="0">
                      <a:pos x="61" y="10"/>
                    </a:cxn>
                    <a:cxn ang="0">
                      <a:pos x="61" y="17"/>
                    </a:cxn>
                    <a:cxn ang="0">
                      <a:pos x="43" y="10"/>
                    </a:cxn>
                    <a:cxn ang="0">
                      <a:pos x="27" y="17"/>
                    </a:cxn>
                    <a:cxn ang="0">
                      <a:pos x="23" y="10"/>
                    </a:cxn>
                    <a:cxn ang="0">
                      <a:pos x="0" y="17"/>
                    </a:cxn>
                    <a:cxn ang="0">
                      <a:pos x="27" y="27"/>
                    </a:cxn>
                    <a:cxn ang="0">
                      <a:pos x="49" y="49"/>
                    </a:cxn>
                    <a:cxn ang="0">
                      <a:pos x="71" y="55"/>
                    </a:cxn>
                    <a:cxn ang="0">
                      <a:pos x="106" y="33"/>
                    </a:cxn>
                    <a:cxn ang="0">
                      <a:pos x="122" y="33"/>
                    </a:cxn>
                    <a:cxn ang="0">
                      <a:pos x="132" y="45"/>
                    </a:cxn>
                    <a:cxn ang="0">
                      <a:pos x="148" y="49"/>
                    </a:cxn>
                    <a:cxn ang="0">
                      <a:pos x="160" y="45"/>
                    </a:cxn>
                    <a:cxn ang="0">
                      <a:pos x="144" y="33"/>
                    </a:cxn>
                    <a:cxn ang="0">
                      <a:pos x="138" y="17"/>
                    </a:cxn>
                    <a:cxn ang="0">
                      <a:pos x="154" y="17"/>
                    </a:cxn>
                    <a:cxn ang="0">
                      <a:pos x="170" y="27"/>
                    </a:cxn>
                    <a:cxn ang="0">
                      <a:pos x="170" y="4"/>
                    </a:cxn>
                    <a:cxn ang="0">
                      <a:pos x="170" y="4"/>
                    </a:cxn>
                  </a:cxnLst>
                  <a:rect l="0" t="0" r="r" b="b"/>
                  <a:pathLst>
                    <a:path w="170" h="55">
                      <a:moveTo>
                        <a:pt x="170" y="4"/>
                      </a:moveTo>
                      <a:lnTo>
                        <a:pt x="144" y="0"/>
                      </a:lnTo>
                      <a:lnTo>
                        <a:pt x="122" y="4"/>
                      </a:lnTo>
                      <a:lnTo>
                        <a:pt x="106" y="4"/>
                      </a:lnTo>
                      <a:lnTo>
                        <a:pt x="87" y="10"/>
                      </a:lnTo>
                      <a:lnTo>
                        <a:pt x="61" y="10"/>
                      </a:lnTo>
                      <a:lnTo>
                        <a:pt x="61" y="17"/>
                      </a:lnTo>
                      <a:lnTo>
                        <a:pt x="43" y="10"/>
                      </a:lnTo>
                      <a:lnTo>
                        <a:pt x="27" y="17"/>
                      </a:lnTo>
                      <a:lnTo>
                        <a:pt x="23" y="10"/>
                      </a:lnTo>
                      <a:lnTo>
                        <a:pt x="0" y="17"/>
                      </a:lnTo>
                      <a:lnTo>
                        <a:pt x="27" y="27"/>
                      </a:lnTo>
                      <a:lnTo>
                        <a:pt x="49" y="49"/>
                      </a:lnTo>
                      <a:lnTo>
                        <a:pt x="71" y="55"/>
                      </a:lnTo>
                      <a:lnTo>
                        <a:pt x="106" y="33"/>
                      </a:lnTo>
                      <a:lnTo>
                        <a:pt x="122" y="33"/>
                      </a:lnTo>
                      <a:lnTo>
                        <a:pt x="132" y="45"/>
                      </a:lnTo>
                      <a:lnTo>
                        <a:pt x="148" y="49"/>
                      </a:lnTo>
                      <a:lnTo>
                        <a:pt x="160" y="45"/>
                      </a:lnTo>
                      <a:lnTo>
                        <a:pt x="144" y="33"/>
                      </a:lnTo>
                      <a:lnTo>
                        <a:pt x="138" y="17"/>
                      </a:lnTo>
                      <a:lnTo>
                        <a:pt x="154" y="17"/>
                      </a:lnTo>
                      <a:lnTo>
                        <a:pt x="170" y="27"/>
                      </a:lnTo>
                      <a:lnTo>
                        <a:pt x="170" y="4"/>
                      </a:lnTo>
                      <a:lnTo>
                        <a:pt x="170" y="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6" name="Freeform 149">
                  <a:extLst>
                    <a:ext uri="{FF2B5EF4-FFF2-40B4-BE49-F238E27FC236}">
                      <a16:creationId xmlns:a16="http://schemas.microsoft.com/office/drawing/2014/main" id="{221C02C1-7B1A-44D8-9E5B-51C7E34CF711}"/>
                    </a:ext>
                  </a:extLst>
                </p:cNvPr>
                <p:cNvSpPr>
                  <a:spLocks/>
                </p:cNvSpPr>
                <p:nvPr/>
              </p:nvSpPr>
              <p:spPr bwMode="auto">
                <a:xfrm>
                  <a:off x="4304684" y="1226775"/>
                  <a:ext cx="459841" cy="322758"/>
                </a:xfrm>
                <a:custGeom>
                  <a:avLst/>
                  <a:gdLst/>
                  <a:ahLst/>
                  <a:cxnLst>
                    <a:cxn ang="0">
                      <a:pos x="243" y="0"/>
                    </a:cxn>
                    <a:cxn ang="0">
                      <a:pos x="232" y="18"/>
                    </a:cxn>
                    <a:cxn ang="0">
                      <a:pos x="204" y="12"/>
                    </a:cxn>
                    <a:cxn ang="0">
                      <a:pos x="194" y="22"/>
                    </a:cxn>
                    <a:cxn ang="0">
                      <a:pos x="149" y="34"/>
                    </a:cxn>
                    <a:cxn ang="0">
                      <a:pos x="143" y="45"/>
                    </a:cxn>
                    <a:cxn ang="0">
                      <a:pos x="111" y="51"/>
                    </a:cxn>
                    <a:cxn ang="0">
                      <a:pos x="133" y="67"/>
                    </a:cxn>
                    <a:cxn ang="0">
                      <a:pos x="117" y="79"/>
                    </a:cxn>
                    <a:cxn ang="0">
                      <a:pos x="99" y="101"/>
                    </a:cxn>
                    <a:cxn ang="0">
                      <a:pos x="83" y="111"/>
                    </a:cxn>
                    <a:cxn ang="0">
                      <a:pos x="56" y="124"/>
                    </a:cxn>
                    <a:cxn ang="0">
                      <a:pos x="38" y="134"/>
                    </a:cxn>
                    <a:cxn ang="0">
                      <a:pos x="12" y="152"/>
                    </a:cxn>
                    <a:cxn ang="0">
                      <a:pos x="22" y="168"/>
                    </a:cxn>
                    <a:cxn ang="0">
                      <a:pos x="22" y="184"/>
                    </a:cxn>
                    <a:cxn ang="0">
                      <a:pos x="32" y="200"/>
                    </a:cxn>
                    <a:cxn ang="0">
                      <a:pos x="56" y="219"/>
                    </a:cxn>
                    <a:cxn ang="0">
                      <a:pos x="105" y="207"/>
                    </a:cxn>
                    <a:cxn ang="0">
                      <a:pos x="121" y="168"/>
                    </a:cxn>
                    <a:cxn ang="0">
                      <a:pos x="121" y="124"/>
                    </a:cxn>
                    <a:cxn ang="0">
                      <a:pos x="143" y="95"/>
                    </a:cxn>
                    <a:cxn ang="0">
                      <a:pos x="222" y="34"/>
                    </a:cxn>
                    <a:cxn ang="0">
                      <a:pos x="277" y="41"/>
                    </a:cxn>
                    <a:cxn ang="0">
                      <a:pos x="299" y="18"/>
                    </a:cxn>
                    <a:cxn ang="0">
                      <a:pos x="332" y="18"/>
                    </a:cxn>
                    <a:cxn ang="0">
                      <a:pos x="277" y="6"/>
                    </a:cxn>
                    <a:cxn ang="0">
                      <a:pos x="269" y="8"/>
                    </a:cxn>
                    <a:cxn ang="0">
                      <a:pos x="265" y="8"/>
                    </a:cxn>
                    <a:cxn ang="0">
                      <a:pos x="261" y="8"/>
                    </a:cxn>
                    <a:cxn ang="0">
                      <a:pos x="261" y="6"/>
                    </a:cxn>
                    <a:cxn ang="0">
                      <a:pos x="261" y="0"/>
                    </a:cxn>
                  </a:cxnLst>
                  <a:rect l="0" t="0" r="r" b="b"/>
                  <a:pathLst>
                    <a:path w="332" h="219">
                      <a:moveTo>
                        <a:pt x="261" y="0"/>
                      </a:moveTo>
                      <a:lnTo>
                        <a:pt x="243" y="0"/>
                      </a:lnTo>
                      <a:lnTo>
                        <a:pt x="249" y="12"/>
                      </a:lnTo>
                      <a:lnTo>
                        <a:pt x="232" y="18"/>
                      </a:lnTo>
                      <a:lnTo>
                        <a:pt x="226" y="6"/>
                      </a:lnTo>
                      <a:lnTo>
                        <a:pt x="204" y="12"/>
                      </a:lnTo>
                      <a:lnTo>
                        <a:pt x="210" y="22"/>
                      </a:lnTo>
                      <a:lnTo>
                        <a:pt x="194" y="22"/>
                      </a:lnTo>
                      <a:lnTo>
                        <a:pt x="188" y="18"/>
                      </a:lnTo>
                      <a:lnTo>
                        <a:pt x="149" y="34"/>
                      </a:lnTo>
                      <a:lnTo>
                        <a:pt x="156" y="41"/>
                      </a:lnTo>
                      <a:lnTo>
                        <a:pt x="143" y="45"/>
                      </a:lnTo>
                      <a:lnTo>
                        <a:pt x="133" y="28"/>
                      </a:lnTo>
                      <a:lnTo>
                        <a:pt x="111" y="51"/>
                      </a:lnTo>
                      <a:lnTo>
                        <a:pt x="127" y="51"/>
                      </a:lnTo>
                      <a:lnTo>
                        <a:pt x="133" y="67"/>
                      </a:lnTo>
                      <a:lnTo>
                        <a:pt x="117" y="67"/>
                      </a:lnTo>
                      <a:lnTo>
                        <a:pt x="117" y="79"/>
                      </a:lnTo>
                      <a:lnTo>
                        <a:pt x="111" y="85"/>
                      </a:lnTo>
                      <a:lnTo>
                        <a:pt x="99" y="101"/>
                      </a:lnTo>
                      <a:lnTo>
                        <a:pt x="99" y="107"/>
                      </a:lnTo>
                      <a:lnTo>
                        <a:pt x="83" y="111"/>
                      </a:lnTo>
                      <a:lnTo>
                        <a:pt x="73" y="124"/>
                      </a:lnTo>
                      <a:lnTo>
                        <a:pt x="56" y="124"/>
                      </a:lnTo>
                      <a:lnTo>
                        <a:pt x="56" y="134"/>
                      </a:lnTo>
                      <a:lnTo>
                        <a:pt x="38" y="134"/>
                      </a:lnTo>
                      <a:lnTo>
                        <a:pt x="32" y="146"/>
                      </a:lnTo>
                      <a:lnTo>
                        <a:pt x="12" y="152"/>
                      </a:lnTo>
                      <a:lnTo>
                        <a:pt x="0" y="162"/>
                      </a:lnTo>
                      <a:lnTo>
                        <a:pt x="22" y="168"/>
                      </a:lnTo>
                      <a:lnTo>
                        <a:pt x="6" y="174"/>
                      </a:lnTo>
                      <a:lnTo>
                        <a:pt x="22" y="184"/>
                      </a:lnTo>
                      <a:lnTo>
                        <a:pt x="12" y="194"/>
                      </a:lnTo>
                      <a:lnTo>
                        <a:pt x="32" y="200"/>
                      </a:lnTo>
                      <a:lnTo>
                        <a:pt x="22" y="213"/>
                      </a:lnTo>
                      <a:lnTo>
                        <a:pt x="56" y="219"/>
                      </a:lnTo>
                      <a:lnTo>
                        <a:pt x="89" y="194"/>
                      </a:lnTo>
                      <a:lnTo>
                        <a:pt x="105" y="207"/>
                      </a:lnTo>
                      <a:lnTo>
                        <a:pt x="117" y="190"/>
                      </a:lnTo>
                      <a:lnTo>
                        <a:pt x="121" y="168"/>
                      </a:lnTo>
                      <a:lnTo>
                        <a:pt x="111" y="152"/>
                      </a:lnTo>
                      <a:lnTo>
                        <a:pt x="121" y="124"/>
                      </a:lnTo>
                      <a:lnTo>
                        <a:pt x="139" y="117"/>
                      </a:lnTo>
                      <a:lnTo>
                        <a:pt x="143" y="95"/>
                      </a:lnTo>
                      <a:lnTo>
                        <a:pt x="178" y="45"/>
                      </a:lnTo>
                      <a:lnTo>
                        <a:pt x="222" y="34"/>
                      </a:lnTo>
                      <a:lnTo>
                        <a:pt x="243" y="45"/>
                      </a:lnTo>
                      <a:lnTo>
                        <a:pt x="277" y="41"/>
                      </a:lnTo>
                      <a:lnTo>
                        <a:pt x="277" y="22"/>
                      </a:lnTo>
                      <a:lnTo>
                        <a:pt x="299" y="18"/>
                      </a:lnTo>
                      <a:lnTo>
                        <a:pt x="322" y="34"/>
                      </a:lnTo>
                      <a:lnTo>
                        <a:pt x="332" y="18"/>
                      </a:lnTo>
                      <a:lnTo>
                        <a:pt x="305" y="6"/>
                      </a:lnTo>
                      <a:lnTo>
                        <a:pt x="277" y="6"/>
                      </a:lnTo>
                      <a:lnTo>
                        <a:pt x="273" y="6"/>
                      </a:lnTo>
                      <a:lnTo>
                        <a:pt x="269" y="8"/>
                      </a:lnTo>
                      <a:lnTo>
                        <a:pt x="267" y="8"/>
                      </a:lnTo>
                      <a:lnTo>
                        <a:pt x="265" y="8"/>
                      </a:lnTo>
                      <a:lnTo>
                        <a:pt x="263" y="8"/>
                      </a:lnTo>
                      <a:lnTo>
                        <a:pt x="261" y="8"/>
                      </a:lnTo>
                      <a:lnTo>
                        <a:pt x="261" y="6"/>
                      </a:lnTo>
                      <a:lnTo>
                        <a:pt x="261" y="6"/>
                      </a:lnTo>
                      <a:lnTo>
                        <a:pt x="261" y="0"/>
                      </a:lnTo>
                      <a:lnTo>
                        <a:pt x="261"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7" name="Freeform 150">
                  <a:extLst>
                    <a:ext uri="{FF2B5EF4-FFF2-40B4-BE49-F238E27FC236}">
                      <a16:creationId xmlns:a16="http://schemas.microsoft.com/office/drawing/2014/main" id="{04E6EE72-0FCF-43B3-9640-F9F014D511D2}"/>
                    </a:ext>
                  </a:extLst>
                </p:cNvPr>
                <p:cNvSpPr>
                  <a:spLocks/>
                </p:cNvSpPr>
                <p:nvPr/>
              </p:nvSpPr>
              <p:spPr bwMode="auto">
                <a:xfrm>
                  <a:off x="7321352" y="1194352"/>
                  <a:ext cx="62328" cy="32424"/>
                </a:xfrm>
                <a:custGeom>
                  <a:avLst/>
                  <a:gdLst/>
                  <a:ahLst/>
                  <a:cxnLst>
                    <a:cxn ang="0">
                      <a:pos x="22" y="0"/>
                    </a:cxn>
                    <a:cxn ang="0">
                      <a:pos x="6" y="6"/>
                    </a:cxn>
                    <a:cxn ang="0">
                      <a:pos x="0" y="12"/>
                    </a:cxn>
                    <a:cxn ang="0">
                      <a:pos x="16" y="22"/>
                    </a:cxn>
                    <a:cxn ang="0">
                      <a:pos x="45" y="18"/>
                    </a:cxn>
                    <a:cxn ang="0">
                      <a:pos x="22" y="0"/>
                    </a:cxn>
                    <a:cxn ang="0">
                      <a:pos x="22" y="0"/>
                    </a:cxn>
                  </a:cxnLst>
                  <a:rect l="0" t="0" r="r" b="b"/>
                  <a:pathLst>
                    <a:path w="45" h="22">
                      <a:moveTo>
                        <a:pt x="22" y="0"/>
                      </a:moveTo>
                      <a:lnTo>
                        <a:pt x="6" y="6"/>
                      </a:lnTo>
                      <a:lnTo>
                        <a:pt x="0" y="12"/>
                      </a:lnTo>
                      <a:lnTo>
                        <a:pt x="16" y="22"/>
                      </a:lnTo>
                      <a:lnTo>
                        <a:pt x="45" y="18"/>
                      </a:lnTo>
                      <a:lnTo>
                        <a:pt x="22" y="0"/>
                      </a:lnTo>
                      <a:lnTo>
                        <a:pt x="2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8" name="Freeform 151">
                  <a:extLst>
                    <a:ext uri="{FF2B5EF4-FFF2-40B4-BE49-F238E27FC236}">
                      <a16:creationId xmlns:a16="http://schemas.microsoft.com/office/drawing/2014/main" id="{9901E3C7-52C1-462E-82BD-A2968EC75913}"/>
                    </a:ext>
                  </a:extLst>
                </p:cNvPr>
                <p:cNvSpPr>
                  <a:spLocks/>
                </p:cNvSpPr>
                <p:nvPr/>
              </p:nvSpPr>
              <p:spPr bwMode="auto">
                <a:xfrm>
                  <a:off x="4740979" y="1063186"/>
                  <a:ext cx="3004202" cy="952061"/>
                </a:xfrm>
                <a:custGeom>
                  <a:avLst/>
                  <a:gdLst/>
                  <a:ahLst/>
                  <a:cxnLst>
                    <a:cxn ang="0">
                      <a:pos x="1885" y="133"/>
                    </a:cxn>
                    <a:cxn ang="0">
                      <a:pos x="1780" y="133"/>
                    </a:cxn>
                    <a:cxn ang="0">
                      <a:pos x="1570" y="107"/>
                    </a:cxn>
                    <a:cxn ang="0">
                      <a:pos x="1458" y="85"/>
                    </a:cxn>
                    <a:cxn ang="0">
                      <a:pos x="1276" y="111"/>
                    </a:cxn>
                    <a:cxn ang="0">
                      <a:pos x="1193" y="85"/>
                    </a:cxn>
                    <a:cxn ang="0">
                      <a:pos x="1132" y="73"/>
                    </a:cxn>
                    <a:cxn ang="0">
                      <a:pos x="1027" y="85"/>
                    </a:cxn>
                    <a:cxn ang="0">
                      <a:pos x="932" y="66"/>
                    </a:cxn>
                    <a:cxn ang="0">
                      <a:pos x="843" y="6"/>
                    </a:cxn>
                    <a:cxn ang="0">
                      <a:pos x="776" y="34"/>
                    </a:cxn>
                    <a:cxn ang="0">
                      <a:pos x="660" y="66"/>
                    </a:cxn>
                    <a:cxn ang="0">
                      <a:pos x="683" y="129"/>
                    </a:cxn>
                    <a:cxn ang="0">
                      <a:pos x="577" y="101"/>
                    </a:cxn>
                    <a:cxn ang="0">
                      <a:pos x="539" y="79"/>
                    </a:cxn>
                    <a:cxn ang="0">
                      <a:pos x="632" y="145"/>
                    </a:cxn>
                    <a:cxn ang="0">
                      <a:pos x="588" y="152"/>
                    </a:cxn>
                    <a:cxn ang="0">
                      <a:pos x="555" y="145"/>
                    </a:cxn>
                    <a:cxn ang="0">
                      <a:pos x="476" y="73"/>
                    </a:cxn>
                    <a:cxn ang="0">
                      <a:pos x="511" y="156"/>
                    </a:cxn>
                    <a:cxn ang="0">
                      <a:pos x="322" y="162"/>
                    </a:cxn>
                    <a:cxn ang="0">
                      <a:pos x="233" y="184"/>
                    </a:cxn>
                    <a:cxn ang="0">
                      <a:pos x="205" y="178"/>
                    </a:cxn>
                    <a:cxn ang="0">
                      <a:pos x="138" y="206"/>
                    </a:cxn>
                    <a:cxn ang="0">
                      <a:pos x="90" y="200"/>
                    </a:cxn>
                    <a:cxn ang="0">
                      <a:pos x="112" y="145"/>
                    </a:cxn>
                    <a:cxn ang="0">
                      <a:pos x="0" y="162"/>
                    </a:cxn>
                    <a:cxn ang="0">
                      <a:pos x="33" y="311"/>
                    </a:cxn>
                    <a:cxn ang="0">
                      <a:pos x="100" y="378"/>
                    </a:cxn>
                    <a:cxn ang="0">
                      <a:pos x="156" y="445"/>
                    </a:cxn>
                    <a:cxn ang="0">
                      <a:pos x="205" y="473"/>
                    </a:cxn>
                    <a:cxn ang="0">
                      <a:pos x="233" y="546"/>
                    </a:cxn>
                    <a:cxn ang="0">
                      <a:pos x="310" y="601"/>
                    </a:cxn>
                    <a:cxn ang="0">
                      <a:pos x="405" y="623"/>
                    </a:cxn>
                    <a:cxn ang="0">
                      <a:pos x="399" y="546"/>
                    </a:cxn>
                    <a:cxn ang="0">
                      <a:pos x="367" y="473"/>
                    </a:cxn>
                    <a:cxn ang="0">
                      <a:pos x="466" y="457"/>
                    </a:cxn>
                    <a:cxn ang="0">
                      <a:pos x="584" y="451"/>
                    </a:cxn>
                    <a:cxn ang="0">
                      <a:pos x="622" y="396"/>
                    </a:cxn>
                    <a:cxn ang="0">
                      <a:pos x="750" y="423"/>
                    </a:cxn>
                    <a:cxn ang="0">
                      <a:pos x="993" y="490"/>
                    </a:cxn>
                    <a:cxn ang="0">
                      <a:pos x="1193" y="451"/>
                    </a:cxn>
                    <a:cxn ang="0">
                      <a:pos x="1436" y="479"/>
                    </a:cxn>
                    <a:cxn ang="0">
                      <a:pos x="1487" y="407"/>
                    </a:cxn>
                    <a:cxn ang="0">
                      <a:pos x="1748" y="562"/>
                    </a:cxn>
                    <a:cxn ang="0">
                      <a:pos x="1802" y="502"/>
                    </a:cxn>
                    <a:cxn ang="0">
                      <a:pos x="1653" y="384"/>
                    </a:cxn>
                    <a:cxn ang="0">
                      <a:pos x="1742" y="295"/>
                    </a:cxn>
                    <a:cxn ang="0">
                      <a:pos x="1812" y="263"/>
                    </a:cxn>
                    <a:cxn ang="0">
                      <a:pos x="1908" y="245"/>
                    </a:cxn>
                    <a:cxn ang="0">
                      <a:pos x="1908" y="368"/>
                    </a:cxn>
                    <a:cxn ang="0">
                      <a:pos x="2023" y="429"/>
                    </a:cxn>
                    <a:cxn ang="0">
                      <a:pos x="2013" y="356"/>
                    </a:cxn>
                    <a:cxn ang="0">
                      <a:pos x="1946" y="301"/>
                    </a:cxn>
                    <a:cxn ang="0">
                      <a:pos x="2041" y="263"/>
                    </a:cxn>
                    <a:cxn ang="0">
                      <a:pos x="2041" y="200"/>
                    </a:cxn>
                    <a:cxn ang="0">
                      <a:pos x="2134" y="206"/>
                    </a:cxn>
                    <a:cxn ang="0">
                      <a:pos x="2086" y="162"/>
                    </a:cxn>
                  </a:cxnLst>
                  <a:rect l="0" t="0" r="r" b="b"/>
                  <a:pathLst>
                    <a:path w="2169" h="646">
                      <a:moveTo>
                        <a:pt x="2086" y="162"/>
                      </a:moveTo>
                      <a:lnTo>
                        <a:pt x="2074" y="168"/>
                      </a:lnTo>
                      <a:lnTo>
                        <a:pt x="2086" y="178"/>
                      </a:lnTo>
                      <a:lnTo>
                        <a:pt x="2035" y="156"/>
                      </a:lnTo>
                      <a:lnTo>
                        <a:pt x="1908" y="133"/>
                      </a:lnTo>
                      <a:lnTo>
                        <a:pt x="1885" y="133"/>
                      </a:lnTo>
                      <a:lnTo>
                        <a:pt x="1879" y="123"/>
                      </a:lnTo>
                      <a:lnTo>
                        <a:pt x="1841" y="129"/>
                      </a:lnTo>
                      <a:lnTo>
                        <a:pt x="1802" y="123"/>
                      </a:lnTo>
                      <a:lnTo>
                        <a:pt x="1786" y="123"/>
                      </a:lnTo>
                      <a:lnTo>
                        <a:pt x="1812" y="145"/>
                      </a:lnTo>
                      <a:lnTo>
                        <a:pt x="1780" y="133"/>
                      </a:lnTo>
                      <a:lnTo>
                        <a:pt x="1768" y="123"/>
                      </a:lnTo>
                      <a:lnTo>
                        <a:pt x="1697" y="129"/>
                      </a:lnTo>
                      <a:lnTo>
                        <a:pt x="1713" y="145"/>
                      </a:lnTo>
                      <a:lnTo>
                        <a:pt x="1653" y="129"/>
                      </a:lnTo>
                      <a:lnTo>
                        <a:pt x="1640" y="107"/>
                      </a:lnTo>
                      <a:lnTo>
                        <a:pt x="1570" y="107"/>
                      </a:lnTo>
                      <a:lnTo>
                        <a:pt x="1557" y="111"/>
                      </a:lnTo>
                      <a:lnTo>
                        <a:pt x="1531" y="111"/>
                      </a:lnTo>
                      <a:lnTo>
                        <a:pt x="1525" y="101"/>
                      </a:lnTo>
                      <a:lnTo>
                        <a:pt x="1480" y="101"/>
                      </a:lnTo>
                      <a:lnTo>
                        <a:pt x="1480" y="89"/>
                      </a:lnTo>
                      <a:lnTo>
                        <a:pt x="1458" y="85"/>
                      </a:lnTo>
                      <a:lnTo>
                        <a:pt x="1436" y="101"/>
                      </a:lnTo>
                      <a:lnTo>
                        <a:pt x="1430" y="89"/>
                      </a:lnTo>
                      <a:lnTo>
                        <a:pt x="1347" y="85"/>
                      </a:lnTo>
                      <a:lnTo>
                        <a:pt x="1365" y="101"/>
                      </a:lnTo>
                      <a:lnTo>
                        <a:pt x="1280" y="95"/>
                      </a:lnTo>
                      <a:lnTo>
                        <a:pt x="1276" y="111"/>
                      </a:lnTo>
                      <a:lnTo>
                        <a:pt x="1225" y="95"/>
                      </a:lnTo>
                      <a:lnTo>
                        <a:pt x="1215" y="101"/>
                      </a:lnTo>
                      <a:lnTo>
                        <a:pt x="1203" y="95"/>
                      </a:lnTo>
                      <a:lnTo>
                        <a:pt x="1215" y="85"/>
                      </a:lnTo>
                      <a:lnTo>
                        <a:pt x="1197" y="73"/>
                      </a:lnTo>
                      <a:lnTo>
                        <a:pt x="1193" y="85"/>
                      </a:lnTo>
                      <a:lnTo>
                        <a:pt x="1193" y="73"/>
                      </a:lnTo>
                      <a:lnTo>
                        <a:pt x="1171" y="66"/>
                      </a:lnTo>
                      <a:lnTo>
                        <a:pt x="1171" y="79"/>
                      </a:lnTo>
                      <a:lnTo>
                        <a:pt x="1159" y="66"/>
                      </a:lnTo>
                      <a:lnTo>
                        <a:pt x="1120" y="62"/>
                      </a:lnTo>
                      <a:lnTo>
                        <a:pt x="1132" y="73"/>
                      </a:lnTo>
                      <a:lnTo>
                        <a:pt x="1154" y="85"/>
                      </a:lnTo>
                      <a:lnTo>
                        <a:pt x="1126" y="79"/>
                      </a:lnTo>
                      <a:lnTo>
                        <a:pt x="1088" y="79"/>
                      </a:lnTo>
                      <a:lnTo>
                        <a:pt x="1059" y="66"/>
                      </a:lnTo>
                      <a:lnTo>
                        <a:pt x="1015" y="66"/>
                      </a:lnTo>
                      <a:lnTo>
                        <a:pt x="1027" y="85"/>
                      </a:lnTo>
                      <a:lnTo>
                        <a:pt x="986" y="62"/>
                      </a:lnTo>
                      <a:lnTo>
                        <a:pt x="986" y="50"/>
                      </a:lnTo>
                      <a:lnTo>
                        <a:pt x="970" y="50"/>
                      </a:lnTo>
                      <a:lnTo>
                        <a:pt x="970" y="62"/>
                      </a:lnTo>
                      <a:lnTo>
                        <a:pt x="920" y="79"/>
                      </a:lnTo>
                      <a:lnTo>
                        <a:pt x="932" y="66"/>
                      </a:lnTo>
                      <a:lnTo>
                        <a:pt x="960" y="50"/>
                      </a:lnTo>
                      <a:lnTo>
                        <a:pt x="964" y="40"/>
                      </a:lnTo>
                      <a:lnTo>
                        <a:pt x="887" y="18"/>
                      </a:lnTo>
                      <a:lnTo>
                        <a:pt x="871" y="28"/>
                      </a:lnTo>
                      <a:lnTo>
                        <a:pt x="837" y="22"/>
                      </a:lnTo>
                      <a:lnTo>
                        <a:pt x="843" y="6"/>
                      </a:lnTo>
                      <a:lnTo>
                        <a:pt x="826" y="0"/>
                      </a:lnTo>
                      <a:lnTo>
                        <a:pt x="798" y="18"/>
                      </a:lnTo>
                      <a:lnTo>
                        <a:pt x="798" y="28"/>
                      </a:lnTo>
                      <a:lnTo>
                        <a:pt x="788" y="28"/>
                      </a:lnTo>
                      <a:lnTo>
                        <a:pt x="798" y="44"/>
                      </a:lnTo>
                      <a:lnTo>
                        <a:pt x="776" y="34"/>
                      </a:lnTo>
                      <a:lnTo>
                        <a:pt x="754" y="34"/>
                      </a:lnTo>
                      <a:lnTo>
                        <a:pt x="750" y="28"/>
                      </a:lnTo>
                      <a:lnTo>
                        <a:pt x="648" y="50"/>
                      </a:lnTo>
                      <a:lnTo>
                        <a:pt x="671" y="62"/>
                      </a:lnTo>
                      <a:lnTo>
                        <a:pt x="683" y="85"/>
                      </a:lnTo>
                      <a:lnTo>
                        <a:pt x="660" y="66"/>
                      </a:lnTo>
                      <a:lnTo>
                        <a:pt x="638" y="66"/>
                      </a:lnTo>
                      <a:lnTo>
                        <a:pt x="632" y="62"/>
                      </a:lnTo>
                      <a:lnTo>
                        <a:pt x="606" y="66"/>
                      </a:lnTo>
                      <a:lnTo>
                        <a:pt x="616" y="85"/>
                      </a:lnTo>
                      <a:lnTo>
                        <a:pt x="677" y="107"/>
                      </a:lnTo>
                      <a:lnTo>
                        <a:pt x="683" y="129"/>
                      </a:lnTo>
                      <a:lnTo>
                        <a:pt x="671" y="129"/>
                      </a:lnTo>
                      <a:lnTo>
                        <a:pt x="660" y="111"/>
                      </a:lnTo>
                      <a:lnTo>
                        <a:pt x="610" y="95"/>
                      </a:lnTo>
                      <a:lnTo>
                        <a:pt x="600" y="79"/>
                      </a:lnTo>
                      <a:lnTo>
                        <a:pt x="577" y="85"/>
                      </a:lnTo>
                      <a:lnTo>
                        <a:pt x="577" y="101"/>
                      </a:lnTo>
                      <a:lnTo>
                        <a:pt x="610" y="111"/>
                      </a:lnTo>
                      <a:lnTo>
                        <a:pt x="594" y="117"/>
                      </a:lnTo>
                      <a:lnTo>
                        <a:pt x="571" y="107"/>
                      </a:lnTo>
                      <a:lnTo>
                        <a:pt x="555" y="89"/>
                      </a:lnTo>
                      <a:lnTo>
                        <a:pt x="565" y="73"/>
                      </a:lnTo>
                      <a:lnTo>
                        <a:pt x="539" y="79"/>
                      </a:lnTo>
                      <a:lnTo>
                        <a:pt x="543" y="101"/>
                      </a:lnTo>
                      <a:lnTo>
                        <a:pt x="559" y="111"/>
                      </a:lnTo>
                      <a:lnTo>
                        <a:pt x="571" y="133"/>
                      </a:lnTo>
                      <a:lnTo>
                        <a:pt x="577" y="139"/>
                      </a:lnTo>
                      <a:lnTo>
                        <a:pt x="600" y="133"/>
                      </a:lnTo>
                      <a:lnTo>
                        <a:pt x="632" y="145"/>
                      </a:lnTo>
                      <a:lnTo>
                        <a:pt x="644" y="162"/>
                      </a:lnTo>
                      <a:lnTo>
                        <a:pt x="654" y="168"/>
                      </a:lnTo>
                      <a:lnTo>
                        <a:pt x="638" y="174"/>
                      </a:lnTo>
                      <a:lnTo>
                        <a:pt x="626" y="152"/>
                      </a:lnTo>
                      <a:lnTo>
                        <a:pt x="600" y="145"/>
                      </a:lnTo>
                      <a:lnTo>
                        <a:pt x="588" y="152"/>
                      </a:lnTo>
                      <a:lnTo>
                        <a:pt x="600" y="168"/>
                      </a:lnTo>
                      <a:lnTo>
                        <a:pt x="584" y="184"/>
                      </a:lnTo>
                      <a:lnTo>
                        <a:pt x="543" y="190"/>
                      </a:lnTo>
                      <a:lnTo>
                        <a:pt x="571" y="178"/>
                      </a:lnTo>
                      <a:lnTo>
                        <a:pt x="577" y="152"/>
                      </a:lnTo>
                      <a:lnTo>
                        <a:pt x="555" y="145"/>
                      </a:lnTo>
                      <a:lnTo>
                        <a:pt x="543" y="117"/>
                      </a:lnTo>
                      <a:lnTo>
                        <a:pt x="521" y="111"/>
                      </a:lnTo>
                      <a:lnTo>
                        <a:pt x="521" y="89"/>
                      </a:lnTo>
                      <a:lnTo>
                        <a:pt x="505" y="85"/>
                      </a:lnTo>
                      <a:lnTo>
                        <a:pt x="499" y="73"/>
                      </a:lnTo>
                      <a:lnTo>
                        <a:pt x="476" y="73"/>
                      </a:lnTo>
                      <a:lnTo>
                        <a:pt x="476" y="89"/>
                      </a:lnTo>
                      <a:lnTo>
                        <a:pt x="482" y="101"/>
                      </a:lnTo>
                      <a:lnTo>
                        <a:pt x="466" y="107"/>
                      </a:lnTo>
                      <a:lnTo>
                        <a:pt x="476" y="129"/>
                      </a:lnTo>
                      <a:lnTo>
                        <a:pt x="517" y="152"/>
                      </a:lnTo>
                      <a:lnTo>
                        <a:pt x="511" y="156"/>
                      </a:lnTo>
                      <a:lnTo>
                        <a:pt x="450" y="139"/>
                      </a:lnTo>
                      <a:lnTo>
                        <a:pt x="371" y="123"/>
                      </a:lnTo>
                      <a:lnTo>
                        <a:pt x="371" y="133"/>
                      </a:lnTo>
                      <a:lnTo>
                        <a:pt x="405" y="152"/>
                      </a:lnTo>
                      <a:lnTo>
                        <a:pt x="377" y="145"/>
                      </a:lnTo>
                      <a:lnTo>
                        <a:pt x="322" y="162"/>
                      </a:lnTo>
                      <a:lnTo>
                        <a:pt x="322" y="152"/>
                      </a:lnTo>
                      <a:lnTo>
                        <a:pt x="310" y="145"/>
                      </a:lnTo>
                      <a:lnTo>
                        <a:pt x="284" y="152"/>
                      </a:lnTo>
                      <a:lnTo>
                        <a:pt x="256" y="168"/>
                      </a:lnTo>
                      <a:lnTo>
                        <a:pt x="249" y="184"/>
                      </a:lnTo>
                      <a:lnTo>
                        <a:pt x="233" y="184"/>
                      </a:lnTo>
                      <a:lnTo>
                        <a:pt x="217" y="168"/>
                      </a:lnTo>
                      <a:lnTo>
                        <a:pt x="227" y="162"/>
                      </a:lnTo>
                      <a:lnTo>
                        <a:pt x="217" y="152"/>
                      </a:lnTo>
                      <a:lnTo>
                        <a:pt x="189" y="152"/>
                      </a:lnTo>
                      <a:lnTo>
                        <a:pt x="195" y="168"/>
                      </a:lnTo>
                      <a:lnTo>
                        <a:pt x="205" y="178"/>
                      </a:lnTo>
                      <a:lnTo>
                        <a:pt x="211" y="196"/>
                      </a:lnTo>
                      <a:lnTo>
                        <a:pt x="183" y="184"/>
                      </a:lnTo>
                      <a:lnTo>
                        <a:pt x="156" y="200"/>
                      </a:lnTo>
                      <a:lnTo>
                        <a:pt x="173" y="218"/>
                      </a:lnTo>
                      <a:lnTo>
                        <a:pt x="144" y="218"/>
                      </a:lnTo>
                      <a:lnTo>
                        <a:pt x="138" y="206"/>
                      </a:lnTo>
                      <a:lnTo>
                        <a:pt x="122" y="206"/>
                      </a:lnTo>
                      <a:lnTo>
                        <a:pt x="112" y="212"/>
                      </a:lnTo>
                      <a:lnTo>
                        <a:pt x="134" y="218"/>
                      </a:lnTo>
                      <a:lnTo>
                        <a:pt x="138" y="228"/>
                      </a:lnTo>
                      <a:lnTo>
                        <a:pt x="100" y="222"/>
                      </a:lnTo>
                      <a:lnTo>
                        <a:pt x="90" y="200"/>
                      </a:lnTo>
                      <a:lnTo>
                        <a:pt x="51" y="184"/>
                      </a:lnTo>
                      <a:lnTo>
                        <a:pt x="51" y="178"/>
                      </a:lnTo>
                      <a:lnTo>
                        <a:pt x="138" y="190"/>
                      </a:lnTo>
                      <a:lnTo>
                        <a:pt x="173" y="174"/>
                      </a:lnTo>
                      <a:lnTo>
                        <a:pt x="150" y="156"/>
                      </a:lnTo>
                      <a:lnTo>
                        <a:pt x="112" y="145"/>
                      </a:lnTo>
                      <a:lnTo>
                        <a:pt x="61" y="139"/>
                      </a:lnTo>
                      <a:lnTo>
                        <a:pt x="45" y="139"/>
                      </a:lnTo>
                      <a:lnTo>
                        <a:pt x="45" y="129"/>
                      </a:lnTo>
                      <a:lnTo>
                        <a:pt x="17" y="129"/>
                      </a:lnTo>
                      <a:lnTo>
                        <a:pt x="7" y="145"/>
                      </a:lnTo>
                      <a:lnTo>
                        <a:pt x="0" y="162"/>
                      </a:lnTo>
                      <a:lnTo>
                        <a:pt x="23" y="168"/>
                      </a:lnTo>
                      <a:lnTo>
                        <a:pt x="17" y="184"/>
                      </a:lnTo>
                      <a:lnTo>
                        <a:pt x="61" y="245"/>
                      </a:lnTo>
                      <a:lnTo>
                        <a:pt x="23" y="289"/>
                      </a:lnTo>
                      <a:lnTo>
                        <a:pt x="39" y="301"/>
                      </a:lnTo>
                      <a:lnTo>
                        <a:pt x="33" y="311"/>
                      </a:lnTo>
                      <a:lnTo>
                        <a:pt x="33" y="340"/>
                      </a:lnTo>
                      <a:lnTo>
                        <a:pt x="45" y="362"/>
                      </a:lnTo>
                      <a:lnTo>
                        <a:pt x="67" y="372"/>
                      </a:lnTo>
                      <a:lnTo>
                        <a:pt x="73" y="384"/>
                      </a:lnTo>
                      <a:lnTo>
                        <a:pt x="83" y="372"/>
                      </a:lnTo>
                      <a:lnTo>
                        <a:pt x="100" y="378"/>
                      </a:lnTo>
                      <a:lnTo>
                        <a:pt x="100" y="401"/>
                      </a:lnTo>
                      <a:lnTo>
                        <a:pt x="122" y="419"/>
                      </a:lnTo>
                      <a:lnTo>
                        <a:pt x="116" y="423"/>
                      </a:lnTo>
                      <a:lnTo>
                        <a:pt x="112" y="439"/>
                      </a:lnTo>
                      <a:lnTo>
                        <a:pt x="144" y="435"/>
                      </a:lnTo>
                      <a:lnTo>
                        <a:pt x="156" y="445"/>
                      </a:lnTo>
                      <a:lnTo>
                        <a:pt x="156" y="457"/>
                      </a:lnTo>
                      <a:lnTo>
                        <a:pt x="166" y="457"/>
                      </a:lnTo>
                      <a:lnTo>
                        <a:pt x="173" y="473"/>
                      </a:lnTo>
                      <a:lnTo>
                        <a:pt x="183" y="473"/>
                      </a:lnTo>
                      <a:lnTo>
                        <a:pt x="195" y="479"/>
                      </a:lnTo>
                      <a:lnTo>
                        <a:pt x="205" y="473"/>
                      </a:lnTo>
                      <a:lnTo>
                        <a:pt x="249" y="490"/>
                      </a:lnTo>
                      <a:lnTo>
                        <a:pt x="249" y="518"/>
                      </a:lnTo>
                      <a:lnTo>
                        <a:pt x="227" y="524"/>
                      </a:lnTo>
                      <a:lnTo>
                        <a:pt x="217" y="534"/>
                      </a:lnTo>
                      <a:lnTo>
                        <a:pt x="221" y="546"/>
                      </a:lnTo>
                      <a:lnTo>
                        <a:pt x="233" y="546"/>
                      </a:lnTo>
                      <a:lnTo>
                        <a:pt x="211" y="562"/>
                      </a:lnTo>
                      <a:lnTo>
                        <a:pt x="227" y="579"/>
                      </a:lnTo>
                      <a:lnTo>
                        <a:pt x="266" y="597"/>
                      </a:lnTo>
                      <a:lnTo>
                        <a:pt x="284" y="607"/>
                      </a:lnTo>
                      <a:lnTo>
                        <a:pt x="306" y="607"/>
                      </a:lnTo>
                      <a:lnTo>
                        <a:pt x="310" y="601"/>
                      </a:lnTo>
                      <a:lnTo>
                        <a:pt x="339" y="619"/>
                      </a:lnTo>
                      <a:lnTo>
                        <a:pt x="351" y="613"/>
                      </a:lnTo>
                      <a:lnTo>
                        <a:pt x="371" y="629"/>
                      </a:lnTo>
                      <a:lnTo>
                        <a:pt x="405" y="646"/>
                      </a:lnTo>
                      <a:lnTo>
                        <a:pt x="411" y="629"/>
                      </a:lnTo>
                      <a:lnTo>
                        <a:pt x="405" y="623"/>
                      </a:lnTo>
                      <a:lnTo>
                        <a:pt x="383" y="607"/>
                      </a:lnTo>
                      <a:lnTo>
                        <a:pt x="383" y="591"/>
                      </a:lnTo>
                      <a:lnTo>
                        <a:pt x="371" y="585"/>
                      </a:lnTo>
                      <a:lnTo>
                        <a:pt x="371" y="573"/>
                      </a:lnTo>
                      <a:lnTo>
                        <a:pt x="377" y="562"/>
                      </a:lnTo>
                      <a:lnTo>
                        <a:pt x="399" y="546"/>
                      </a:lnTo>
                      <a:lnTo>
                        <a:pt x="383" y="524"/>
                      </a:lnTo>
                      <a:lnTo>
                        <a:pt x="371" y="524"/>
                      </a:lnTo>
                      <a:lnTo>
                        <a:pt x="371" y="512"/>
                      </a:lnTo>
                      <a:lnTo>
                        <a:pt x="361" y="512"/>
                      </a:lnTo>
                      <a:lnTo>
                        <a:pt x="355" y="490"/>
                      </a:lnTo>
                      <a:lnTo>
                        <a:pt x="367" y="473"/>
                      </a:lnTo>
                      <a:lnTo>
                        <a:pt x="383" y="486"/>
                      </a:lnTo>
                      <a:lnTo>
                        <a:pt x="393" y="479"/>
                      </a:lnTo>
                      <a:lnTo>
                        <a:pt x="389" y="473"/>
                      </a:lnTo>
                      <a:lnTo>
                        <a:pt x="405" y="457"/>
                      </a:lnTo>
                      <a:lnTo>
                        <a:pt x="434" y="451"/>
                      </a:lnTo>
                      <a:lnTo>
                        <a:pt x="466" y="457"/>
                      </a:lnTo>
                      <a:lnTo>
                        <a:pt x="476" y="473"/>
                      </a:lnTo>
                      <a:lnTo>
                        <a:pt x="505" y="463"/>
                      </a:lnTo>
                      <a:lnTo>
                        <a:pt x="527" y="463"/>
                      </a:lnTo>
                      <a:lnTo>
                        <a:pt x="549" y="467"/>
                      </a:lnTo>
                      <a:lnTo>
                        <a:pt x="584" y="463"/>
                      </a:lnTo>
                      <a:lnTo>
                        <a:pt x="584" y="451"/>
                      </a:lnTo>
                      <a:lnTo>
                        <a:pt x="555" y="445"/>
                      </a:lnTo>
                      <a:lnTo>
                        <a:pt x="559" y="429"/>
                      </a:lnTo>
                      <a:lnTo>
                        <a:pt x="577" y="429"/>
                      </a:lnTo>
                      <a:lnTo>
                        <a:pt x="559" y="413"/>
                      </a:lnTo>
                      <a:lnTo>
                        <a:pt x="610" y="407"/>
                      </a:lnTo>
                      <a:lnTo>
                        <a:pt x="622" y="396"/>
                      </a:lnTo>
                      <a:lnTo>
                        <a:pt x="654" y="390"/>
                      </a:lnTo>
                      <a:lnTo>
                        <a:pt x="660" y="378"/>
                      </a:lnTo>
                      <a:lnTo>
                        <a:pt x="693" y="384"/>
                      </a:lnTo>
                      <a:lnTo>
                        <a:pt x="705" y="401"/>
                      </a:lnTo>
                      <a:lnTo>
                        <a:pt x="743" y="413"/>
                      </a:lnTo>
                      <a:lnTo>
                        <a:pt x="750" y="423"/>
                      </a:lnTo>
                      <a:lnTo>
                        <a:pt x="794" y="401"/>
                      </a:lnTo>
                      <a:lnTo>
                        <a:pt x="814" y="419"/>
                      </a:lnTo>
                      <a:lnTo>
                        <a:pt x="865" y="467"/>
                      </a:lnTo>
                      <a:lnTo>
                        <a:pt x="920" y="467"/>
                      </a:lnTo>
                      <a:lnTo>
                        <a:pt x="970" y="490"/>
                      </a:lnTo>
                      <a:lnTo>
                        <a:pt x="993" y="490"/>
                      </a:lnTo>
                      <a:lnTo>
                        <a:pt x="1037" y="467"/>
                      </a:lnTo>
                      <a:lnTo>
                        <a:pt x="1076" y="467"/>
                      </a:lnTo>
                      <a:lnTo>
                        <a:pt x="1088" y="479"/>
                      </a:lnTo>
                      <a:lnTo>
                        <a:pt x="1142" y="479"/>
                      </a:lnTo>
                      <a:lnTo>
                        <a:pt x="1132" y="439"/>
                      </a:lnTo>
                      <a:lnTo>
                        <a:pt x="1193" y="451"/>
                      </a:lnTo>
                      <a:lnTo>
                        <a:pt x="1215" y="473"/>
                      </a:lnTo>
                      <a:lnTo>
                        <a:pt x="1264" y="473"/>
                      </a:lnTo>
                      <a:lnTo>
                        <a:pt x="1304" y="490"/>
                      </a:lnTo>
                      <a:lnTo>
                        <a:pt x="1375" y="490"/>
                      </a:lnTo>
                      <a:lnTo>
                        <a:pt x="1387" y="479"/>
                      </a:lnTo>
                      <a:lnTo>
                        <a:pt x="1436" y="479"/>
                      </a:lnTo>
                      <a:lnTo>
                        <a:pt x="1470" y="473"/>
                      </a:lnTo>
                      <a:lnTo>
                        <a:pt x="1452" y="457"/>
                      </a:lnTo>
                      <a:lnTo>
                        <a:pt x="1464" y="439"/>
                      </a:lnTo>
                      <a:lnTo>
                        <a:pt x="1448" y="423"/>
                      </a:lnTo>
                      <a:lnTo>
                        <a:pt x="1448" y="413"/>
                      </a:lnTo>
                      <a:lnTo>
                        <a:pt x="1487" y="407"/>
                      </a:lnTo>
                      <a:lnTo>
                        <a:pt x="1576" y="445"/>
                      </a:lnTo>
                      <a:lnTo>
                        <a:pt x="1586" y="467"/>
                      </a:lnTo>
                      <a:lnTo>
                        <a:pt x="1630" y="486"/>
                      </a:lnTo>
                      <a:lnTo>
                        <a:pt x="1681" y="518"/>
                      </a:lnTo>
                      <a:lnTo>
                        <a:pt x="1725" y="496"/>
                      </a:lnTo>
                      <a:lnTo>
                        <a:pt x="1748" y="562"/>
                      </a:lnTo>
                      <a:lnTo>
                        <a:pt x="1725" y="573"/>
                      </a:lnTo>
                      <a:lnTo>
                        <a:pt x="1742" y="607"/>
                      </a:lnTo>
                      <a:lnTo>
                        <a:pt x="1774" y="601"/>
                      </a:lnTo>
                      <a:lnTo>
                        <a:pt x="1802" y="556"/>
                      </a:lnTo>
                      <a:lnTo>
                        <a:pt x="1796" y="506"/>
                      </a:lnTo>
                      <a:lnTo>
                        <a:pt x="1802" y="502"/>
                      </a:lnTo>
                      <a:lnTo>
                        <a:pt x="1752" y="419"/>
                      </a:lnTo>
                      <a:lnTo>
                        <a:pt x="1736" y="401"/>
                      </a:lnTo>
                      <a:lnTo>
                        <a:pt x="1691" y="396"/>
                      </a:lnTo>
                      <a:lnTo>
                        <a:pt x="1685" y="407"/>
                      </a:lnTo>
                      <a:lnTo>
                        <a:pt x="1665" y="396"/>
                      </a:lnTo>
                      <a:lnTo>
                        <a:pt x="1653" y="384"/>
                      </a:lnTo>
                      <a:lnTo>
                        <a:pt x="1624" y="378"/>
                      </a:lnTo>
                      <a:lnTo>
                        <a:pt x="1636" y="362"/>
                      </a:lnTo>
                      <a:lnTo>
                        <a:pt x="1653" y="330"/>
                      </a:lnTo>
                      <a:lnTo>
                        <a:pt x="1653" y="301"/>
                      </a:lnTo>
                      <a:lnTo>
                        <a:pt x="1742" y="311"/>
                      </a:lnTo>
                      <a:lnTo>
                        <a:pt x="1742" y="295"/>
                      </a:lnTo>
                      <a:lnTo>
                        <a:pt x="1786" y="301"/>
                      </a:lnTo>
                      <a:lnTo>
                        <a:pt x="1802" y="311"/>
                      </a:lnTo>
                      <a:lnTo>
                        <a:pt x="1819" y="301"/>
                      </a:lnTo>
                      <a:lnTo>
                        <a:pt x="1835" y="301"/>
                      </a:lnTo>
                      <a:lnTo>
                        <a:pt x="1812" y="289"/>
                      </a:lnTo>
                      <a:lnTo>
                        <a:pt x="1812" y="263"/>
                      </a:lnTo>
                      <a:lnTo>
                        <a:pt x="1857" y="257"/>
                      </a:lnTo>
                      <a:lnTo>
                        <a:pt x="1869" y="273"/>
                      </a:lnTo>
                      <a:lnTo>
                        <a:pt x="1885" y="263"/>
                      </a:lnTo>
                      <a:lnTo>
                        <a:pt x="1879" y="245"/>
                      </a:lnTo>
                      <a:lnTo>
                        <a:pt x="1885" y="241"/>
                      </a:lnTo>
                      <a:lnTo>
                        <a:pt x="1908" y="245"/>
                      </a:lnTo>
                      <a:lnTo>
                        <a:pt x="1895" y="245"/>
                      </a:lnTo>
                      <a:lnTo>
                        <a:pt x="1914" y="267"/>
                      </a:lnTo>
                      <a:lnTo>
                        <a:pt x="1902" y="301"/>
                      </a:lnTo>
                      <a:lnTo>
                        <a:pt x="1908" y="318"/>
                      </a:lnTo>
                      <a:lnTo>
                        <a:pt x="1895" y="330"/>
                      </a:lnTo>
                      <a:lnTo>
                        <a:pt x="1908" y="368"/>
                      </a:lnTo>
                      <a:lnTo>
                        <a:pt x="1956" y="396"/>
                      </a:lnTo>
                      <a:lnTo>
                        <a:pt x="1974" y="423"/>
                      </a:lnTo>
                      <a:lnTo>
                        <a:pt x="1991" y="423"/>
                      </a:lnTo>
                      <a:lnTo>
                        <a:pt x="2007" y="451"/>
                      </a:lnTo>
                      <a:lnTo>
                        <a:pt x="2019" y="451"/>
                      </a:lnTo>
                      <a:lnTo>
                        <a:pt x="2023" y="429"/>
                      </a:lnTo>
                      <a:lnTo>
                        <a:pt x="2007" y="419"/>
                      </a:lnTo>
                      <a:lnTo>
                        <a:pt x="2019" y="407"/>
                      </a:lnTo>
                      <a:lnTo>
                        <a:pt x="2007" y="390"/>
                      </a:lnTo>
                      <a:lnTo>
                        <a:pt x="2019" y="390"/>
                      </a:lnTo>
                      <a:lnTo>
                        <a:pt x="2007" y="362"/>
                      </a:lnTo>
                      <a:lnTo>
                        <a:pt x="2013" y="356"/>
                      </a:lnTo>
                      <a:lnTo>
                        <a:pt x="1974" y="330"/>
                      </a:lnTo>
                      <a:lnTo>
                        <a:pt x="1952" y="324"/>
                      </a:lnTo>
                      <a:lnTo>
                        <a:pt x="1952" y="311"/>
                      </a:lnTo>
                      <a:lnTo>
                        <a:pt x="1968" y="318"/>
                      </a:lnTo>
                      <a:lnTo>
                        <a:pt x="1974" y="301"/>
                      </a:lnTo>
                      <a:lnTo>
                        <a:pt x="1946" y="301"/>
                      </a:lnTo>
                      <a:lnTo>
                        <a:pt x="1940" y="295"/>
                      </a:lnTo>
                      <a:lnTo>
                        <a:pt x="1962" y="279"/>
                      </a:lnTo>
                      <a:lnTo>
                        <a:pt x="1974" y="289"/>
                      </a:lnTo>
                      <a:lnTo>
                        <a:pt x="2007" y="279"/>
                      </a:lnTo>
                      <a:lnTo>
                        <a:pt x="2023" y="289"/>
                      </a:lnTo>
                      <a:lnTo>
                        <a:pt x="2041" y="263"/>
                      </a:lnTo>
                      <a:lnTo>
                        <a:pt x="2057" y="251"/>
                      </a:lnTo>
                      <a:lnTo>
                        <a:pt x="2057" y="241"/>
                      </a:lnTo>
                      <a:lnTo>
                        <a:pt x="2090" y="245"/>
                      </a:lnTo>
                      <a:lnTo>
                        <a:pt x="2102" y="235"/>
                      </a:lnTo>
                      <a:lnTo>
                        <a:pt x="2003" y="206"/>
                      </a:lnTo>
                      <a:lnTo>
                        <a:pt x="2041" y="200"/>
                      </a:lnTo>
                      <a:lnTo>
                        <a:pt x="2013" y="184"/>
                      </a:lnTo>
                      <a:lnTo>
                        <a:pt x="2023" y="178"/>
                      </a:lnTo>
                      <a:lnTo>
                        <a:pt x="2045" y="190"/>
                      </a:lnTo>
                      <a:lnTo>
                        <a:pt x="2074" y="190"/>
                      </a:lnTo>
                      <a:lnTo>
                        <a:pt x="2102" y="206"/>
                      </a:lnTo>
                      <a:lnTo>
                        <a:pt x="2134" y="206"/>
                      </a:lnTo>
                      <a:lnTo>
                        <a:pt x="2140" y="218"/>
                      </a:lnTo>
                      <a:lnTo>
                        <a:pt x="2169" y="212"/>
                      </a:lnTo>
                      <a:lnTo>
                        <a:pt x="2147" y="200"/>
                      </a:lnTo>
                      <a:lnTo>
                        <a:pt x="2147" y="184"/>
                      </a:lnTo>
                      <a:lnTo>
                        <a:pt x="2086" y="162"/>
                      </a:lnTo>
                      <a:lnTo>
                        <a:pt x="2086" y="16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9" name="Freeform 152">
                  <a:extLst>
                    <a:ext uri="{FF2B5EF4-FFF2-40B4-BE49-F238E27FC236}">
                      <a16:creationId xmlns:a16="http://schemas.microsoft.com/office/drawing/2014/main" id="{6DC9BF40-6A16-4322-8388-3E02937B7CF6}"/>
                    </a:ext>
                  </a:extLst>
                </p:cNvPr>
                <p:cNvSpPr>
                  <a:spLocks/>
                </p:cNvSpPr>
                <p:nvPr/>
              </p:nvSpPr>
              <p:spPr bwMode="auto">
                <a:xfrm>
                  <a:off x="7153758" y="1629117"/>
                  <a:ext cx="198064" cy="238753"/>
                </a:xfrm>
                <a:custGeom>
                  <a:avLst/>
                  <a:gdLst/>
                  <a:ahLst/>
                  <a:cxnLst>
                    <a:cxn ang="0">
                      <a:pos x="26" y="45"/>
                    </a:cxn>
                    <a:cxn ang="0">
                      <a:pos x="48" y="61"/>
                    </a:cxn>
                    <a:cxn ang="0">
                      <a:pos x="66" y="83"/>
                    </a:cxn>
                    <a:cxn ang="0">
                      <a:pos x="77" y="95"/>
                    </a:cxn>
                    <a:cxn ang="0">
                      <a:pos x="83" y="118"/>
                    </a:cxn>
                    <a:cxn ang="0">
                      <a:pos x="99" y="128"/>
                    </a:cxn>
                    <a:cxn ang="0">
                      <a:pos x="111" y="150"/>
                    </a:cxn>
                    <a:cxn ang="0">
                      <a:pos x="121" y="162"/>
                    </a:cxn>
                    <a:cxn ang="0">
                      <a:pos x="121" y="146"/>
                    </a:cxn>
                    <a:cxn ang="0">
                      <a:pos x="143" y="156"/>
                    </a:cxn>
                    <a:cxn ang="0">
                      <a:pos x="131" y="140"/>
                    </a:cxn>
                    <a:cxn ang="0">
                      <a:pos x="99" y="118"/>
                    </a:cxn>
                    <a:cxn ang="0">
                      <a:pos x="99" y="102"/>
                    </a:cxn>
                    <a:cxn ang="0">
                      <a:pos x="121" y="106"/>
                    </a:cxn>
                    <a:cxn ang="0">
                      <a:pos x="111" y="95"/>
                    </a:cxn>
                    <a:cxn ang="0">
                      <a:pos x="77" y="73"/>
                    </a:cxn>
                    <a:cxn ang="0">
                      <a:pos x="10" y="0"/>
                    </a:cxn>
                    <a:cxn ang="0">
                      <a:pos x="0" y="0"/>
                    </a:cxn>
                    <a:cxn ang="0">
                      <a:pos x="26" y="45"/>
                    </a:cxn>
                    <a:cxn ang="0">
                      <a:pos x="26" y="45"/>
                    </a:cxn>
                  </a:cxnLst>
                  <a:rect l="0" t="0" r="r" b="b"/>
                  <a:pathLst>
                    <a:path w="143" h="162">
                      <a:moveTo>
                        <a:pt x="26" y="45"/>
                      </a:moveTo>
                      <a:lnTo>
                        <a:pt x="48" y="61"/>
                      </a:lnTo>
                      <a:lnTo>
                        <a:pt x="66" y="83"/>
                      </a:lnTo>
                      <a:lnTo>
                        <a:pt x="77" y="95"/>
                      </a:lnTo>
                      <a:lnTo>
                        <a:pt x="83" y="118"/>
                      </a:lnTo>
                      <a:lnTo>
                        <a:pt x="99" y="128"/>
                      </a:lnTo>
                      <a:lnTo>
                        <a:pt x="111" y="150"/>
                      </a:lnTo>
                      <a:lnTo>
                        <a:pt x="121" y="162"/>
                      </a:lnTo>
                      <a:lnTo>
                        <a:pt x="121" y="146"/>
                      </a:lnTo>
                      <a:lnTo>
                        <a:pt x="143" y="156"/>
                      </a:lnTo>
                      <a:lnTo>
                        <a:pt x="131" y="140"/>
                      </a:lnTo>
                      <a:lnTo>
                        <a:pt x="99" y="118"/>
                      </a:lnTo>
                      <a:lnTo>
                        <a:pt x="99" y="102"/>
                      </a:lnTo>
                      <a:lnTo>
                        <a:pt x="121" y="106"/>
                      </a:lnTo>
                      <a:lnTo>
                        <a:pt x="111" y="95"/>
                      </a:lnTo>
                      <a:lnTo>
                        <a:pt x="77" y="73"/>
                      </a:lnTo>
                      <a:lnTo>
                        <a:pt x="10" y="0"/>
                      </a:lnTo>
                      <a:lnTo>
                        <a:pt x="0" y="0"/>
                      </a:lnTo>
                      <a:lnTo>
                        <a:pt x="26" y="45"/>
                      </a:lnTo>
                      <a:lnTo>
                        <a:pt x="26" y="4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0" name="Freeform 153">
                  <a:extLst>
                    <a:ext uri="{FF2B5EF4-FFF2-40B4-BE49-F238E27FC236}">
                      <a16:creationId xmlns:a16="http://schemas.microsoft.com/office/drawing/2014/main" id="{37CEA4B2-B956-4894-A2FF-64EC0CCCDA4F}"/>
                    </a:ext>
                  </a:extLst>
                </p:cNvPr>
                <p:cNvSpPr>
                  <a:spLocks/>
                </p:cNvSpPr>
                <p:nvPr/>
              </p:nvSpPr>
              <p:spPr bwMode="auto">
                <a:xfrm>
                  <a:off x="7605289" y="1605536"/>
                  <a:ext cx="38782" cy="23580"/>
                </a:xfrm>
                <a:custGeom>
                  <a:avLst/>
                  <a:gdLst/>
                  <a:ahLst/>
                  <a:cxnLst>
                    <a:cxn ang="0">
                      <a:pos x="12" y="0"/>
                    </a:cxn>
                    <a:cxn ang="0">
                      <a:pos x="0" y="0"/>
                    </a:cxn>
                    <a:cxn ang="0">
                      <a:pos x="6" y="10"/>
                    </a:cxn>
                    <a:cxn ang="0">
                      <a:pos x="22" y="16"/>
                    </a:cxn>
                    <a:cxn ang="0">
                      <a:pos x="28" y="10"/>
                    </a:cxn>
                    <a:cxn ang="0">
                      <a:pos x="12" y="0"/>
                    </a:cxn>
                    <a:cxn ang="0">
                      <a:pos x="12" y="0"/>
                    </a:cxn>
                  </a:cxnLst>
                  <a:rect l="0" t="0" r="r" b="b"/>
                  <a:pathLst>
                    <a:path w="28" h="16">
                      <a:moveTo>
                        <a:pt x="12" y="0"/>
                      </a:moveTo>
                      <a:lnTo>
                        <a:pt x="0" y="0"/>
                      </a:lnTo>
                      <a:lnTo>
                        <a:pt x="6" y="10"/>
                      </a:lnTo>
                      <a:lnTo>
                        <a:pt x="22" y="16"/>
                      </a:lnTo>
                      <a:lnTo>
                        <a:pt x="28" y="10"/>
                      </a:lnTo>
                      <a:lnTo>
                        <a:pt x="12" y="0"/>
                      </a:lnTo>
                      <a:lnTo>
                        <a:pt x="1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1" name="Freeform 154">
                  <a:extLst>
                    <a:ext uri="{FF2B5EF4-FFF2-40B4-BE49-F238E27FC236}">
                      <a16:creationId xmlns:a16="http://schemas.microsoft.com/office/drawing/2014/main" id="{AF9ECC4A-E53C-48A1-BCCA-A146A7AEC20F}"/>
                    </a:ext>
                  </a:extLst>
                </p:cNvPr>
                <p:cNvSpPr>
                  <a:spLocks/>
                </p:cNvSpPr>
                <p:nvPr/>
              </p:nvSpPr>
              <p:spPr bwMode="auto">
                <a:xfrm>
                  <a:off x="7515260" y="1736702"/>
                  <a:ext cx="13850" cy="32424"/>
                </a:xfrm>
                <a:custGeom>
                  <a:avLst/>
                  <a:gdLst/>
                  <a:ahLst/>
                  <a:cxnLst>
                    <a:cxn ang="0">
                      <a:pos x="10" y="22"/>
                    </a:cxn>
                    <a:cxn ang="0">
                      <a:pos x="10" y="0"/>
                    </a:cxn>
                    <a:cxn ang="0">
                      <a:pos x="0" y="16"/>
                    </a:cxn>
                    <a:cxn ang="0">
                      <a:pos x="10" y="22"/>
                    </a:cxn>
                    <a:cxn ang="0">
                      <a:pos x="10" y="22"/>
                    </a:cxn>
                  </a:cxnLst>
                  <a:rect l="0" t="0" r="r" b="b"/>
                  <a:pathLst>
                    <a:path w="10" h="22">
                      <a:moveTo>
                        <a:pt x="10" y="22"/>
                      </a:moveTo>
                      <a:lnTo>
                        <a:pt x="10" y="0"/>
                      </a:lnTo>
                      <a:lnTo>
                        <a:pt x="0" y="16"/>
                      </a:lnTo>
                      <a:lnTo>
                        <a:pt x="10" y="22"/>
                      </a:lnTo>
                      <a:lnTo>
                        <a:pt x="10"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2" name="Freeform 155">
                  <a:extLst>
                    <a:ext uri="{FF2B5EF4-FFF2-40B4-BE49-F238E27FC236}">
                      <a16:creationId xmlns:a16="http://schemas.microsoft.com/office/drawing/2014/main" id="{4872670B-8929-46F8-9464-DF54B05296A5}"/>
                    </a:ext>
                  </a:extLst>
                </p:cNvPr>
                <p:cNvSpPr>
                  <a:spLocks/>
                </p:cNvSpPr>
                <p:nvPr/>
              </p:nvSpPr>
              <p:spPr bwMode="auto">
                <a:xfrm>
                  <a:off x="7652382" y="1620275"/>
                  <a:ext cx="30471" cy="17686"/>
                </a:xfrm>
                <a:custGeom>
                  <a:avLst/>
                  <a:gdLst/>
                  <a:ahLst/>
                  <a:cxnLst>
                    <a:cxn ang="0">
                      <a:pos x="0" y="0"/>
                    </a:cxn>
                    <a:cxn ang="0">
                      <a:pos x="0" y="6"/>
                    </a:cxn>
                    <a:cxn ang="0">
                      <a:pos x="10" y="12"/>
                    </a:cxn>
                    <a:cxn ang="0">
                      <a:pos x="22" y="6"/>
                    </a:cxn>
                    <a:cxn ang="0">
                      <a:pos x="0" y="0"/>
                    </a:cxn>
                    <a:cxn ang="0">
                      <a:pos x="0" y="0"/>
                    </a:cxn>
                  </a:cxnLst>
                  <a:rect l="0" t="0" r="r" b="b"/>
                  <a:pathLst>
                    <a:path w="22" h="12">
                      <a:moveTo>
                        <a:pt x="0" y="0"/>
                      </a:moveTo>
                      <a:lnTo>
                        <a:pt x="0" y="6"/>
                      </a:lnTo>
                      <a:lnTo>
                        <a:pt x="10" y="12"/>
                      </a:lnTo>
                      <a:lnTo>
                        <a:pt x="22" y="6"/>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3" name="Freeform 156">
                  <a:extLst>
                    <a:ext uri="{FF2B5EF4-FFF2-40B4-BE49-F238E27FC236}">
                      <a16:creationId xmlns:a16="http://schemas.microsoft.com/office/drawing/2014/main" id="{6A7C33D9-F67D-4803-AAEA-D921E68FF71F}"/>
                    </a:ext>
                  </a:extLst>
                </p:cNvPr>
                <p:cNvSpPr>
                  <a:spLocks/>
                </p:cNvSpPr>
                <p:nvPr/>
              </p:nvSpPr>
              <p:spPr bwMode="auto">
                <a:xfrm>
                  <a:off x="6454301" y="1095608"/>
                  <a:ext cx="59558" cy="64847"/>
                </a:xfrm>
                <a:custGeom>
                  <a:avLst/>
                  <a:gdLst/>
                  <a:ahLst/>
                  <a:cxnLst>
                    <a:cxn ang="0">
                      <a:pos x="11" y="0"/>
                    </a:cxn>
                    <a:cxn ang="0">
                      <a:pos x="5" y="6"/>
                    </a:cxn>
                    <a:cxn ang="0">
                      <a:pos x="0" y="18"/>
                    </a:cxn>
                    <a:cxn ang="0">
                      <a:pos x="21" y="28"/>
                    </a:cxn>
                    <a:cxn ang="0">
                      <a:pos x="17" y="34"/>
                    </a:cxn>
                    <a:cxn ang="0">
                      <a:pos x="27" y="44"/>
                    </a:cxn>
                    <a:cxn ang="0">
                      <a:pos x="33" y="34"/>
                    </a:cxn>
                    <a:cxn ang="0">
                      <a:pos x="43" y="28"/>
                    </a:cxn>
                    <a:cxn ang="0">
                      <a:pos x="39" y="12"/>
                    </a:cxn>
                    <a:cxn ang="0">
                      <a:pos x="21" y="0"/>
                    </a:cxn>
                    <a:cxn ang="0">
                      <a:pos x="11" y="0"/>
                    </a:cxn>
                    <a:cxn ang="0">
                      <a:pos x="11" y="0"/>
                    </a:cxn>
                  </a:cxnLst>
                  <a:rect l="0" t="0" r="r" b="b"/>
                  <a:pathLst>
                    <a:path w="43" h="44">
                      <a:moveTo>
                        <a:pt x="11" y="0"/>
                      </a:moveTo>
                      <a:lnTo>
                        <a:pt x="5" y="6"/>
                      </a:lnTo>
                      <a:lnTo>
                        <a:pt x="0" y="18"/>
                      </a:lnTo>
                      <a:lnTo>
                        <a:pt x="21" y="28"/>
                      </a:lnTo>
                      <a:lnTo>
                        <a:pt x="17" y="34"/>
                      </a:lnTo>
                      <a:lnTo>
                        <a:pt x="27" y="44"/>
                      </a:lnTo>
                      <a:lnTo>
                        <a:pt x="33" y="34"/>
                      </a:lnTo>
                      <a:lnTo>
                        <a:pt x="43" y="28"/>
                      </a:lnTo>
                      <a:lnTo>
                        <a:pt x="39" y="12"/>
                      </a:lnTo>
                      <a:lnTo>
                        <a:pt x="21" y="0"/>
                      </a:lnTo>
                      <a:lnTo>
                        <a:pt x="11" y="0"/>
                      </a:lnTo>
                      <a:lnTo>
                        <a:pt x="11"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4" name="Freeform 157">
                  <a:extLst>
                    <a:ext uri="{FF2B5EF4-FFF2-40B4-BE49-F238E27FC236}">
                      <a16:creationId xmlns:a16="http://schemas.microsoft.com/office/drawing/2014/main" id="{D2E09059-7C05-4C1F-8EB6-130D70617CF6}"/>
                    </a:ext>
                  </a:extLst>
                </p:cNvPr>
                <p:cNvSpPr>
                  <a:spLocks/>
                </p:cNvSpPr>
                <p:nvPr/>
              </p:nvSpPr>
              <p:spPr bwMode="auto">
                <a:xfrm>
                  <a:off x="6429371" y="1113294"/>
                  <a:ext cx="16621" cy="14738"/>
                </a:xfrm>
                <a:custGeom>
                  <a:avLst/>
                  <a:gdLst/>
                  <a:ahLst/>
                  <a:cxnLst>
                    <a:cxn ang="0">
                      <a:pos x="12" y="10"/>
                    </a:cxn>
                    <a:cxn ang="0">
                      <a:pos x="6" y="0"/>
                    </a:cxn>
                    <a:cxn ang="0">
                      <a:pos x="0" y="0"/>
                    </a:cxn>
                    <a:cxn ang="0">
                      <a:pos x="0" y="10"/>
                    </a:cxn>
                    <a:cxn ang="0">
                      <a:pos x="12" y="10"/>
                    </a:cxn>
                    <a:cxn ang="0">
                      <a:pos x="12" y="10"/>
                    </a:cxn>
                  </a:cxnLst>
                  <a:rect l="0" t="0" r="r" b="b"/>
                  <a:pathLst>
                    <a:path w="12" h="10">
                      <a:moveTo>
                        <a:pt x="12" y="10"/>
                      </a:moveTo>
                      <a:lnTo>
                        <a:pt x="6" y="0"/>
                      </a:lnTo>
                      <a:lnTo>
                        <a:pt x="0" y="0"/>
                      </a:lnTo>
                      <a:lnTo>
                        <a:pt x="0" y="10"/>
                      </a:lnTo>
                      <a:lnTo>
                        <a:pt x="12" y="10"/>
                      </a:lnTo>
                      <a:lnTo>
                        <a:pt x="12"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5" name="Freeform 158">
                  <a:extLst>
                    <a:ext uri="{FF2B5EF4-FFF2-40B4-BE49-F238E27FC236}">
                      <a16:creationId xmlns:a16="http://schemas.microsoft.com/office/drawing/2014/main" id="{B6C8A536-D8CD-4C2E-8A9F-B14A4A8D83F2}"/>
                    </a:ext>
                  </a:extLst>
                </p:cNvPr>
                <p:cNvSpPr>
                  <a:spLocks/>
                </p:cNvSpPr>
                <p:nvPr/>
              </p:nvSpPr>
              <p:spPr bwMode="auto">
                <a:xfrm>
                  <a:off x="6513859" y="1104451"/>
                  <a:ext cx="87259" cy="32424"/>
                </a:xfrm>
                <a:custGeom>
                  <a:avLst/>
                  <a:gdLst/>
                  <a:ahLst/>
                  <a:cxnLst>
                    <a:cxn ang="0">
                      <a:pos x="63" y="16"/>
                    </a:cxn>
                    <a:cxn ang="0">
                      <a:pos x="51" y="6"/>
                    </a:cxn>
                    <a:cxn ang="0">
                      <a:pos x="0" y="0"/>
                    </a:cxn>
                    <a:cxn ang="0">
                      <a:pos x="6" y="16"/>
                    </a:cxn>
                    <a:cxn ang="0">
                      <a:pos x="34" y="22"/>
                    </a:cxn>
                    <a:cxn ang="0">
                      <a:pos x="63" y="16"/>
                    </a:cxn>
                    <a:cxn ang="0">
                      <a:pos x="63" y="16"/>
                    </a:cxn>
                  </a:cxnLst>
                  <a:rect l="0" t="0" r="r" b="b"/>
                  <a:pathLst>
                    <a:path w="63" h="22">
                      <a:moveTo>
                        <a:pt x="63" y="16"/>
                      </a:moveTo>
                      <a:lnTo>
                        <a:pt x="51" y="6"/>
                      </a:lnTo>
                      <a:lnTo>
                        <a:pt x="0" y="0"/>
                      </a:lnTo>
                      <a:lnTo>
                        <a:pt x="6" y="16"/>
                      </a:lnTo>
                      <a:lnTo>
                        <a:pt x="34" y="22"/>
                      </a:lnTo>
                      <a:lnTo>
                        <a:pt x="63" y="16"/>
                      </a:lnTo>
                      <a:lnTo>
                        <a:pt x="63"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6" name="Freeform 159">
                  <a:extLst>
                    <a:ext uri="{FF2B5EF4-FFF2-40B4-BE49-F238E27FC236}">
                      <a16:creationId xmlns:a16="http://schemas.microsoft.com/office/drawing/2014/main" id="{E6D0FB33-331A-4C2C-922E-369B55301AAC}"/>
                    </a:ext>
                  </a:extLst>
                </p:cNvPr>
                <p:cNvSpPr>
                  <a:spLocks/>
                </p:cNvSpPr>
                <p:nvPr/>
              </p:nvSpPr>
              <p:spPr bwMode="auto">
                <a:xfrm>
                  <a:off x="6576187" y="1145718"/>
                  <a:ext cx="60943" cy="25054"/>
                </a:xfrm>
                <a:custGeom>
                  <a:avLst/>
                  <a:gdLst/>
                  <a:ahLst/>
                  <a:cxnLst>
                    <a:cxn ang="0">
                      <a:pos x="6" y="0"/>
                    </a:cxn>
                    <a:cxn ang="0">
                      <a:pos x="0" y="10"/>
                    </a:cxn>
                    <a:cxn ang="0">
                      <a:pos x="28" y="17"/>
                    </a:cxn>
                    <a:cxn ang="0">
                      <a:pos x="44" y="17"/>
                    </a:cxn>
                    <a:cxn ang="0">
                      <a:pos x="44" y="10"/>
                    </a:cxn>
                    <a:cxn ang="0">
                      <a:pos x="40" y="0"/>
                    </a:cxn>
                    <a:cxn ang="0">
                      <a:pos x="28" y="6"/>
                    </a:cxn>
                    <a:cxn ang="0">
                      <a:pos x="6" y="0"/>
                    </a:cxn>
                    <a:cxn ang="0">
                      <a:pos x="6" y="0"/>
                    </a:cxn>
                  </a:cxnLst>
                  <a:rect l="0" t="0" r="r" b="b"/>
                  <a:pathLst>
                    <a:path w="44" h="17">
                      <a:moveTo>
                        <a:pt x="6" y="0"/>
                      </a:moveTo>
                      <a:lnTo>
                        <a:pt x="0" y="10"/>
                      </a:lnTo>
                      <a:lnTo>
                        <a:pt x="28" y="17"/>
                      </a:lnTo>
                      <a:lnTo>
                        <a:pt x="44" y="17"/>
                      </a:lnTo>
                      <a:lnTo>
                        <a:pt x="44" y="10"/>
                      </a:lnTo>
                      <a:lnTo>
                        <a:pt x="40" y="0"/>
                      </a:lnTo>
                      <a:lnTo>
                        <a:pt x="28" y="6"/>
                      </a:lnTo>
                      <a:lnTo>
                        <a:pt x="6" y="0"/>
                      </a:lnTo>
                      <a:lnTo>
                        <a:pt x="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7" name="Freeform 160">
                  <a:extLst>
                    <a:ext uri="{FF2B5EF4-FFF2-40B4-BE49-F238E27FC236}">
                      <a16:creationId xmlns:a16="http://schemas.microsoft.com/office/drawing/2014/main" id="{0B71A6E4-D449-48C1-A372-D5380DE93ACB}"/>
                    </a:ext>
                  </a:extLst>
                </p:cNvPr>
                <p:cNvSpPr>
                  <a:spLocks/>
                </p:cNvSpPr>
                <p:nvPr/>
              </p:nvSpPr>
              <p:spPr bwMode="auto">
                <a:xfrm>
                  <a:off x="6552641" y="1145718"/>
                  <a:ext cx="16621" cy="14738"/>
                </a:xfrm>
                <a:custGeom>
                  <a:avLst/>
                  <a:gdLst/>
                  <a:ahLst/>
                  <a:cxnLst>
                    <a:cxn ang="0">
                      <a:pos x="0" y="0"/>
                    </a:cxn>
                    <a:cxn ang="0">
                      <a:pos x="6" y="10"/>
                    </a:cxn>
                    <a:cxn ang="0">
                      <a:pos x="12" y="6"/>
                    </a:cxn>
                    <a:cxn ang="0">
                      <a:pos x="0" y="0"/>
                    </a:cxn>
                    <a:cxn ang="0">
                      <a:pos x="0" y="0"/>
                    </a:cxn>
                  </a:cxnLst>
                  <a:rect l="0" t="0" r="r" b="b"/>
                  <a:pathLst>
                    <a:path w="12" h="10">
                      <a:moveTo>
                        <a:pt x="0" y="0"/>
                      </a:moveTo>
                      <a:lnTo>
                        <a:pt x="6" y="10"/>
                      </a:lnTo>
                      <a:lnTo>
                        <a:pt x="12" y="6"/>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8" name="Freeform 161">
                  <a:extLst>
                    <a:ext uri="{FF2B5EF4-FFF2-40B4-BE49-F238E27FC236}">
                      <a16:creationId xmlns:a16="http://schemas.microsoft.com/office/drawing/2014/main" id="{4590530B-8284-419E-9FEC-D0271F241B61}"/>
                    </a:ext>
                  </a:extLst>
                </p:cNvPr>
                <p:cNvSpPr>
                  <a:spLocks/>
                </p:cNvSpPr>
                <p:nvPr/>
              </p:nvSpPr>
              <p:spPr bwMode="auto">
                <a:xfrm>
                  <a:off x="6623280" y="1104451"/>
                  <a:ext cx="84489" cy="41266"/>
                </a:xfrm>
                <a:custGeom>
                  <a:avLst/>
                  <a:gdLst/>
                  <a:ahLst/>
                  <a:cxnLst>
                    <a:cxn ang="0">
                      <a:pos x="61" y="12"/>
                    </a:cxn>
                    <a:cxn ang="0">
                      <a:pos x="38" y="6"/>
                    </a:cxn>
                    <a:cxn ang="0">
                      <a:pos x="32" y="0"/>
                    </a:cxn>
                    <a:cxn ang="0">
                      <a:pos x="28" y="12"/>
                    </a:cxn>
                    <a:cxn ang="0">
                      <a:pos x="0" y="6"/>
                    </a:cxn>
                    <a:cxn ang="0">
                      <a:pos x="10" y="22"/>
                    </a:cxn>
                    <a:cxn ang="0">
                      <a:pos x="28" y="28"/>
                    </a:cxn>
                    <a:cxn ang="0">
                      <a:pos x="61" y="22"/>
                    </a:cxn>
                    <a:cxn ang="0">
                      <a:pos x="61" y="12"/>
                    </a:cxn>
                    <a:cxn ang="0">
                      <a:pos x="61" y="12"/>
                    </a:cxn>
                  </a:cxnLst>
                  <a:rect l="0" t="0" r="r" b="b"/>
                  <a:pathLst>
                    <a:path w="61" h="28">
                      <a:moveTo>
                        <a:pt x="61" y="12"/>
                      </a:moveTo>
                      <a:lnTo>
                        <a:pt x="38" y="6"/>
                      </a:lnTo>
                      <a:lnTo>
                        <a:pt x="32" y="0"/>
                      </a:lnTo>
                      <a:lnTo>
                        <a:pt x="28" y="12"/>
                      </a:lnTo>
                      <a:lnTo>
                        <a:pt x="0" y="6"/>
                      </a:lnTo>
                      <a:lnTo>
                        <a:pt x="10" y="22"/>
                      </a:lnTo>
                      <a:lnTo>
                        <a:pt x="28" y="28"/>
                      </a:lnTo>
                      <a:lnTo>
                        <a:pt x="61" y="22"/>
                      </a:lnTo>
                      <a:lnTo>
                        <a:pt x="61" y="12"/>
                      </a:lnTo>
                      <a:lnTo>
                        <a:pt x="61"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9" name="Freeform 162">
                  <a:extLst>
                    <a:ext uri="{FF2B5EF4-FFF2-40B4-BE49-F238E27FC236}">
                      <a16:creationId xmlns:a16="http://schemas.microsoft.com/office/drawing/2014/main" id="{4B041C4E-F3F7-4B8A-AE43-1C5D936A968D}"/>
                    </a:ext>
                  </a:extLst>
                </p:cNvPr>
                <p:cNvSpPr>
                  <a:spLocks/>
                </p:cNvSpPr>
                <p:nvPr/>
              </p:nvSpPr>
              <p:spPr bwMode="auto">
                <a:xfrm>
                  <a:off x="7030488" y="1611432"/>
                  <a:ext cx="22161" cy="17686"/>
                </a:xfrm>
                <a:custGeom>
                  <a:avLst/>
                  <a:gdLst/>
                  <a:ahLst/>
                  <a:cxnLst>
                    <a:cxn ang="0">
                      <a:pos x="16" y="0"/>
                    </a:cxn>
                    <a:cxn ang="0">
                      <a:pos x="0" y="0"/>
                    </a:cxn>
                    <a:cxn ang="0">
                      <a:pos x="16" y="12"/>
                    </a:cxn>
                    <a:cxn ang="0">
                      <a:pos x="16" y="0"/>
                    </a:cxn>
                    <a:cxn ang="0">
                      <a:pos x="16" y="0"/>
                    </a:cxn>
                  </a:cxnLst>
                  <a:rect l="0" t="0" r="r" b="b"/>
                  <a:pathLst>
                    <a:path w="16" h="12">
                      <a:moveTo>
                        <a:pt x="16" y="0"/>
                      </a:moveTo>
                      <a:lnTo>
                        <a:pt x="0" y="0"/>
                      </a:lnTo>
                      <a:lnTo>
                        <a:pt x="16" y="12"/>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0" name="Freeform 163">
                  <a:extLst>
                    <a:ext uri="{FF2B5EF4-FFF2-40B4-BE49-F238E27FC236}">
                      <a16:creationId xmlns:a16="http://schemas.microsoft.com/office/drawing/2014/main" id="{630C1F25-916C-48BD-A8DB-DC3F85E4B1D8}"/>
                    </a:ext>
                  </a:extLst>
                </p:cNvPr>
                <p:cNvSpPr>
                  <a:spLocks/>
                </p:cNvSpPr>
                <p:nvPr/>
              </p:nvSpPr>
              <p:spPr bwMode="auto">
                <a:xfrm>
                  <a:off x="7515260" y="1826603"/>
                  <a:ext cx="13850" cy="23580"/>
                </a:xfrm>
                <a:custGeom>
                  <a:avLst/>
                  <a:gdLst/>
                  <a:ahLst/>
                  <a:cxnLst>
                    <a:cxn ang="0">
                      <a:pos x="0" y="16"/>
                    </a:cxn>
                    <a:cxn ang="0">
                      <a:pos x="10" y="12"/>
                    </a:cxn>
                    <a:cxn ang="0">
                      <a:pos x="4" y="0"/>
                    </a:cxn>
                    <a:cxn ang="0">
                      <a:pos x="0" y="16"/>
                    </a:cxn>
                    <a:cxn ang="0">
                      <a:pos x="0" y="16"/>
                    </a:cxn>
                  </a:cxnLst>
                  <a:rect l="0" t="0" r="r" b="b"/>
                  <a:pathLst>
                    <a:path w="10" h="16">
                      <a:moveTo>
                        <a:pt x="0" y="16"/>
                      </a:moveTo>
                      <a:lnTo>
                        <a:pt x="10" y="12"/>
                      </a:lnTo>
                      <a:lnTo>
                        <a:pt x="4" y="0"/>
                      </a:lnTo>
                      <a:lnTo>
                        <a:pt x="0" y="16"/>
                      </a:lnTo>
                      <a:lnTo>
                        <a:pt x="0"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1" name="Freeform 164">
                  <a:extLst>
                    <a:ext uri="{FF2B5EF4-FFF2-40B4-BE49-F238E27FC236}">
                      <a16:creationId xmlns:a16="http://schemas.microsoft.com/office/drawing/2014/main" id="{E8B6E0F9-53E0-4C8F-ACBA-1D71418C1224}"/>
                    </a:ext>
                  </a:extLst>
                </p:cNvPr>
                <p:cNvSpPr>
                  <a:spLocks/>
                </p:cNvSpPr>
                <p:nvPr/>
              </p:nvSpPr>
              <p:spPr bwMode="auto">
                <a:xfrm>
                  <a:off x="5785316" y="1038132"/>
                  <a:ext cx="77564" cy="42740"/>
                </a:xfrm>
                <a:custGeom>
                  <a:avLst/>
                  <a:gdLst/>
                  <a:ahLst/>
                  <a:cxnLst>
                    <a:cxn ang="0">
                      <a:pos x="50" y="23"/>
                    </a:cxn>
                    <a:cxn ang="0">
                      <a:pos x="56" y="13"/>
                    </a:cxn>
                    <a:cxn ang="0">
                      <a:pos x="6" y="0"/>
                    </a:cxn>
                    <a:cxn ang="0">
                      <a:pos x="0" y="13"/>
                    </a:cxn>
                    <a:cxn ang="0">
                      <a:pos x="0" y="29"/>
                    </a:cxn>
                    <a:cxn ang="0">
                      <a:pos x="18" y="23"/>
                    </a:cxn>
                    <a:cxn ang="0">
                      <a:pos x="50" y="23"/>
                    </a:cxn>
                    <a:cxn ang="0">
                      <a:pos x="50" y="23"/>
                    </a:cxn>
                  </a:cxnLst>
                  <a:rect l="0" t="0" r="r" b="b"/>
                  <a:pathLst>
                    <a:path w="56" h="29">
                      <a:moveTo>
                        <a:pt x="50" y="23"/>
                      </a:moveTo>
                      <a:lnTo>
                        <a:pt x="56" y="13"/>
                      </a:lnTo>
                      <a:lnTo>
                        <a:pt x="6" y="0"/>
                      </a:lnTo>
                      <a:lnTo>
                        <a:pt x="0" y="13"/>
                      </a:lnTo>
                      <a:lnTo>
                        <a:pt x="0" y="29"/>
                      </a:lnTo>
                      <a:lnTo>
                        <a:pt x="18" y="23"/>
                      </a:lnTo>
                      <a:lnTo>
                        <a:pt x="50" y="23"/>
                      </a:lnTo>
                      <a:lnTo>
                        <a:pt x="50" y="2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2" name="Freeform 165">
                  <a:extLst>
                    <a:ext uri="{FF2B5EF4-FFF2-40B4-BE49-F238E27FC236}">
                      <a16:creationId xmlns:a16="http://schemas.microsoft.com/office/drawing/2014/main" id="{4F6EF44A-4CD5-4768-86BC-076D7F7E6257}"/>
                    </a:ext>
                  </a:extLst>
                </p:cNvPr>
                <p:cNvSpPr>
                  <a:spLocks/>
                </p:cNvSpPr>
                <p:nvPr/>
              </p:nvSpPr>
              <p:spPr bwMode="auto">
                <a:xfrm>
                  <a:off x="5386418" y="1038132"/>
                  <a:ext cx="22161" cy="19159"/>
                </a:xfrm>
                <a:custGeom>
                  <a:avLst/>
                  <a:gdLst/>
                  <a:ahLst/>
                  <a:cxnLst>
                    <a:cxn ang="0">
                      <a:pos x="16" y="13"/>
                    </a:cxn>
                    <a:cxn ang="0">
                      <a:pos x="16" y="0"/>
                    </a:cxn>
                    <a:cxn ang="0">
                      <a:pos x="0" y="0"/>
                    </a:cxn>
                    <a:cxn ang="0">
                      <a:pos x="0" y="13"/>
                    </a:cxn>
                    <a:cxn ang="0">
                      <a:pos x="16" y="13"/>
                    </a:cxn>
                    <a:cxn ang="0">
                      <a:pos x="16" y="13"/>
                    </a:cxn>
                  </a:cxnLst>
                  <a:rect l="0" t="0" r="r" b="b"/>
                  <a:pathLst>
                    <a:path w="16" h="13">
                      <a:moveTo>
                        <a:pt x="16" y="13"/>
                      </a:moveTo>
                      <a:lnTo>
                        <a:pt x="16" y="0"/>
                      </a:lnTo>
                      <a:lnTo>
                        <a:pt x="0" y="0"/>
                      </a:lnTo>
                      <a:lnTo>
                        <a:pt x="0" y="13"/>
                      </a:lnTo>
                      <a:lnTo>
                        <a:pt x="16" y="13"/>
                      </a:lnTo>
                      <a:lnTo>
                        <a:pt x="16" y="1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3" name="Freeform 166">
                  <a:extLst>
                    <a:ext uri="{FF2B5EF4-FFF2-40B4-BE49-F238E27FC236}">
                      <a16:creationId xmlns:a16="http://schemas.microsoft.com/office/drawing/2014/main" id="{40A858BD-2636-4A2E-B330-F4F4C282035A}"/>
                    </a:ext>
                  </a:extLst>
                </p:cNvPr>
                <p:cNvSpPr>
                  <a:spLocks/>
                </p:cNvSpPr>
                <p:nvPr/>
              </p:nvSpPr>
              <p:spPr bwMode="auto">
                <a:xfrm>
                  <a:off x="5408580" y="1005709"/>
                  <a:ext cx="23546" cy="17686"/>
                </a:xfrm>
                <a:custGeom>
                  <a:avLst/>
                  <a:gdLst/>
                  <a:ahLst/>
                  <a:cxnLst>
                    <a:cxn ang="0">
                      <a:pos x="12" y="0"/>
                    </a:cxn>
                    <a:cxn ang="0">
                      <a:pos x="0" y="0"/>
                    </a:cxn>
                    <a:cxn ang="0">
                      <a:pos x="0" y="12"/>
                    </a:cxn>
                    <a:cxn ang="0">
                      <a:pos x="17" y="12"/>
                    </a:cxn>
                    <a:cxn ang="0">
                      <a:pos x="12" y="0"/>
                    </a:cxn>
                    <a:cxn ang="0">
                      <a:pos x="12" y="0"/>
                    </a:cxn>
                  </a:cxnLst>
                  <a:rect l="0" t="0" r="r" b="b"/>
                  <a:pathLst>
                    <a:path w="17" h="12">
                      <a:moveTo>
                        <a:pt x="12" y="0"/>
                      </a:moveTo>
                      <a:lnTo>
                        <a:pt x="0" y="0"/>
                      </a:lnTo>
                      <a:lnTo>
                        <a:pt x="0" y="12"/>
                      </a:lnTo>
                      <a:lnTo>
                        <a:pt x="17" y="12"/>
                      </a:lnTo>
                      <a:lnTo>
                        <a:pt x="12" y="0"/>
                      </a:lnTo>
                      <a:lnTo>
                        <a:pt x="1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4" name="Freeform 167">
                  <a:extLst>
                    <a:ext uri="{FF2B5EF4-FFF2-40B4-BE49-F238E27FC236}">
                      <a16:creationId xmlns:a16="http://schemas.microsoft.com/office/drawing/2014/main" id="{886311E5-0573-419F-B40B-1C4BCF56165F}"/>
                    </a:ext>
                  </a:extLst>
                </p:cNvPr>
                <p:cNvSpPr>
                  <a:spLocks/>
                </p:cNvSpPr>
                <p:nvPr/>
              </p:nvSpPr>
              <p:spPr bwMode="auto">
                <a:xfrm>
                  <a:off x="5549855" y="1104451"/>
                  <a:ext cx="30471" cy="32424"/>
                </a:xfrm>
                <a:custGeom>
                  <a:avLst/>
                  <a:gdLst/>
                  <a:ahLst/>
                  <a:cxnLst>
                    <a:cxn ang="0">
                      <a:pos x="10" y="22"/>
                    </a:cxn>
                    <a:cxn ang="0">
                      <a:pos x="22" y="16"/>
                    </a:cxn>
                    <a:cxn ang="0">
                      <a:pos x="22" y="0"/>
                    </a:cxn>
                    <a:cxn ang="0">
                      <a:pos x="0" y="6"/>
                    </a:cxn>
                    <a:cxn ang="0">
                      <a:pos x="10" y="22"/>
                    </a:cxn>
                    <a:cxn ang="0">
                      <a:pos x="10" y="22"/>
                    </a:cxn>
                  </a:cxnLst>
                  <a:rect l="0" t="0" r="r" b="b"/>
                  <a:pathLst>
                    <a:path w="22" h="22">
                      <a:moveTo>
                        <a:pt x="10" y="22"/>
                      </a:moveTo>
                      <a:lnTo>
                        <a:pt x="22" y="16"/>
                      </a:lnTo>
                      <a:lnTo>
                        <a:pt x="22" y="0"/>
                      </a:lnTo>
                      <a:lnTo>
                        <a:pt x="0" y="6"/>
                      </a:lnTo>
                      <a:lnTo>
                        <a:pt x="10" y="22"/>
                      </a:lnTo>
                      <a:lnTo>
                        <a:pt x="10"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5" name="Freeform 168">
                  <a:extLst>
                    <a:ext uri="{FF2B5EF4-FFF2-40B4-BE49-F238E27FC236}">
                      <a16:creationId xmlns:a16="http://schemas.microsoft.com/office/drawing/2014/main" id="{FD08DAA2-4586-45D5-AE7C-734EF7377955}"/>
                    </a:ext>
                  </a:extLst>
                </p:cNvPr>
                <p:cNvSpPr>
                  <a:spLocks/>
                </p:cNvSpPr>
                <p:nvPr/>
              </p:nvSpPr>
              <p:spPr bwMode="auto">
                <a:xfrm>
                  <a:off x="5678666" y="1029289"/>
                  <a:ext cx="91414" cy="33897"/>
                </a:xfrm>
                <a:custGeom>
                  <a:avLst/>
                  <a:gdLst/>
                  <a:ahLst/>
                  <a:cxnLst>
                    <a:cxn ang="0">
                      <a:pos x="32" y="13"/>
                    </a:cxn>
                    <a:cxn ang="0">
                      <a:pos x="44" y="23"/>
                    </a:cxn>
                    <a:cxn ang="0">
                      <a:pos x="66" y="13"/>
                    </a:cxn>
                    <a:cxn ang="0">
                      <a:pos x="32" y="0"/>
                    </a:cxn>
                    <a:cxn ang="0">
                      <a:pos x="12" y="0"/>
                    </a:cxn>
                    <a:cxn ang="0">
                      <a:pos x="0" y="19"/>
                    </a:cxn>
                    <a:cxn ang="0">
                      <a:pos x="32" y="13"/>
                    </a:cxn>
                    <a:cxn ang="0">
                      <a:pos x="32" y="13"/>
                    </a:cxn>
                  </a:cxnLst>
                  <a:rect l="0" t="0" r="r" b="b"/>
                  <a:pathLst>
                    <a:path w="66" h="23">
                      <a:moveTo>
                        <a:pt x="32" y="13"/>
                      </a:moveTo>
                      <a:lnTo>
                        <a:pt x="44" y="23"/>
                      </a:lnTo>
                      <a:lnTo>
                        <a:pt x="66" y="13"/>
                      </a:lnTo>
                      <a:lnTo>
                        <a:pt x="32" y="0"/>
                      </a:lnTo>
                      <a:lnTo>
                        <a:pt x="12" y="0"/>
                      </a:lnTo>
                      <a:lnTo>
                        <a:pt x="0" y="19"/>
                      </a:lnTo>
                      <a:lnTo>
                        <a:pt x="32" y="13"/>
                      </a:lnTo>
                      <a:lnTo>
                        <a:pt x="32" y="1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6" name="Freeform 169">
                  <a:extLst>
                    <a:ext uri="{FF2B5EF4-FFF2-40B4-BE49-F238E27FC236}">
                      <a16:creationId xmlns:a16="http://schemas.microsoft.com/office/drawing/2014/main" id="{38EF6D3F-C2A3-47D9-9D52-B06E7CF1E1CC}"/>
                    </a:ext>
                  </a:extLst>
                </p:cNvPr>
                <p:cNvSpPr>
                  <a:spLocks/>
                </p:cNvSpPr>
                <p:nvPr/>
              </p:nvSpPr>
              <p:spPr bwMode="auto">
                <a:xfrm>
                  <a:off x="5739609" y="1080870"/>
                  <a:ext cx="30471" cy="14738"/>
                </a:xfrm>
                <a:custGeom>
                  <a:avLst/>
                  <a:gdLst/>
                  <a:ahLst/>
                  <a:cxnLst>
                    <a:cxn ang="0">
                      <a:pos x="10" y="0"/>
                    </a:cxn>
                    <a:cxn ang="0">
                      <a:pos x="0" y="6"/>
                    </a:cxn>
                    <a:cxn ang="0">
                      <a:pos x="16" y="10"/>
                    </a:cxn>
                    <a:cxn ang="0">
                      <a:pos x="22" y="0"/>
                    </a:cxn>
                    <a:cxn ang="0">
                      <a:pos x="10" y="0"/>
                    </a:cxn>
                    <a:cxn ang="0">
                      <a:pos x="10" y="0"/>
                    </a:cxn>
                  </a:cxnLst>
                  <a:rect l="0" t="0" r="r" b="b"/>
                  <a:pathLst>
                    <a:path w="22" h="10">
                      <a:moveTo>
                        <a:pt x="10" y="0"/>
                      </a:moveTo>
                      <a:lnTo>
                        <a:pt x="0" y="6"/>
                      </a:lnTo>
                      <a:lnTo>
                        <a:pt x="16" y="10"/>
                      </a:lnTo>
                      <a:lnTo>
                        <a:pt x="22" y="0"/>
                      </a:lnTo>
                      <a:lnTo>
                        <a:pt x="10" y="0"/>
                      </a:lnTo>
                      <a:lnTo>
                        <a:pt x="1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7" name="Freeform 170">
                  <a:extLst>
                    <a:ext uri="{FF2B5EF4-FFF2-40B4-BE49-F238E27FC236}">
                      <a16:creationId xmlns:a16="http://schemas.microsoft.com/office/drawing/2014/main" id="{6B32AE07-5FA4-4B73-A8A1-A800D779C4C5}"/>
                    </a:ext>
                  </a:extLst>
                </p:cNvPr>
                <p:cNvSpPr>
                  <a:spLocks/>
                </p:cNvSpPr>
                <p:nvPr/>
              </p:nvSpPr>
              <p:spPr bwMode="auto">
                <a:xfrm>
                  <a:off x="5664816" y="1038132"/>
                  <a:ext cx="13850" cy="19159"/>
                </a:xfrm>
                <a:custGeom>
                  <a:avLst/>
                  <a:gdLst/>
                  <a:ahLst/>
                  <a:cxnLst>
                    <a:cxn ang="0">
                      <a:pos x="10" y="7"/>
                    </a:cxn>
                    <a:cxn ang="0">
                      <a:pos x="0" y="0"/>
                    </a:cxn>
                    <a:cxn ang="0">
                      <a:pos x="0" y="13"/>
                    </a:cxn>
                    <a:cxn ang="0">
                      <a:pos x="10" y="7"/>
                    </a:cxn>
                    <a:cxn ang="0">
                      <a:pos x="10" y="7"/>
                    </a:cxn>
                  </a:cxnLst>
                  <a:rect l="0" t="0" r="r" b="b"/>
                  <a:pathLst>
                    <a:path w="10" h="13">
                      <a:moveTo>
                        <a:pt x="10" y="7"/>
                      </a:moveTo>
                      <a:lnTo>
                        <a:pt x="0" y="0"/>
                      </a:lnTo>
                      <a:lnTo>
                        <a:pt x="0" y="13"/>
                      </a:lnTo>
                      <a:lnTo>
                        <a:pt x="10" y="7"/>
                      </a:lnTo>
                      <a:lnTo>
                        <a:pt x="10" y="7"/>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8" name="Freeform 171">
                  <a:extLst>
                    <a:ext uri="{FF2B5EF4-FFF2-40B4-BE49-F238E27FC236}">
                      <a16:creationId xmlns:a16="http://schemas.microsoft.com/office/drawing/2014/main" id="{2F683830-A882-4BE1-B842-1857AF52112A}"/>
                    </a:ext>
                  </a:extLst>
                </p:cNvPr>
                <p:cNvSpPr>
                  <a:spLocks/>
                </p:cNvSpPr>
                <p:nvPr/>
              </p:nvSpPr>
              <p:spPr bwMode="auto">
                <a:xfrm>
                  <a:off x="5608028" y="1005709"/>
                  <a:ext cx="87259" cy="32424"/>
                </a:xfrm>
                <a:custGeom>
                  <a:avLst/>
                  <a:gdLst/>
                  <a:ahLst/>
                  <a:cxnLst>
                    <a:cxn ang="0">
                      <a:pos x="34" y="22"/>
                    </a:cxn>
                    <a:cxn ang="0">
                      <a:pos x="63" y="12"/>
                    </a:cxn>
                    <a:cxn ang="0">
                      <a:pos x="45" y="6"/>
                    </a:cxn>
                    <a:cxn ang="0">
                      <a:pos x="18" y="0"/>
                    </a:cxn>
                    <a:cxn ang="0">
                      <a:pos x="0" y="16"/>
                    </a:cxn>
                    <a:cxn ang="0">
                      <a:pos x="34" y="22"/>
                    </a:cxn>
                    <a:cxn ang="0">
                      <a:pos x="34" y="22"/>
                    </a:cxn>
                  </a:cxnLst>
                  <a:rect l="0" t="0" r="r" b="b"/>
                  <a:pathLst>
                    <a:path w="63" h="22">
                      <a:moveTo>
                        <a:pt x="34" y="22"/>
                      </a:moveTo>
                      <a:lnTo>
                        <a:pt x="63" y="12"/>
                      </a:lnTo>
                      <a:lnTo>
                        <a:pt x="45" y="6"/>
                      </a:lnTo>
                      <a:lnTo>
                        <a:pt x="18" y="0"/>
                      </a:lnTo>
                      <a:lnTo>
                        <a:pt x="0" y="16"/>
                      </a:lnTo>
                      <a:lnTo>
                        <a:pt x="34" y="22"/>
                      </a:lnTo>
                      <a:lnTo>
                        <a:pt x="34"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9" name="Freeform 172">
                  <a:extLst>
                    <a:ext uri="{FF2B5EF4-FFF2-40B4-BE49-F238E27FC236}">
                      <a16:creationId xmlns:a16="http://schemas.microsoft.com/office/drawing/2014/main" id="{D393960E-2C26-47D0-99F7-2A149F0E99F5}"/>
                    </a:ext>
                  </a:extLst>
                </p:cNvPr>
                <p:cNvSpPr>
                  <a:spLocks/>
                </p:cNvSpPr>
                <p:nvPr/>
              </p:nvSpPr>
              <p:spPr bwMode="auto">
                <a:xfrm>
                  <a:off x="5041537" y="996865"/>
                  <a:ext cx="44322" cy="32424"/>
                </a:xfrm>
                <a:custGeom>
                  <a:avLst/>
                  <a:gdLst/>
                  <a:ahLst/>
                  <a:cxnLst>
                    <a:cxn ang="0">
                      <a:pos x="22" y="0"/>
                    </a:cxn>
                    <a:cxn ang="0">
                      <a:pos x="16" y="6"/>
                    </a:cxn>
                    <a:cxn ang="0">
                      <a:pos x="0" y="12"/>
                    </a:cxn>
                    <a:cxn ang="0">
                      <a:pos x="10" y="22"/>
                    </a:cxn>
                    <a:cxn ang="0">
                      <a:pos x="32" y="18"/>
                    </a:cxn>
                    <a:cxn ang="0">
                      <a:pos x="28" y="6"/>
                    </a:cxn>
                    <a:cxn ang="0">
                      <a:pos x="32" y="0"/>
                    </a:cxn>
                    <a:cxn ang="0">
                      <a:pos x="22" y="0"/>
                    </a:cxn>
                    <a:cxn ang="0">
                      <a:pos x="22" y="0"/>
                    </a:cxn>
                  </a:cxnLst>
                  <a:rect l="0" t="0" r="r" b="b"/>
                  <a:pathLst>
                    <a:path w="32" h="22">
                      <a:moveTo>
                        <a:pt x="22" y="0"/>
                      </a:moveTo>
                      <a:lnTo>
                        <a:pt x="16" y="6"/>
                      </a:lnTo>
                      <a:lnTo>
                        <a:pt x="0" y="12"/>
                      </a:lnTo>
                      <a:lnTo>
                        <a:pt x="10" y="22"/>
                      </a:lnTo>
                      <a:lnTo>
                        <a:pt x="32" y="18"/>
                      </a:lnTo>
                      <a:lnTo>
                        <a:pt x="28" y="6"/>
                      </a:lnTo>
                      <a:lnTo>
                        <a:pt x="32" y="0"/>
                      </a:lnTo>
                      <a:lnTo>
                        <a:pt x="22" y="0"/>
                      </a:lnTo>
                      <a:lnTo>
                        <a:pt x="2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0" name="Freeform 173">
                  <a:extLst>
                    <a:ext uri="{FF2B5EF4-FFF2-40B4-BE49-F238E27FC236}">
                      <a16:creationId xmlns:a16="http://schemas.microsoft.com/office/drawing/2014/main" id="{C231AF3F-B5AD-48BC-8B26-493764612C50}"/>
                    </a:ext>
                  </a:extLst>
                </p:cNvPr>
                <p:cNvSpPr>
                  <a:spLocks/>
                </p:cNvSpPr>
                <p:nvPr/>
              </p:nvSpPr>
              <p:spPr bwMode="auto">
                <a:xfrm>
                  <a:off x="5085859" y="1005709"/>
                  <a:ext cx="62328" cy="32424"/>
                </a:xfrm>
                <a:custGeom>
                  <a:avLst/>
                  <a:gdLst/>
                  <a:ahLst/>
                  <a:cxnLst>
                    <a:cxn ang="0">
                      <a:pos x="0" y="22"/>
                    </a:cxn>
                    <a:cxn ang="0">
                      <a:pos x="23" y="22"/>
                    </a:cxn>
                    <a:cxn ang="0">
                      <a:pos x="39" y="12"/>
                    </a:cxn>
                    <a:cxn ang="0">
                      <a:pos x="45" y="0"/>
                    </a:cxn>
                    <a:cxn ang="0">
                      <a:pos x="29" y="0"/>
                    </a:cxn>
                    <a:cxn ang="0">
                      <a:pos x="17" y="12"/>
                    </a:cxn>
                    <a:cxn ang="0">
                      <a:pos x="0" y="22"/>
                    </a:cxn>
                    <a:cxn ang="0">
                      <a:pos x="0" y="22"/>
                    </a:cxn>
                  </a:cxnLst>
                  <a:rect l="0" t="0" r="r" b="b"/>
                  <a:pathLst>
                    <a:path w="45" h="22">
                      <a:moveTo>
                        <a:pt x="0" y="22"/>
                      </a:moveTo>
                      <a:lnTo>
                        <a:pt x="23" y="22"/>
                      </a:lnTo>
                      <a:lnTo>
                        <a:pt x="39" y="12"/>
                      </a:lnTo>
                      <a:lnTo>
                        <a:pt x="45" y="0"/>
                      </a:lnTo>
                      <a:lnTo>
                        <a:pt x="29" y="0"/>
                      </a:lnTo>
                      <a:lnTo>
                        <a:pt x="17" y="12"/>
                      </a:lnTo>
                      <a:lnTo>
                        <a:pt x="0" y="22"/>
                      </a:lnTo>
                      <a:lnTo>
                        <a:pt x="0"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1" name="Freeform 174">
                  <a:extLst>
                    <a:ext uri="{FF2B5EF4-FFF2-40B4-BE49-F238E27FC236}">
                      <a16:creationId xmlns:a16="http://schemas.microsoft.com/office/drawing/2014/main" id="{57A4B4C7-C241-4FA9-9697-B9850E40C1F1}"/>
                    </a:ext>
                  </a:extLst>
                </p:cNvPr>
                <p:cNvSpPr>
                  <a:spLocks/>
                </p:cNvSpPr>
                <p:nvPr/>
              </p:nvSpPr>
              <p:spPr bwMode="auto">
                <a:xfrm>
                  <a:off x="4896106" y="1005709"/>
                  <a:ext cx="98340" cy="32424"/>
                </a:xfrm>
                <a:custGeom>
                  <a:avLst/>
                  <a:gdLst/>
                  <a:ahLst/>
                  <a:cxnLst>
                    <a:cxn ang="0">
                      <a:pos x="22" y="16"/>
                    </a:cxn>
                    <a:cxn ang="0">
                      <a:pos x="22" y="22"/>
                    </a:cxn>
                    <a:cxn ang="0">
                      <a:pos x="71" y="12"/>
                    </a:cxn>
                    <a:cxn ang="0">
                      <a:pos x="32" y="0"/>
                    </a:cxn>
                    <a:cxn ang="0">
                      <a:pos x="0" y="12"/>
                    </a:cxn>
                    <a:cxn ang="0">
                      <a:pos x="0" y="16"/>
                    </a:cxn>
                    <a:cxn ang="0">
                      <a:pos x="22" y="16"/>
                    </a:cxn>
                    <a:cxn ang="0">
                      <a:pos x="22" y="16"/>
                    </a:cxn>
                  </a:cxnLst>
                  <a:rect l="0" t="0" r="r" b="b"/>
                  <a:pathLst>
                    <a:path w="71" h="22">
                      <a:moveTo>
                        <a:pt x="22" y="16"/>
                      </a:moveTo>
                      <a:lnTo>
                        <a:pt x="22" y="22"/>
                      </a:lnTo>
                      <a:lnTo>
                        <a:pt x="71" y="12"/>
                      </a:lnTo>
                      <a:lnTo>
                        <a:pt x="32" y="0"/>
                      </a:lnTo>
                      <a:lnTo>
                        <a:pt x="0" y="12"/>
                      </a:lnTo>
                      <a:lnTo>
                        <a:pt x="0" y="16"/>
                      </a:lnTo>
                      <a:lnTo>
                        <a:pt x="22" y="16"/>
                      </a:lnTo>
                      <a:lnTo>
                        <a:pt x="22"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2" name="Freeform 175">
                  <a:extLst>
                    <a:ext uri="{FF2B5EF4-FFF2-40B4-BE49-F238E27FC236}">
                      <a16:creationId xmlns:a16="http://schemas.microsoft.com/office/drawing/2014/main" id="{C7A15A72-A1F2-4DA5-A96A-51B4A18B6CF5}"/>
                    </a:ext>
                  </a:extLst>
                </p:cNvPr>
                <p:cNvSpPr>
                  <a:spLocks/>
                </p:cNvSpPr>
                <p:nvPr/>
              </p:nvSpPr>
              <p:spPr bwMode="auto">
                <a:xfrm>
                  <a:off x="5109405" y="1179615"/>
                  <a:ext cx="109420" cy="64847"/>
                </a:xfrm>
                <a:custGeom>
                  <a:avLst/>
                  <a:gdLst/>
                  <a:ahLst/>
                  <a:cxnLst>
                    <a:cxn ang="0">
                      <a:pos x="6" y="0"/>
                    </a:cxn>
                    <a:cxn ang="0">
                      <a:pos x="0" y="22"/>
                    </a:cxn>
                    <a:cxn ang="0">
                      <a:pos x="22" y="32"/>
                    </a:cxn>
                    <a:cxn ang="0">
                      <a:pos x="79" y="44"/>
                    </a:cxn>
                    <a:cxn ang="0">
                      <a:pos x="40" y="6"/>
                    </a:cxn>
                    <a:cxn ang="0">
                      <a:pos x="6" y="0"/>
                    </a:cxn>
                    <a:cxn ang="0">
                      <a:pos x="6" y="0"/>
                    </a:cxn>
                  </a:cxnLst>
                  <a:rect l="0" t="0" r="r" b="b"/>
                  <a:pathLst>
                    <a:path w="79" h="44">
                      <a:moveTo>
                        <a:pt x="6" y="0"/>
                      </a:moveTo>
                      <a:lnTo>
                        <a:pt x="0" y="22"/>
                      </a:lnTo>
                      <a:lnTo>
                        <a:pt x="22" y="32"/>
                      </a:lnTo>
                      <a:lnTo>
                        <a:pt x="79" y="44"/>
                      </a:lnTo>
                      <a:lnTo>
                        <a:pt x="40" y="6"/>
                      </a:lnTo>
                      <a:lnTo>
                        <a:pt x="6" y="0"/>
                      </a:lnTo>
                      <a:lnTo>
                        <a:pt x="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3" name="Freeform 176">
                  <a:extLst>
                    <a:ext uri="{FF2B5EF4-FFF2-40B4-BE49-F238E27FC236}">
                      <a16:creationId xmlns:a16="http://schemas.microsoft.com/office/drawing/2014/main" id="{69B27426-063C-44BB-816E-45A80F4FE985}"/>
                    </a:ext>
                  </a:extLst>
                </p:cNvPr>
                <p:cNvSpPr>
                  <a:spLocks/>
                </p:cNvSpPr>
                <p:nvPr/>
              </p:nvSpPr>
              <p:spPr bwMode="auto">
                <a:xfrm>
                  <a:off x="5148187" y="1005709"/>
                  <a:ext cx="47093" cy="23580"/>
                </a:xfrm>
                <a:custGeom>
                  <a:avLst/>
                  <a:gdLst/>
                  <a:ahLst/>
                  <a:cxnLst>
                    <a:cxn ang="0">
                      <a:pos x="34" y="6"/>
                    </a:cxn>
                    <a:cxn ang="0">
                      <a:pos x="12" y="0"/>
                    </a:cxn>
                    <a:cxn ang="0">
                      <a:pos x="0" y="12"/>
                    </a:cxn>
                    <a:cxn ang="0">
                      <a:pos x="12" y="16"/>
                    </a:cxn>
                    <a:cxn ang="0">
                      <a:pos x="28" y="16"/>
                    </a:cxn>
                    <a:cxn ang="0">
                      <a:pos x="34" y="6"/>
                    </a:cxn>
                    <a:cxn ang="0">
                      <a:pos x="34" y="6"/>
                    </a:cxn>
                  </a:cxnLst>
                  <a:rect l="0" t="0" r="r" b="b"/>
                  <a:pathLst>
                    <a:path w="34" h="16">
                      <a:moveTo>
                        <a:pt x="34" y="6"/>
                      </a:moveTo>
                      <a:lnTo>
                        <a:pt x="12" y="0"/>
                      </a:lnTo>
                      <a:lnTo>
                        <a:pt x="0" y="12"/>
                      </a:lnTo>
                      <a:lnTo>
                        <a:pt x="12" y="16"/>
                      </a:lnTo>
                      <a:lnTo>
                        <a:pt x="28" y="16"/>
                      </a:lnTo>
                      <a:lnTo>
                        <a:pt x="34" y="6"/>
                      </a:lnTo>
                      <a:lnTo>
                        <a:pt x="34"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4" name="Freeform 177">
                  <a:extLst>
                    <a:ext uri="{FF2B5EF4-FFF2-40B4-BE49-F238E27FC236}">
                      <a16:creationId xmlns:a16="http://schemas.microsoft.com/office/drawing/2014/main" id="{FBD4459B-5DEB-49FE-8765-42FA6D77CEFF}"/>
                    </a:ext>
                  </a:extLst>
                </p:cNvPr>
                <p:cNvSpPr>
                  <a:spLocks/>
                </p:cNvSpPr>
                <p:nvPr/>
              </p:nvSpPr>
              <p:spPr bwMode="auto">
                <a:xfrm>
                  <a:off x="5126026" y="1095608"/>
                  <a:ext cx="199449" cy="84005"/>
                </a:xfrm>
                <a:custGeom>
                  <a:avLst/>
                  <a:gdLst/>
                  <a:ahLst/>
                  <a:cxnLst>
                    <a:cxn ang="0">
                      <a:pos x="32" y="57"/>
                    </a:cxn>
                    <a:cxn ang="0">
                      <a:pos x="44" y="44"/>
                    </a:cxn>
                    <a:cxn ang="0">
                      <a:pos x="83" y="22"/>
                    </a:cxn>
                    <a:cxn ang="0">
                      <a:pos x="111" y="22"/>
                    </a:cxn>
                    <a:cxn ang="0">
                      <a:pos x="144" y="12"/>
                    </a:cxn>
                    <a:cxn ang="0">
                      <a:pos x="144" y="0"/>
                    </a:cxn>
                    <a:cxn ang="0">
                      <a:pos x="121" y="0"/>
                    </a:cxn>
                    <a:cxn ang="0">
                      <a:pos x="111" y="6"/>
                    </a:cxn>
                    <a:cxn ang="0">
                      <a:pos x="89" y="0"/>
                    </a:cxn>
                    <a:cxn ang="0">
                      <a:pos x="10" y="22"/>
                    </a:cxn>
                    <a:cxn ang="0">
                      <a:pos x="22" y="34"/>
                    </a:cxn>
                    <a:cxn ang="0">
                      <a:pos x="0" y="44"/>
                    </a:cxn>
                    <a:cxn ang="0">
                      <a:pos x="32" y="57"/>
                    </a:cxn>
                    <a:cxn ang="0">
                      <a:pos x="32" y="57"/>
                    </a:cxn>
                  </a:cxnLst>
                  <a:rect l="0" t="0" r="r" b="b"/>
                  <a:pathLst>
                    <a:path w="144" h="57">
                      <a:moveTo>
                        <a:pt x="32" y="57"/>
                      </a:moveTo>
                      <a:lnTo>
                        <a:pt x="44" y="44"/>
                      </a:lnTo>
                      <a:lnTo>
                        <a:pt x="83" y="22"/>
                      </a:lnTo>
                      <a:lnTo>
                        <a:pt x="111" y="22"/>
                      </a:lnTo>
                      <a:lnTo>
                        <a:pt x="144" y="12"/>
                      </a:lnTo>
                      <a:lnTo>
                        <a:pt x="144" y="0"/>
                      </a:lnTo>
                      <a:lnTo>
                        <a:pt x="121" y="0"/>
                      </a:lnTo>
                      <a:lnTo>
                        <a:pt x="111" y="6"/>
                      </a:lnTo>
                      <a:lnTo>
                        <a:pt x="89" y="0"/>
                      </a:lnTo>
                      <a:lnTo>
                        <a:pt x="10" y="22"/>
                      </a:lnTo>
                      <a:lnTo>
                        <a:pt x="22" y="34"/>
                      </a:lnTo>
                      <a:lnTo>
                        <a:pt x="0" y="44"/>
                      </a:lnTo>
                      <a:lnTo>
                        <a:pt x="32" y="57"/>
                      </a:lnTo>
                      <a:lnTo>
                        <a:pt x="32" y="57"/>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5" name="Freeform 178">
                  <a:extLst>
                    <a:ext uri="{FF2B5EF4-FFF2-40B4-BE49-F238E27FC236}">
                      <a16:creationId xmlns:a16="http://schemas.microsoft.com/office/drawing/2014/main" id="{8212EB2A-482B-4F0F-B5A9-FF6459AF147E}"/>
                    </a:ext>
                  </a:extLst>
                </p:cNvPr>
                <p:cNvSpPr>
                  <a:spLocks/>
                </p:cNvSpPr>
                <p:nvPr/>
              </p:nvSpPr>
              <p:spPr bwMode="auto">
                <a:xfrm>
                  <a:off x="5063698" y="1253303"/>
                  <a:ext cx="54018" cy="39791"/>
                </a:xfrm>
                <a:custGeom>
                  <a:avLst/>
                  <a:gdLst/>
                  <a:ahLst/>
                  <a:cxnLst>
                    <a:cxn ang="0">
                      <a:pos x="39" y="16"/>
                    </a:cxn>
                    <a:cxn ang="0">
                      <a:pos x="23" y="0"/>
                    </a:cxn>
                    <a:cxn ang="0">
                      <a:pos x="0" y="16"/>
                    </a:cxn>
                    <a:cxn ang="0">
                      <a:pos x="29" y="27"/>
                    </a:cxn>
                    <a:cxn ang="0">
                      <a:pos x="39" y="16"/>
                    </a:cxn>
                    <a:cxn ang="0">
                      <a:pos x="39" y="16"/>
                    </a:cxn>
                  </a:cxnLst>
                  <a:rect l="0" t="0" r="r" b="b"/>
                  <a:pathLst>
                    <a:path w="39" h="27">
                      <a:moveTo>
                        <a:pt x="39" y="16"/>
                      </a:moveTo>
                      <a:lnTo>
                        <a:pt x="23" y="0"/>
                      </a:lnTo>
                      <a:lnTo>
                        <a:pt x="0" y="16"/>
                      </a:lnTo>
                      <a:lnTo>
                        <a:pt x="29" y="27"/>
                      </a:lnTo>
                      <a:lnTo>
                        <a:pt x="39" y="16"/>
                      </a:lnTo>
                      <a:lnTo>
                        <a:pt x="39"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6" name="Freeform 179">
                  <a:extLst>
                    <a:ext uri="{FF2B5EF4-FFF2-40B4-BE49-F238E27FC236}">
                      <a16:creationId xmlns:a16="http://schemas.microsoft.com/office/drawing/2014/main" id="{C3C1FF95-E310-4A37-A1F4-D367312EC281}"/>
                    </a:ext>
                  </a:extLst>
                </p:cNvPr>
                <p:cNvSpPr>
                  <a:spLocks/>
                </p:cNvSpPr>
                <p:nvPr/>
              </p:nvSpPr>
              <p:spPr bwMode="auto">
                <a:xfrm>
                  <a:off x="5793627" y="1966612"/>
                  <a:ext cx="221610" cy="107585"/>
                </a:xfrm>
                <a:custGeom>
                  <a:avLst/>
                  <a:gdLst/>
                  <a:ahLst/>
                  <a:cxnLst>
                    <a:cxn ang="0">
                      <a:pos x="22" y="33"/>
                    </a:cxn>
                    <a:cxn ang="0">
                      <a:pos x="34" y="26"/>
                    </a:cxn>
                    <a:cxn ang="0">
                      <a:pos x="54" y="45"/>
                    </a:cxn>
                    <a:cxn ang="0">
                      <a:pos x="38" y="55"/>
                    </a:cxn>
                    <a:cxn ang="0">
                      <a:pos x="16" y="51"/>
                    </a:cxn>
                    <a:cxn ang="0">
                      <a:pos x="0" y="55"/>
                    </a:cxn>
                    <a:cxn ang="0">
                      <a:pos x="12" y="67"/>
                    </a:cxn>
                    <a:cxn ang="0">
                      <a:pos x="50" y="73"/>
                    </a:cxn>
                    <a:cxn ang="0">
                      <a:pos x="83" y="67"/>
                    </a:cxn>
                    <a:cxn ang="0">
                      <a:pos x="83" y="51"/>
                    </a:cxn>
                    <a:cxn ang="0">
                      <a:pos x="111" y="51"/>
                    </a:cxn>
                    <a:cxn ang="0">
                      <a:pos x="121" y="33"/>
                    </a:cxn>
                    <a:cxn ang="0">
                      <a:pos x="156" y="26"/>
                    </a:cxn>
                    <a:cxn ang="0">
                      <a:pos x="160" y="10"/>
                    </a:cxn>
                    <a:cxn ang="0">
                      <a:pos x="139" y="6"/>
                    </a:cxn>
                    <a:cxn ang="0">
                      <a:pos x="54" y="0"/>
                    </a:cxn>
                    <a:cxn ang="0">
                      <a:pos x="50" y="10"/>
                    </a:cxn>
                    <a:cxn ang="0">
                      <a:pos x="22" y="0"/>
                    </a:cxn>
                    <a:cxn ang="0">
                      <a:pos x="12" y="10"/>
                    </a:cxn>
                    <a:cxn ang="0">
                      <a:pos x="22" y="16"/>
                    </a:cxn>
                    <a:cxn ang="0">
                      <a:pos x="12" y="26"/>
                    </a:cxn>
                    <a:cxn ang="0">
                      <a:pos x="22" y="33"/>
                    </a:cxn>
                    <a:cxn ang="0">
                      <a:pos x="22" y="33"/>
                    </a:cxn>
                  </a:cxnLst>
                  <a:rect l="0" t="0" r="r" b="b"/>
                  <a:pathLst>
                    <a:path w="160" h="73">
                      <a:moveTo>
                        <a:pt x="22" y="33"/>
                      </a:moveTo>
                      <a:lnTo>
                        <a:pt x="34" y="26"/>
                      </a:lnTo>
                      <a:lnTo>
                        <a:pt x="54" y="45"/>
                      </a:lnTo>
                      <a:lnTo>
                        <a:pt x="38" y="55"/>
                      </a:lnTo>
                      <a:lnTo>
                        <a:pt x="16" y="51"/>
                      </a:lnTo>
                      <a:lnTo>
                        <a:pt x="0" y="55"/>
                      </a:lnTo>
                      <a:lnTo>
                        <a:pt x="12" y="67"/>
                      </a:lnTo>
                      <a:lnTo>
                        <a:pt x="50" y="73"/>
                      </a:lnTo>
                      <a:lnTo>
                        <a:pt x="83" y="67"/>
                      </a:lnTo>
                      <a:lnTo>
                        <a:pt x="83" y="51"/>
                      </a:lnTo>
                      <a:lnTo>
                        <a:pt x="111" y="51"/>
                      </a:lnTo>
                      <a:lnTo>
                        <a:pt x="121" y="33"/>
                      </a:lnTo>
                      <a:lnTo>
                        <a:pt x="156" y="26"/>
                      </a:lnTo>
                      <a:lnTo>
                        <a:pt x="160" y="10"/>
                      </a:lnTo>
                      <a:lnTo>
                        <a:pt x="139" y="6"/>
                      </a:lnTo>
                      <a:lnTo>
                        <a:pt x="54" y="0"/>
                      </a:lnTo>
                      <a:lnTo>
                        <a:pt x="50" y="10"/>
                      </a:lnTo>
                      <a:lnTo>
                        <a:pt x="22" y="0"/>
                      </a:lnTo>
                      <a:lnTo>
                        <a:pt x="12" y="10"/>
                      </a:lnTo>
                      <a:lnTo>
                        <a:pt x="22" y="16"/>
                      </a:lnTo>
                      <a:lnTo>
                        <a:pt x="12" y="26"/>
                      </a:lnTo>
                      <a:lnTo>
                        <a:pt x="22" y="33"/>
                      </a:lnTo>
                      <a:lnTo>
                        <a:pt x="22" y="3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7" name="Freeform 180">
                  <a:extLst>
                    <a:ext uri="{FF2B5EF4-FFF2-40B4-BE49-F238E27FC236}">
                      <a16:creationId xmlns:a16="http://schemas.microsoft.com/office/drawing/2014/main" id="{64923BB0-EC6B-4A4E-9DB5-DFF6906A1979}"/>
                    </a:ext>
                  </a:extLst>
                </p:cNvPr>
                <p:cNvSpPr>
                  <a:spLocks/>
                </p:cNvSpPr>
                <p:nvPr/>
              </p:nvSpPr>
              <p:spPr bwMode="auto">
                <a:xfrm>
                  <a:off x="5462596" y="1901766"/>
                  <a:ext cx="405823" cy="210750"/>
                </a:xfrm>
                <a:custGeom>
                  <a:avLst/>
                  <a:gdLst/>
                  <a:ahLst/>
                  <a:cxnLst>
                    <a:cxn ang="0">
                      <a:pos x="273" y="70"/>
                    </a:cxn>
                    <a:cxn ang="0">
                      <a:pos x="261" y="77"/>
                    </a:cxn>
                    <a:cxn ang="0">
                      <a:pos x="251" y="70"/>
                    </a:cxn>
                    <a:cxn ang="0">
                      <a:pos x="261" y="60"/>
                    </a:cxn>
                    <a:cxn ang="0">
                      <a:pos x="251" y="54"/>
                    </a:cxn>
                    <a:cxn ang="0">
                      <a:pos x="233" y="66"/>
                    </a:cxn>
                    <a:cxn ang="0">
                      <a:pos x="222" y="83"/>
                    </a:cxn>
                    <a:cxn ang="0">
                      <a:pos x="206" y="77"/>
                    </a:cxn>
                    <a:cxn ang="0">
                      <a:pos x="188" y="77"/>
                    </a:cxn>
                    <a:cxn ang="0">
                      <a:pos x="172" y="50"/>
                    </a:cxn>
                    <a:cxn ang="0">
                      <a:pos x="150" y="32"/>
                    </a:cxn>
                    <a:cxn ang="0">
                      <a:pos x="139" y="38"/>
                    </a:cxn>
                    <a:cxn ang="0">
                      <a:pos x="117" y="32"/>
                    </a:cxn>
                    <a:cxn ang="0">
                      <a:pos x="101" y="32"/>
                    </a:cxn>
                    <a:cxn ang="0">
                      <a:pos x="50" y="0"/>
                    </a:cxn>
                    <a:cxn ang="0">
                      <a:pos x="38" y="16"/>
                    </a:cxn>
                    <a:cxn ang="0">
                      <a:pos x="28" y="16"/>
                    </a:cxn>
                    <a:cxn ang="0">
                      <a:pos x="22" y="0"/>
                    </a:cxn>
                    <a:cxn ang="0">
                      <a:pos x="0" y="4"/>
                    </a:cxn>
                    <a:cxn ang="0">
                      <a:pos x="12" y="70"/>
                    </a:cxn>
                    <a:cxn ang="0">
                      <a:pos x="34" y="77"/>
                    </a:cxn>
                    <a:cxn ang="0">
                      <a:pos x="28" y="66"/>
                    </a:cxn>
                    <a:cxn ang="0">
                      <a:pos x="44" y="54"/>
                    </a:cxn>
                    <a:cxn ang="0">
                      <a:pos x="56" y="50"/>
                    </a:cxn>
                    <a:cxn ang="0">
                      <a:pos x="79" y="66"/>
                    </a:cxn>
                    <a:cxn ang="0">
                      <a:pos x="85" y="77"/>
                    </a:cxn>
                    <a:cxn ang="0">
                      <a:pos x="111" y="83"/>
                    </a:cxn>
                    <a:cxn ang="0">
                      <a:pos x="139" y="117"/>
                    </a:cxn>
                    <a:cxn ang="0">
                      <a:pos x="178" y="133"/>
                    </a:cxn>
                    <a:cxn ang="0">
                      <a:pos x="194" y="143"/>
                    </a:cxn>
                    <a:cxn ang="0">
                      <a:pos x="222" y="143"/>
                    </a:cxn>
                    <a:cxn ang="0">
                      <a:pos x="229" y="137"/>
                    </a:cxn>
                    <a:cxn ang="0">
                      <a:pos x="222" y="121"/>
                    </a:cxn>
                    <a:cxn ang="0">
                      <a:pos x="210" y="111"/>
                    </a:cxn>
                    <a:cxn ang="0">
                      <a:pos x="222" y="105"/>
                    </a:cxn>
                    <a:cxn ang="0">
                      <a:pos x="229" y="99"/>
                    </a:cxn>
                    <a:cxn ang="0">
                      <a:pos x="233" y="83"/>
                    </a:cxn>
                    <a:cxn ang="0">
                      <a:pos x="251" y="83"/>
                    </a:cxn>
                    <a:cxn ang="0">
                      <a:pos x="255" y="95"/>
                    </a:cxn>
                    <a:cxn ang="0">
                      <a:pos x="277" y="99"/>
                    </a:cxn>
                    <a:cxn ang="0">
                      <a:pos x="293" y="89"/>
                    </a:cxn>
                    <a:cxn ang="0">
                      <a:pos x="273" y="70"/>
                    </a:cxn>
                    <a:cxn ang="0">
                      <a:pos x="273" y="70"/>
                    </a:cxn>
                  </a:cxnLst>
                  <a:rect l="0" t="0" r="r" b="b"/>
                  <a:pathLst>
                    <a:path w="293" h="143">
                      <a:moveTo>
                        <a:pt x="273" y="70"/>
                      </a:moveTo>
                      <a:lnTo>
                        <a:pt x="261" y="77"/>
                      </a:lnTo>
                      <a:lnTo>
                        <a:pt x="251" y="70"/>
                      </a:lnTo>
                      <a:lnTo>
                        <a:pt x="261" y="60"/>
                      </a:lnTo>
                      <a:lnTo>
                        <a:pt x="251" y="54"/>
                      </a:lnTo>
                      <a:lnTo>
                        <a:pt x="233" y="66"/>
                      </a:lnTo>
                      <a:lnTo>
                        <a:pt x="222" y="83"/>
                      </a:lnTo>
                      <a:lnTo>
                        <a:pt x="206" y="77"/>
                      </a:lnTo>
                      <a:lnTo>
                        <a:pt x="188" y="77"/>
                      </a:lnTo>
                      <a:lnTo>
                        <a:pt x="172" y="50"/>
                      </a:lnTo>
                      <a:lnTo>
                        <a:pt x="150" y="32"/>
                      </a:lnTo>
                      <a:lnTo>
                        <a:pt x="139" y="38"/>
                      </a:lnTo>
                      <a:lnTo>
                        <a:pt x="117" y="32"/>
                      </a:lnTo>
                      <a:lnTo>
                        <a:pt x="101" y="32"/>
                      </a:lnTo>
                      <a:lnTo>
                        <a:pt x="50" y="0"/>
                      </a:lnTo>
                      <a:lnTo>
                        <a:pt x="38" y="16"/>
                      </a:lnTo>
                      <a:lnTo>
                        <a:pt x="28" y="16"/>
                      </a:lnTo>
                      <a:lnTo>
                        <a:pt x="22" y="0"/>
                      </a:lnTo>
                      <a:lnTo>
                        <a:pt x="0" y="4"/>
                      </a:lnTo>
                      <a:lnTo>
                        <a:pt x="12" y="70"/>
                      </a:lnTo>
                      <a:lnTo>
                        <a:pt x="34" y="77"/>
                      </a:lnTo>
                      <a:lnTo>
                        <a:pt x="28" y="66"/>
                      </a:lnTo>
                      <a:lnTo>
                        <a:pt x="44" y="54"/>
                      </a:lnTo>
                      <a:lnTo>
                        <a:pt x="56" y="50"/>
                      </a:lnTo>
                      <a:lnTo>
                        <a:pt x="79" y="66"/>
                      </a:lnTo>
                      <a:lnTo>
                        <a:pt x="85" y="77"/>
                      </a:lnTo>
                      <a:lnTo>
                        <a:pt x="111" y="83"/>
                      </a:lnTo>
                      <a:lnTo>
                        <a:pt x="139" y="117"/>
                      </a:lnTo>
                      <a:lnTo>
                        <a:pt x="178" y="133"/>
                      </a:lnTo>
                      <a:lnTo>
                        <a:pt x="194" y="143"/>
                      </a:lnTo>
                      <a:lnTo>
                        <a:pt x="222" y="143"/>
                      </a:lnTo>
                      <a:lnTo>
                        <a:pt x="229" y="137"/>
                      </a:lnTo>
                      <a:lnTo>
                        <a:pt x="222" y="121"/>
                      </a:lnTo>
                      <a:lnTo>
                        <a:pt x="210" y="111"/>
                      </a:lnTo>
                      <a:lnTo>
                        <a:pt x="222" y="105"/>
                      </a:lnTo>
                      <a:lnTo>
                        <a:pt x="229" y="99"/>
                      </a:lnTo>
                      <a:lnTo>
                        <a:pt x="233" y="83"/>
                      </a:lnTo>
                      <a:lnTo>
                        <a:pt x="251" y="83"/>
                      </a:lnTo>
                      <a:lnTo>
                        <a:pt x="255" y="95"/>
                      </a:lnTo>
                      <a:lnTo>
                        <a:pt x="277" y="99"/>
                      </a:lnTo>
                      <a:lnTo>
                        <a:pt x="293" y="89"/>
                      </a:lnTo>
                      <a:lnTo>
                        <a:pt x="273" y="70"/>
                      </a:lnTo>
                      <a:lnTo>
                        <a:pt x="273" y="7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8" name="Freeform 181">
                  <a:extLst>
                    <a:ext uri="{FF2B5EF4-FFF2-40B4-BE49-F238E27FC236}">
                      <a16:creationId xmlns:a16="http://schemas.microsoft.com/office/drawing/2014/main" id="{C6869A6D-2C38-4905-8A32-62672F09F66E}"/>
                    </a:ext>
                  </a:extLst>
                </p:cNvPr>
                <p:cNvSpPr>
                  <a:spLocks/>
                </p:cNvSpPr>
                <p:nvPr/>
              </p:nvSpPr>
              <p:spPr bwMode="auto">
                <a:xfrm>
                  <a:off x="5408580" y="1975455"/>
                  <a:ext cx="322720" cy="203381"/>
                </a:xfrm>
                <a:custGeom>
                  <a:avLst/>
                  <a:gdLst/>
                  <a:ahLst/>
                  <a:cxnLst>
                    <a:cxn ang="0">
                      <a:pos x="233" y="93"/>
                    </a:cxn>
                    <a:cxn ang="0">
                      <a:pos x="217" y="83"/>
                    </a:cxn>
                    <a:cxn ang="0">
                      <a:pos x="178" y="67"/>
                    </a:cxn>
                    <a:cxn ang="0">
                      <a:pos x="150" y="33"/>
                    </a:cxn>
                    <a:cxn ang="0">
                      <a:pos x="124" y="27"/>
                    </a:cxn>
                    <a:cxn ang="0">
                      <a:pos x="118" y="16"/>
                    </a:cxn>
                    <a:cxn ang="0">
                      <a:pos x="95" y="0"/>
                    </a:cxn>
                    <a:cxn ang="0">
                      <a:pos x="83" y="4"/>
                    </a:cxn>
                    <a:cxn ang="0">
                      <a:pos x="67" y="16"/>
                    </a:cxn>
                    <a:cxn ang="0">
                      <a:pos x="73" y="27"/>
                    </a:cxn>
                    <a:cxn ang="0">
                      <a:pos x="35" y="16"/>
                    </a:cxn>
                    <a:cxn ang="0">
                      <a:pos x="23" y="27"/>
                    </a:cxn>
                    <a:cxn ang="0">
                      <a:pos x="12" y="27"/>
                    </a:cxn>
                    <a:cxn ang="0">
                      <a:pos x="0" y="33"/>
                    </a:cxn>
                    <a:cxn ang="0">
                      <a:pos x="12" y="45"/>
                    </a:cxn>
                    <a:cxn ang="0">
                      <a:pos x="6" y="71"/>
                    </a:cxn>
                    <a:cxn ang="0">
                      <a:pos x="23" y="61"/>
                    </a:cxn>
                    <a:cxn ang="0">
                      <a:pos x="23" y="77"/>
                    </a:cxn>
                    <a:cxn ang="0">
                      <a:pos x="39" y="93"/>
                    </a:cxn>
                    <a:cxn ang="0">
                      <a:pos x="73" y="77"/>
                    </a:cxn>
                    <a:cxn ang="0">
                      <a:pos x="118" y="83"/>
                    </a:cxn>
                    <a:cxn ang="0">
                      <a:pos x="166" y="112"/>
                    </a:cxn>
                    <a:cxn ang="0">
                      <a:pos x="178" y="138"/>
                    </a:cxn>
                    <a:cxn ang="0">
                      <a:pos x="195" y="134"/>
                    </a:cxn>
                    <a:cxn ang="0">
                      <a:pos x="217" y="122"/>
                    </a:cxn>
                    <a:cxn ang="0">
                      <a:pos x="233" y="93"/>
                    </a:cxn>
                    <a:cxn ang="0">
                      <a:pos x="233" y="93"/>
                    </a:cxn>
                  </a:cxnLst>
                  <a:rect l="0" t="0" r="r" b="b"/>
                  <a:pathLst>
                    <a:path w="233" h="138">
                      <a:moveTo>
                        <a:pt x="233" y="93"/>
                      </a:moveTo>
                      <a:lnTo>
                        <a:pt x="217" y="83"/>
                      </a:lnTo>
                      <a:lnTo>
                        <a:pt x="178" y="67"/>
                      </a:lnTo>
                      <a:lnTo>
                        <a:pt x="150" y="33"/>
                      </a:lnTo>
                      <a:lnTo>
                        <a:pt x="124" y="27"/>
                      </a:lnTo>
                      <a:lnTo>
                        <a:pt x="118" y="16"/>
                      </a:lnTo>
                      <a:lnTo>
                        <a:pt x="95" y="0"/>
                      </a:lnTo>
                      <a:lnTo>
                        <a:pt x="83" y="4"/>
                      </a:lnTo>
                      <a:lnTo>
                        <a:pt x="67" y="16"/>
                      </a:lnTo>
                      <a:lnTo>
                        <a:pt x="73" y="27"/>
                      </a:lnTo>
                      <a:lnTo>
                        <a:pt x="35" y="16"/>
                      </a:lnTo>
                      <a:lnTo>
                        <a:pt x="23" y="27"/>
                      </a:lnTo>
                      <a:lnTo>
                        <a:pt x="12" y="27"/>
                      </a:lnTo>
                      <a:lnTo>
                        <a:pt x="0" y="33"/>
                      </a:lnTo>
                      <a:lnTo>
                        <a:pt x="12" y="45"/>
                      </a:lnTo>
                      <a:lnTo>
                        <a:pt x="6" y="71"/>
                      </a:lnTo>
                      <a:lnTo>
                        <a:pt x="23" y="61"/>
                      </a:lnTo>
                      <a:lnTo>
                        <a:pt x="23" y="77"/>
                      </a:lnTo>
                      <a:lnTo>
                        <a:pt x="39" y="93"/>
                      </a:lnTo>
                      <a:lnTo>
                        <a:pt x="73" y="77"/>
                      </a:lnTo>
                      <a:lnTo>
                        <a:pt x="118" y="83"/>
                      </a:lnTo>
                      <a:lnTo>
                        <a:pt x="166" y="112"/>
                      </a:lnTo>
                      <a:lnTo>
                        <a:pt x="178" y="138"/>
                      </a:lnTo>
                      <a:lnTo>
                        <a:pt x="195" y="134"/>
                      </a:lnTo>
                      <a:lnTo>
                        <a:pt x="217" y="122"/>
                      </a:lnTo>
                      <a:lnTo>
                        <a:pt x="233" y="93"/>
                      </a:lnTo>
                      <a:lnTo>
                        <a:pt x="233" y="9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9" name="Freeform 182">
                  <a:extLst>
                    <a:ext uri="{FF2B5EF4-FFF2-40B4-BE49-F238E27FC236}">
                      <a16:creationId xmlns:a16="http://schemas.microsoft.com/office/drawing/2014/main" id="{EF9036CA-6F66-4978-9736-D19456FE122A}"/>
                    </a:ext>
                  </a:extLst>
                </p:cNvPr>
                <p:cNvSpPr>
                  <a:spLocks/>
                </p:cNvSpPr>
                <p:nvPr/>
              </p:nvSpPr>
              <p:spPr bwMode="auto">
                <a:xfrm>
                  <a:off x="5240987" y="1990192"/>
                  <a:ext cx="114961" cy="89901"/>
                </a:xfrm>
                <a:custGeom>
                  <a:avLst/>
                  <a:gdLst/>
                  <a:ahLst/>
                  <a:cxnLst>
                    <a:cxn ang="0">
                      <a:pos x="73" y="35"/>
                    </a:cxn>
                    <a:cxn ang="0">
                      <a:pos x="83" y="29"/>
                    </a:cxn>
                    <a:cxn ang="0">
                      <a:pos x="50" y="0"/>
                    </a:cxn>
                    <a:cxn ang="0">
                      <a:pos x="44" y="17"/>
                    </a:cxn>
                    <a:cxn ang="0">
                      <a:pos x="10" y="0"/>
                    </a:cxn>
                    <a:cxn ang="0">
                      <a:pos x="16" y="17"/>
                    </a:cxn>
                    <a:cxn ang="0">
                      <a:pos x="0" y="10"/>
                    </a:cxn>
                    <a:cxn ang="0">
                      <a:pos x="16" y="35"/>
                    </a:cxn>
                    <a:cxn ang="0">
                      <a:pos x="16" y="51"/>
                    </a:cxn>
                    <a:cxn ang="0">
                      <a:pos x="38" y="61"/>
                    </a:cxn>
                    <a:cxn ang="0">
                      <a:pos x="44" y="39"/>
                    </a:cxn>
                    <a:cxn ang="0">
                      <a:pos x="67" y="45"/>
                    </a:cxn>
                    <a:cxn ang="0">
                      <a:pos x="73" y="35"/>
                    </a:cxn>
                    <a:cxn ang="0">
                      <a:pos x="73" y="35"/>
                    </a:cxn>
                  </a:cxnLst>
                  <a:rect l="0" t="0" r="r" b="b"/>
                  <a:pathLst>
                    <a:path w="83" h="61">
                      <a:moveTo>
                        <a:pt x="73" y="35"/>
                      </a:moveTo>
                      <a:lnTo>
                        <a:pt x="83" y="29"/>
                      </a:lnTo>
                      <a:lnTo>
                        <a:pt x="50" y="0"/>
                      </a:lnTo>
                      <a:lnTo>
                        <a:pt x="44" y="17"/>
                      </a:lnTo>
                      <a:lnTo>
                        <a:pt x="10" y="0"/>
                      </a:lnTo>
                      <a:lnTo>
                        <a:pt x="16" y="17"/>
                      </a:lnTo>
                      <a:lnTo>
                        <a:pt x="0" y="10"/>
                      </a:lnTo>
                      <a:lnTo>
                        <a:pt x="16" y="35"/>
                      </a:lnTo>
                      <a:lnTo>
                        <a:pt x="16" y="51"/>
                      </a:lnTo>
                      <a:lnTo>
                        <a:pt x="38" y="61"/>
                      </a:lnTo>
                      <a:lnTo>
                        <a:pt x="44" y="39"/>
                      </a:lnTo>
                      <a:lnTo>
                        <a:pt x="67" y="45"/>
                      </a:lnTo>
                      <a:lnTo>
                        <a:pt x="73" y="35"/>
                      </a:lnTo>
                      <a:lnTo>
                        <a:pt x="73" y="3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0" name="Freeform 183">
                  <a:extLst>
                    <a:ext uri="{FF2B5EF4-FFF2-40B4-BE49-F238E27FC236}">
                      <a16:creationId xmlns:a16="http://schemas.microsoft.com/office/drawing/2014/main" id="{C1B20572-4E94-41D8-B5AA-AC2598C20CD0}"/>
                    </a:ext>
                  </a:extLst>
                </p:cNvPr>
                <p:cNvSpPr>
                  <a:spLocks/>
                </p:cNvSpPr>
                <p:nvPr/>
              </p:nvSpPr>
              <p:spPr bwMode="auto">
                <a:xfrm>
                  <a:off x="5139877" y="1948927"/>
                  <a:ext cx="123271" cy="66321"/>
                </a:xfrm>
                <a:custGeom>
                  <a:avLst/>
                  <a:gdLst/>
                  <a:ahLst/>
                  <a:cxnLst>
                    <a:cxn ang="0">
                      <a:pos x="22" y="0"/>
                    </a:cxn>
                    <a:cxn ang="0">
                      <a:pos x="18" y="6"/>
                    </a:cxn>
                    <a:cxn ang="0">
                      <a:pos x="0" y="6"/>
                    </a:cxn>
                    <a:cxn ang="0">
                      <a:pos x="12" y="34"/>
                    </a:cxn>
                    <a:cxn ang="0">
                      <a:pos x="57" y="45"/>
                    </a:cxn>
                    <a:cxn ang="0">
                      <a:pos x="73" y="38"/>
                    </a:cxn>
                    <a:cxn ang="0">
                      <a:pos x="89" y="45"/>
                    </a:cxn>
                    <a:cxn ang="0">
                      <a:pos x="83" y="28"/>
                    </a:cxn>
                    <a:cxn ang="0">
                      <a:pos x="63" y="12"/>
                    </a:cxn>
                    <a:cxn ang="0">
                      <a:pos x="51" y="18"/>
                    </a:cxn>
                    <a:cxn ang="0">
                      <a:pos x="22" y="0"/>
                    </a:cxn>
                    <a:cxn ang="0">
                      <a:pos x="22" y="0"/>
                    </a:cxn>
                  </a:cxnLst>
                  <a:rect l="0" t="0" r="r" b="b"/>
                  <a:pathLst>
                    <a:path w="89" h="45">
                      <a:moveTo>
                        <a:pt x="22" y="0"/>
                      </a:moveTo>
                      <a:lnTo>
                        <a:pt x="18" y="6"/>
                      </a:lnTo>
                      <a:lnTo>
                        <a:pt x="0" y="6"/>
                      </a:lnTo>
                      <a:lnTo>
                        <a:pt x="12" y="34"/>
                      </a:lnTo>
                      <a:lnTo>
                        <a:pt x="57" y="45"/>
                      </a:lnTo>
                      <a:lnTo>
                        <a:pt x="73" y="38"/>
                      </a:lnTo>
                      <a:lnTo>
                        <a:pt x="89" y="45"/>
                      </a:lnTo>
                      <a:lnTo>
                        <a:pt x="83" y="28"/>
                      </a:lnTo>
                      <a:lnTo>
                        <a:pt x="63" y="12"/>
                      </a:lnTo>
                      <a:lnTo>
                        <a:pt x="51" y="18"/>
                      </a:lnTo>
                      <a:lnTo>
                        <a:pt x="22" y="0"/>
                      </a:lnTo>
                      <a:lnTo>
                        <a:pt x="2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1" name="Freeform 184">
                  <a:extLst>
                    <a:ext uri="{FF2B5EF4-FFF2-40B4-BE49-F238E27FC236}">
                      <a16:creationId xmlns:a16="http://schemas.microsoft.com/office/drawing/2014/main" id="{E8A85DE4-17AA-4A8F-923D-40AEEEEE0AB1}"/>
                    </a:ext>
                  </a:extLst>
                </p:cNvPr>
                <p:cNvSpPr>
                  <a:spLocks/>
                </p:cNvSpPr>
                <p:nvPr/>
              </p:nvSpPr>
              <p:spPr bwMode="auto">
                <a:xfrm>
                  <a:off x="5218825" y="2004931"/>
                  <a:ext cx="44322" cy="60424"/>
                </a:xfrm>
                <a:custGeom>
                  <a:avLst/>
                  <a:gdLst/>
                  <a:ahLst/>
                  <a:cxnLst>
                    <a:cxn ang="0">
                      <a:pos x="16" y="0"/>
                    </a:cxn>
                    <a:cxn ang="0">
                      <a:pos x="0" y="7"/>
                    </a:cxn>
                    <a:cxn ang="0">
                      <a:pos x="0" y="25"/>
                    </a:cxn>
                    <a:cxn ang="0">
                      <a:pos x="16" y="35"/>
                    </a:cxn>
                    <a:cxn ang="0">
                      <a:pos x="32" y="41"/>
                    </a:cxn>
                    <a:cxn ang="0">
                      <a:pos x="32" y="29"/>
                    </a:cxn>
                    <a:cxn ang="0">
                      <a:pos x="16" y="0"/>
                    </a:cxn>
                    <a:cxn ang="0">
                      <a:pos x="16" y="0"/>
                    </a:cxn>
                  </a:cxnLst>
                  <a:rect l="0" t="0" r="r" b="b"/>
                  <a:pathLst>
                    <a:path w="32" h="41">
                      <a:moveTo>
                        <a:pt x="16" y="0"/>
                      </a:moveTo>
                      <a:lnTo>
                        <a:pt x="0" y="7"/>
                      </a:lnTo>
                      <a:lnTo>
                        <a:pt x="0" y="25"/>
                      </a:lnTo>
                      <a:lnTo>
                        <a:pt x="16" y="35"/>
                      </a:lnTo>
                      <a:lnTo>
                        <a:pt x="32" y="41"/>
                      </a:lnTo>
                      <a:lnTo>
                        <a:pt x="32" y="29"/>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2" name="Freeform 185">
                  <a:extLst>
                    <a:ext uri="{FF2B5EF4-FFF2-40B4-BE49-F238E27FC236}">
                      <a16:creationId xmlns:a16="http://schemas.microsoft.com/office/drawing/2014/main" id="{9AC69FDE-3EC8-4579-8E43-35021A8043EF}"/>
                    </a:ext>
                  </a:extLst>
                </p:cNvPr>
                <p:cNvSpPr>
                  <a:spLocks/>
                </p:cNvSpPr>
                <p:nvPr/>
              </p:nvSpPr>
              <p:spPr bwMode="auto">
                <a:xfrm>
                  <a:off x="4803306" y="1990192"/>
                  <a:ext cx="459841" cy="173906"/>
                </a:xfrm>
                <a:custGeom>
                  <a:avLst/>
                  <a:gdLst/>
                  <a:ahLst/>
                  <a:cxnLst>
                    <a:cxn ang="0">
                      <a:pos x="316" y="45"/>
                    </a:cxn>
                    <a:cxn ang="0">
                      <a:pos x="300" y="35"/>
                    </a:cxn>
                    <a:cxn ang="0">
                      <a:pos x="300" y="17"/>
                    </a:cxn>
                    <a:cxn ang="0">
                      <a:pos x="255" y="6"/>
                    </a:cxn>
                    <a:cxn ang="0">
                      <a:pos x="194" y="23"/>
                    </a:cxn>
                    <a:cxn ang="0">
                      <a:pos x="188" y="10"/>
                    </a:cxn>
                    <a:cxn ang="0">
                      <a:pos x="144" y="0"/>
                    </a:cxn>
                    <a:cxn ang="0">
                      <a:pos x="99" y="0"/>
                    </a:cxn>
                    <a:cxn ang="0">
                      <a:pos x="77" y="10"/>
                    </a:cxn>
                    <a:cxn ang="0">
                      <a:pos x="51" y="10"/>
                    </a:cxn>
                    <a:cxn ang="0">
                      <a:pos x="51" y="23"/>
                    </a:cxn>
                    <a:cxn ang="0">
                      <a:pos x="6" y="29"/>
                    </a:cxn>
                    <a:cxn ang="0">
                      <a:pos x="0" y="39"/>
                    </a:cxn>
                    <a:cxn ang="0">
                      <a:pos x="10" y="57"/>
                    </a:cxn>
                    <a:cxn ang="0">
                      <a:pos x="6" y="67"/>
                    </a:cxn>
                    <a:cxn ang="0">
                      <a:pos x="16" y="73"/>
                    </a:cxn>
                    <a:cxn ang="0">
                      <a:pos x="16" y="83"/>
                    </a:cxn>
                    <a:cxn ang="0">
                      <a:pos x="28" y="83"/>
                    </a:cxn>
                    <a:cxn ang="0">
                      <a:pos x="38" y="95"/>
                    </a:cxn>
                    <a:cxn ang="0">
                      <a:pos x="77" y="118"/>
                    </a:cxn>
                    <a:cxn ang="0">
                      <a:pos x="93" y="106"/>
                    </a:cxn>
                    <a:cxn ang="0">
                      <a:pos x="89" y="102"/>
                    </a:cxn>
                    <a:cxn ang="0">
                      <a:pos x="105" y="102"/>
                    </a:cxn>
                    <a:cxn ang="0">
                      <a:pos x="121" y="112"/>
                    </a:cxn>
                    <a:cxn ang="0">
                      <a:pos x="172" y="102"/>
                    </a:cxn>
                    <a:cxn ang="0">
                      <a:pos x="176" y="118"/>
                    </a:cxn>
                    <a:cxn ang="0">
                      <a:pos x="200" y="102"/>
                    </a:cxn>
                    <a:cxn ang="0">
                      <a:pos x="294" y="89"/>
                    </a:cxn>
                    <a:cxn ang="0">
                      <a:pos x="332" y="95"/>
                    </a:cxn>
                    <a:cxn ang="0">
                      <a:pos x="316" y="45"/>
                    </a:cxn>
                    <a:cxn ang="0">
                      <a:pos x="316" y="45"/>
                    </a:cxn>
                  </a:cxnLst>
                  <a:rect l="0" t="0" r="r" b="b"/>
                  <a:pathLst>
                    <a:path w="332" h="118">
                      <a:moveTo>
                        <a:pt x="316" y="45"/>
                      </a:moveTo>
                      <a:lnTo>
                        <a:pt x="300" y="35"/>
                      </a:lnTo>
                      <a:lnTo>
                        <a:pt x="300" y="17"/>
                      </a:lnTo>
                      <a:lnTo>
                        <a:pt x="255" y="6"/>
                      </a:lnTo>
                      <a:lnTo>
                        <a:pt x="194" y="23"/>
                      </a:lnTo>
                      <a:lnTo>
                        <a:pt x="188" y="10"/>
                      </a:lnTo>
                      <a:lnTo>
                        <a:pt x="144" y="0"/>
                      </a:lnTo>
                      <a:lnTo>
                        <a:pt x="99" y="0"/>
                      </a:lnTo>
                      <a:lnTo>
                        <a:pt x="77" y="10"/>
                      </a:lnTo>
                      <a:lnTo>
                        <a:pt x="51" y="10"/>
                      </a:lnTo>
                      <a:lnTo>
                        <a:pt x="51" y="23"/>
                      </a:lnTo>
                      <a:lnTo>
                        <a:pt x="6" y="29"/>
                      </a:lnTo>
                      <a:lnTo>
                        <a:pt x="0" y="39"/>
                      </a:lnTo>
                      <a:lnTo>
                        <a:pt x="10" y="57"/>
                      </a:lnTo>
                      <a:lnTo>
                        <a:pt x="6" y="67"/>
                      </a:lnTo>
                      <a:lnTo>
                        <a:pt x="16" y="73"/>
                      </a:lnTo>
                      <a:lnTo>
                        <a:pt x="16" y="83"/>
                      </a:lnTo>
                      <a:lnTo>
                        <a:pt x="28" y="83"/>
                      </a:lnTo>
                      <a:lnTo>
                        <a:pt x="38" y="95"/>
                      </a:lnTo>
                      <a:lnTo>
                        <a:pt x="77" y="118"/>
                      </a:lnTo>
                      <a:lnTo>
                        <a:pt x="93" y="106"/>
                      </a:lnTo>
                      <a:lnTo>
                        <a:pt x="89" y="102"/>
                      </a:lnTo>
                      <a:lnTo>
                        <a:pt x="105" y="102"/>
                      </a:lnTo>
                      <a:lnTo>
                        <a:pt x="121" y="112"/>
                      </a:lnTo>
                      <a:lnTo>
                        <a:pt x="172" y="102"/>
                      </a:lnTo>
                      <a:lnTo>
                        <a:pt x="176" y="118"/>
                      </a:lnTo>
                      <a:lnTo>
                        <a:pt x="200" y="102"/>
                      </a:lnTo>
                      <a:lnTo>
                        <a:pt x="294" y="89"/>
                      </a:lnTo>
                      <a:lnTo>
                        <a:pt x="332" y="95"/>
                      </a:lnTo>
                      <a:lnTo>
                        <a:pt x="316" y="45"/>
                      </a:lnTo>
                      <a:lnTo>
                        <a:pt x="316" y="4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3" name="Freeform 187">
                  <a:extLst>
                    <a:ext uri="{FF2B5EF4-FFF2-40B4-BE49-F238E27FC236}">
                      <a16:creationId xmlns:a16="http://schemas.microsoft.com/office/drawing/2014/main" id="{BC62411F-D1FD-4D1C-AC3A-F0E8C49C3270}"/>
                    </a:ext>
                  </a:extLst>
                </p:cNvPr>
                <p:cNvSpPr>
                  <a:spLocks/>
                </p:cNvSpPr>
                <p:nvPr/>
              </p:nvSpPr>
              <p:spPr bwMode="auto">
                <a:xfrm>
                  <a:off x="4617708" y="1253303"/>
                  <a:ext cx="207760" cy="244647"/>
                </a:xfrm>
                <a:custGeom>
                  <a:avLst/>
                  <a:gdLst/>
                  <a:ahLst/>
                  <a:cxnLst>
                    <a:cxn ang="0">
                      <a:pos x="73" y="0"/>
                    </a:cxn>
                    <a:cxn ang="0">
                      <a:pos x="51" y="4"/>
                    </a:cxn>
                    <a:cxn ang="0">
                      <a:pos x="51" y="23"/>
                    </a:cxn>
                    <a:cxn ang="0">
                      <a:pos x="17" y="27"/>
                    </a:cxn>
                    <a:cxn ang="0">
                      <a:pos x="39" y="71"/>
                    </a:cxn>
                    <a:cxn ang="0">
                      <a:pos x="39" y="89"/>
                    </a:cxn>
                    <a:cxn ang="0">
                      <a:pos x="0" y="128"/>
                    </a:cxn>
                    <a:cxn ang="0">
                      <a:pos x="13" y="144"/>
                    </a:cxn>
                    <a:cxn ang="0">
                      <a:pos x="6" y="160"/>
                    </a:cxn>
                    <a:cxn ang="0">
                      <a:pos x="79" y="166"/>
                    </a:cxn>
                    <a:cxn ang="0">
                      <a:pos x="83" y="156"/>
                    </a:cxn>
                    <a:cxn ang="0">
                      <a:pos x="112" y="160"/>
                    </a:cxn>
                    <a:cxn ang="0">
                      <a:pos x="150" y="116"/>
                    </a:cxn>
                    <a:cxn ang="0">
                      <a:pos x="106" y="55"/>
                    </a:cxn>
                    <a:cxn ang="0">
                      <a:pos x="112" y="39"/>
                    </a:cxn>
                    <a:cxn ang="0">
                      <a:pos x="89" y="33"/>
                    </a:cxn>
                    <a:cxn ang="0">
                      <a:pos x="96" y="16"/>
                    </a:cxn>
                    <a:cxn ang="0">
                      <a:pos x="73" y="0"/>
                    </a:cxn>
                    <a:cxn ang="0">
                      <a:pos x="73" y="0"/>
                    </a:cxn>
                  </a:cxnLst>
                  <a:rect l="0" t="0" r="r" b="b"/>
                  <a:pathLst>
                    <a:path w="150" h="166">
                      <a:moveTo>
                        <a:pt x="73" y="0"/>
                      </a:moveTo>
                      <a:lnTo>
                        <a:pt x="51" y="4"/>
                      </a:lnTo>
                      <a:lnTo>
                        <a:pt x="51" y="23"/>
                      </a:lnTo>
                      <a:lnTo>
                        <a:pt x="17" y="27"/>
                      </a:lnTo>
                      <a:lnTo>
                        <a:pt x="39" y="71"/>
                      </a:lnTo>
                      <a:lnTo>
                        <a:pt x="39" y="89"/>
                      </a:lnTo>
                      <a:lnTo>
                        <a:pt x="0" y="128"/>
                      </a:lnTo>
                      <a:lnTo>
                        <a:pt x="13" y="144"/>
                      </a:lnTo>
                      <a:lnTo>
                        <a:pt x="6" y="160"/>
                      </a:lnTo>
                      <a:lnTo>
                        <a:pt x="79" y="166"/>
                      </a:lnTo>
                      <a:lnTo>
                        <a:pt x="83" y="156"/>
                      </a:lnTo>
                      <a:lnTo>
                        <a:pt x="112" y="160"/>
                      </a:lnTo>
                      <a:lnTo>
                        <a:pt x="150" y="116"/>
                      </a:lnTo>
                      <a:lnTo>
                        <a:pt x="106" y="55"/>
                      </a:lnTo>
                      <a:lnTo>
                        <a:pt x="112" y="39"/>
                      </a:lnTo>
                      <a:lnTo>
                        <a:pt x="89" y="33"/>
                      </a:lnTo>
                      <a:lnTo>
                        <a:pt x="96" y="16"/>
                      </a:lnTo>
                      <a:lnTo>
                        <a:pt x="73" y="0"/>
                      </a:lnTo>
                      <a:lnTo>
                        <a:pt x="73"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4" name="Freeform 188">
                  <a:extLst>
                    <a:ext uri="{FF2B5EF4-FFF2-40B4-BE49-F238E27FC236}">
                      <a16:creationId xmlns:a16="http://schemas.microsoft.com/office/drawing/2014/main" id="{B12BF6C0-9293-432B-9D85-5DBAA0F58C3D}"/>
                    </a:ext>
                  </a:extLst>
                </p:cNvPr>
                <p:cNvSpPr>
                  <a:spLocks/>
                </p:cNvSpPr>
                <p:nvPr/>
              </p:nvSpPr>
              <p:spPr bwMode="auto">
                <a:xfrm>
                  <a:off x="4450115" y="1276883"/>
                  <a:ext cx="221610" cy="352233"/>
                </a:xfrm>
                <a:custGeom>
                  <a:avLst/>
                  <a:gdLst/>
                  <a:ahLst/>
                  <a:cxnLst>
                    <a:cxn ang="0">
                      <a:pos x="121" y="73"/>
                    </a:cxn>
                    <a:cxn ang="0">
                      <a:pos x="127" y="55"/>
                    </a:cxn>
                    <a:cxn ang="0">
                      <a:pos x="160" y="55"/>
                    </a:cxn>
                    <a:cxn ang="0">
                      <a:pos x="138" y="11"/>
                    </a:cxn>
                    <a:cxn ang="0">
                      <a:pos x="117" y="0"/>
                    </a:cxn>
                    <a:cxn ang="0">
                      <a:pos x="73" y="11"/>
                    </a:cxn>
                    <a:cxn ang="0">
                      <a:pos x="38" y="61"/>
                    </a:cxn>
                    <a:cxn ang="0">
                      <a:pos x="34" y="83"/>
                    </a:cxn>
                    <a:cxn ang="0">
                      <a:pos x="16" y="90"/>
                    </a:cxn>
                    <a:cxn ang="0">
                      <a:pos x="6" y="118"/>
                    </a:cxn>
                    <a:cxn ang="0">
                      <a:pos x="16" y="134"/>
                    </a:cxn>
                    <a:cxn ang="0">
                      <a:pos x="12" y="156"/>
                    </a:cxn>
                    <a:cxn ang="0">
                      <a:pos x="0" y="173"/>
                    </a:cxn>
                    <a:cxn ang="0">
                      <a:pos x="6" y="185"/>
                    </a:cxn>
                    <a:cxn ang="0">
                      <a:pos x="22" y="233"/>
                    </a:cxn>
                    <a:cxn ang="0">
                      <a:pos x="44" y="239"/>
                    </a:cxn>
                    <a:cxn ang="0">
                      <a:pos x="44" y="227"/>
                    </a:cxn>
                    <a:cxn ang="0">
                      <a:pos x="67" y="223"/>
                    </a:cxn>
                    <a:cxn ang="0">
                      <a:pos x="79" y="195"/>
                    </a:cxn>
                    <a:cxn ang="0">
                      <a:pos x="79" y="173"/>
                    </a:cxn>
                    <a:cxn ang="0">
                      <a:pos x="95" y="166"/>
                    </a:cxn>
                    <a:cxn ang="0">
                      <a:pos x="95" y="150"/>
                    </a:cxn>
                    <a:cxn ang="0">
                      <a:pos x="73" y="144"/>
                    </a:cxn>
                    <a:cxn ang="0">
                      <a:pos x="67" y="118"/>
                    </a:cxn>
                    <a:cxn ang="0">
                      <a:pos x="121" y="73"/>
                    </a:cxn>
                    <a:cxn ang="0">
                      <a:pos x="121" y="73"/>
                    </a:cxn>
                  </a:cxnLst>
                  <a:rect l="0" t="0" r="r" b="b"/>
                  <a:pathLst>
                    <a:path w="160" h="239">
                      <a:moveTo>
                        <a:pt x="121" y="73"/>
                      </a:moveTo>
                      <a:lnTo>
                        <a:pt x="127" y="55"/>
                      </a:lnTo>
                      <a:lnTo>
                        <a:pt x="160" y="55"/>
                      </a:lnTo>
                      <a:lnTo>
                        <a:pt x="138" y="11"/>
                      </a:lnTo>
                      <a:lnTo>
                        <a:pt x="117" y="0"/>
                      </a:lnTo>
                      <a:lnTo>
                        <a:pt x="73" y="11"/>
                      </a:lnTo>
                      <a:lnTo>
                        <a:pt x="38" y="61"/>
                      </a:lnTo>
                      <a:lnTo>
                        <a:pt x="34" y="83"/>
                      </a:lnTo>
                      <a:lnTo>
                        <a:pt x="16" y="90"/>
                      </a:lnTo>
                      <a:lnTo>
                        <a:pt x="6" y="118"/>
                      </a:lnTo>
                      <a:lnTo>
                        <a:pt x="16" y="134"/>
                      </a:lnTo>
                      <a:lnTo>
                        <a:pt x="12" y="156"/>
                      </a:lnTo>
                      <a:lnTo>
                        <a:pt x="0" y="173"/>
                      </a:lnTo>
                      <a:lnTo>
                        <a:pt x="6" y="185"/>
                      </a:lnTo>
                      <a:lnTo>
                        <a:pt x="22" y="233"/>
                      </a:lnTo>
                      <a:lnTo>
                        <a:pt x="44" y="239"/>
                      </a:lnTo>
                      <a:lnTo>
                        <a:pt x="44" y="227"/>
                      </a:lnTo>
                      <a:lnTo>
                        <a:pt x="67" y="223"/>
                      </a:lnTo>
                      <a:lnTo>
                        <a:pt x="79" y="195"/>
                      </a:lnTo>
                      <a:lnTo>
                        <a:pt x="79" y="173"/>
                      </a:lnTo>
                      <a:lnTo>
                        <a:pt x="95" y="166"/>
                      </a:lnTo>
                      <a:lnTo>
                        <a:pt x="95" y="150"/>
                      </a:lnTo>
                      <a:lnTo>
                        <a:pt x="73" y="144"/>
                      </a:lnTo>
                      <a:lnTo>
                        <a:pt x="67" y="118"/>
                      </a:lnTo>
                      <a:lnTo>
                        <a:pt x="121" y="73"/>
                      </a:lnTo>
                      <a:lnTo>
                        <a:pt x="121" y="7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5" name="Freeform 189">
                  <a:extLst>
                    <a:ext uri="{FF2B5EF4-FFF2-40B4-BE49-F238E27FC236}">
                      <a16:creationId xmlns:a16="http://schemas.microsoft.com/office/drawing/2014/main" id="{92E9AC99-776A-4FCC-B776-2ACABD54AAE1}"/>
                    </a:ext>
                  </a:extLst>
                </p:cNvPr>
                <p:cNvSpPr>
                  <a:spLocks/>
                </p:cNvSpPr>
                <p:nvPr/>
              </p:nvSpPr>
              <p:spPr bwMode="auto">
                <a:xfrm>
                  <a:off x="4573386" y="1549532"/>
                  <a:ext cx="22161" cy="32424"/>
                </a:xfrm>
                <a:custGeom>
                  <a:avLst/>
                  <a:gdLst/>
                  <a:ahLst/>
                  <a:cxnLst>
                    <a:cxn ang="0">
                      <a:pos x="16" y="4"/>
                    </a:cxn>
                    <a:cxn ang="0">
                      <a:pos x="10" y="0"/>
                    </a:cxn>
                    <a:cxn ang="0">
                      <a:pos x="0" y="16"/>
                    </a:cxn>
                    <a:cxn ang="0">
                      <a:pos x="10" y="22"/>
                    </a:cxn>
                    <a:cxn ang="0">
                      <a:pos x="16" y="4"/>
                    </a:cxn>
                    <a:cxn ang="0">
                      <a:pos x="16" y="4"/>
                    </a:cxn>
                  </a:cxnLst>
                  <a:rect l="0" t="0" r="r" b="b"/>
                  <a:pathLst>
                    <a:path w="16" h="22">
                      <a:moveTo>
                        <a:pt x="16" y="4"/>
                      </a:moveTo>
                      <a:lnTo>
                        <a:pt x="10" y="0"/>
                      </a:lnTo>
                      <a:lnTo>
                        <a:pt x="0" y="16"/>
                      </a:lnTo>
                      <a:lnTo>
                        <a:pt x="10" y="22"/>
                      </a:lnTo>
                      <a:lnTo>
                        <a:pt x="16" y="4"/>
                      </a:lnTo>
                      <a:lnTo>
                        <a:pt x="16" y="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6" name="Freeform 190">
                  <a:extLst>
                    <a:ext uri="{FF2B5EF4-FFF2-40B4-BE49-F238E27FC236}">
                      <a16:creationId xmlns:a16="http://schemas.microsoft.com/office/drawing/2014/main" id="{F02DFFC0-16C0-49F1-8FEE-6D436473C1DF}"/>
                    </a:ext>
                  </a:extLst>
                </p:cNvPr>
                <p:cNvSpPr>
                  <a:spLocks/>
                </p:cNvSpPr>
                <p:nvPr/>
              </p:nvSpPr>
              <p:spPr bwMode="auto">
                <a:xfrm>
                  <a:off x="4671726" y="1512688"/>
                  <a:ext cx="114961" cy="51582"/>
                </a:xfrm>
                <a:custGeom>
                  <a:avLst/>
                  <a:gdLst/>
                  <a:ahLst/>
                  <a:cxnLst>
                    <a:cxn ang="0">
                      <a:pos x="83" y="6"/>
                    </a:cxn>
                    <a:cxn ang="0">
                      <a:pos x="57" y="0"/>
                    </a:cxn>
                    <a:cxn ang="0">
                      <a:pos x="12" y="0"/>
                    </a:cxn>
                    <a:cxn ang="0">
                      <a:pos x="0" y="19"/>
                    </a:cxn>
                    <a:cxn ang="0">
                      <a:pos x="28" y="29"/>
                    </a:cxn>
                    <a:cxn ang="0">
                      <a:pos x="83" y="35"/>
                    </a:cxn>
                    <a:cxn ang="0">
                      <a:pos x="83" y="6"/>
                    </a:cxn>
                    <a:cxn ang="0">
                      <a:pos x="83" y="6"/>
                    </a:cxn>
                  </a:cxnLst>
                  <a:rect l="0" t="0" r="r" b="b"/>
                  <a:pathLst>
                    <a:path w="83" h="35">
                      <a:moveTo>
                        <a:pt x="83" y="6"/>
                      </a:moveTo>
                      <a:lnTo>
                        <a:pt x="57" y="0"/>
                      </a:lnTo>
                      <a:lnTo>
                        <a:pt x="12" y="0"/>
                      </a:lnTo>
                      <a:lnTo>
                        <a:pt x="0" y="19"/>
                      </a:lnTo>
                      <a:lnTo>
                        <a:pt x="28" y="29"/>
                      </a:lnTo>
                      <a:lnTo>
                        <a:pt x="83" y="35"/>
                      </a:lnTo>
                      <a:lnTo>
                        <a:pt x="83" y="6"/>
                      </a:lnTo>
                      <a:lnTo>
                        <a:pt x="83"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7" name="Freeform 191">
                  <a:extLst>
                    <a:ext uri="{FF2B5EF4-FFF2-40B4-BE49-F238E27FC236}">
                      <a16:creationId xmlns:a16="http://schemas.microsoft.com/office/drawing/2014/main" id="{4BDBC207-B908-495B-905E-4777FB9EB29B}"/>
                    </a:ext>
                  </a:extLst>
                </p:cNvPr>
                <p:cNvSpPr>
                  <a:spLocks/>
                </p:cNvSpPr>
                <p:nvPr/>
              </p:nvSpPr>
              <p:spPr bwMode="auto">
                <a:xfrm>
                  <a:off x="4649564" y="1555428"/>
                  <a:ext cx="153742" cy="56004"/>
                </a:xfrm>
                <a:custGeom>
                  <a:avLst/>
                  <a:gdLst/>
                  <a:ahLst/>
                  <a:cxnLst>
                    <a:cxn ang="0">
                      <a:pos x="0" y="18"/>
                    </a:cxn>
                    <a:cxn ang="0">
                      <a:pos x="0" y="34"/>
                    </a:cxn>
                    <a:cxn ang="0">
                      <a:pos x="38" y="28"/>
                    </a:cxn>
                    <a:cxn ang="0">
                      <a:pos x="95" y="38"/>
                    </a:cxn>
                    <a:cxn ang="0">
                      <a:pos x="111" y="28"/>
                    </a:cxn>
                    <a:cxn ang="0">
                      <a:pos x="99" y="6"/>
                    </a:cxn>
                    <a:cxn ang="0">
                      <a:pos x="44" y="0"/>
                    </a:cxn>
                    <a:cxn ang="0">
                      <a:pos x="34" y="18"/>
                    </a:cxn>
                    <a:cxn ang="0">
                      <a:pos x="12" y="0"/>
                    </a:cxn>
                    <a:cxn ang="0">
                      <a:pos x="0" y="18"/>
                    </a:cxn>
                    <a:cxn ang="0">
                      <a:pos x="0" y="18"/>
                    </a:cxn>
                  </a:cxnLst>
                  <a:rect l="0" t="0" r="r" b="b"/>
                  <a:pathLst>
                    <a:path w="111" h="38">
                      <a:moveTo>
                        <a:pt x="0" y="18"/>
                      </a:moveTo>
                      <a:lnTo>
                        <a:pt x="0" y="34"/>
                      </a:lnTo>
                      <a:lnTo>
                        <a:pt x="38" y="28"/>
                      </a:lnTo>
                      <a:lnTo>
                        <a:pt x="95" y="38"/>
                      </a:lnTo>
                      <a:lnTo>
                        <a:pt x="111" y="28"/>
                      </a:lnTo>
                      <a:lnTo>
                        <a:pt x="99" y="6"/>
                      </a:lnTo>
                      <a:lnTo>
                        <a:pt x="44" y="0"/>
                      </a:lnTo>
                      <a:lnTo>
                        <a:pt x="34" y="18"/>
                      </a:lnTo>
                      <a:lnTo>
                        <a:pt x="12" y="0"/>
                      </a:lnTo>
                      <a:lnTo>
                        <a:pt x="0" y="18"/>
                      </a:lnTo>
                      <a:lnTo>
                        <a:pt x="0" y="1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8" name="Freeform 192">
                  <a:extLst>
                    <a:ext uri="{FF2B5EF4-FFF2-40B4-BE49-F238E27FC236}">
                      <a16:creationId xmlns:a16="http://schemas.microsoft.com/office/drawing/2014/main" id="{BCB16C75-50E8-4CB6-A0A6-F2D62C3C3532}"/>
                    </a:ext>
                  </a:extLst>
                </p:cNvPr>
                <p:cNvSpPr>
                  <a:spLocks/>
                </p:cNvSpPr>
                <p:nvPr/>
              </p:nvSpPr>
              <p:spPr bwMode="auto">
                <a:xfrm>
                  <a:off x="4649564" y="1596693"/>
                  <a:ext cx="131581" cy="66321"/>
                </a:xfrm>
                <a:custGeom>
                  <a:avLst/>
                  <a:gdLst/>
                  <a:ahLst/>
                  <a:cxnLst>
                    <a:cxn ang="0">
                      <a:pos x="0" y="6"/>
                    </a:cxn>
                    <a:cxn ang="0">
                      <a:pos x="0" y="16"/>
                    </a:cxn>
                    <a:cxn ang="0">
                      <a:pos x="22" y="22"/>
                    </a:cxn>
                    <a:cxn ang="0">
                      <a:pos x="16" y="39"/>
                    </a:cxn>
                    <a:cxn ang="0">
                      <a:pos x="50" y="45"/>
                    </a:cxn>
                    <a:cxn ang="0">
                      <a:pos x="73" y="39"/>
                    </a:cxn>
                    <a:cxn ang="0">
                      <a:pos x="95" y="10"/>
                    </a:cxn>
                    <a:cxn ang="0">
                      <a:pos x="38" y="0"/>
                    </a:cxn>
                    <a:cxn ang="0">
                      <a:pos x="0" y="6"/>
                    </a:cxn>
                    <a:cxn ang="0">
                      <a:pos x="0" y="6"/>
                    </a:cxn>
                  </a:cxnLst>
                  <a:rect l="0" t="0" r="r" b="b"/>
                  <a:pathLst>
                    <a:path w="95" h="45">
                      <a:moveTo>
                        <a:pt x="0" y="6"/>
                      </a:moveTo>
                      <a:lnTo>
                        <a:pt x="0" y="16"/>
                      </a:lnTo>
                      <a:lnTo>
                        <a:pt x="22" y="22"/>
                      </a:lnTo>
                      <a:lnTo>
                        <a:pt x="16" y="39"/>
                      </a:lnTo>
                      <a:lnTo>
                        <a:pt x="50" y="45"/>
                      </a:lnTo>
                      <a:lnTo>
                        <a:pt x="73" y="39"/>
                      </a:lnTo>
                      <a:lnTo>
                        <a:pt x="95" y="10"/>
                      </a:lnTo>
                      <a:lnTo>
                        <a:pt x="38" y="0"/>
                      </a:lnTo>
                      <a:lnTo>
                        <a:pt x="0" y="6"/>
                      </a:lnTo>
                      <a:lnTo>
                        <a:pt x="0"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9" name="Freeform 193">
                  <a:extLst>
                    <a:ext uri="{FF2B5EF4-FFF2-40B4-BE49-F238E27FC236}">
                      <a16:creationId xmlns:a16="http://schemas.microsoft.com/office/drawing/2014/main" id="{E5F64042-80D8-4EBD-A0D1-3F3251A60482}"/>
                    </a:ext>
                  </a:extLst>
                </p:cNvPr>
                <p:cNvSpPr>
                  <a:spLocks/>
                </p:cNvSpPr>
                <p:nvPr/>
              </p:nvSpPr>
              <p:spPr bwMode="auto">
                <a:xfrm>
                  <a:off x="4710507" y="1596693"/>
                  <a:ext cx="199449" cy="140009"/>
                </a:xfrm>
                <a:custGeom>
                  <a:avLst/>
                  <a:gdLst/>
                  <a:ahLst/>
                  <a:cxnLst>
                    <a:cxn ang="0">
                      <a:pos x="95" y="22"/>
                    </a:cxn>
                    <a:cxn ang="0">
                      <a:pos x="89" y="10"/>
                    </a:cxn>
                    <a:cxn ang="0">
                      <a:pos x="67" y="0"/>
                    </a:cxn>
                    <a:cxn ang="0">
                      <a:pos x="51" y="10"/>
                    </a:cxn>
                    <a:cxn ang="0">
                      <a:pos x="29" y="39"/>
                    </a:cxn>
                    <a:cxn ang="0">
                      <a:pos x="6" y="45"/>
                    </a:cxn>
                    <a:cxn ang="0">
                      <a:pos x="12" y="57"/>
                    </a:cxn>
                    <a:cxn ang="0">
                      <a:pos x="0" y="77"/>
                    </a:cxn>
                    <a:cxn ang="0">
                      <a:pos x="12" y="89"/>
                    </a:cxn>
                    <a:cxn ang="0">
                      <a:pos x="55" y="83"/>
                    </a:cxn>
                    <a:cxn ang="0">
                      <a:pos x="73" y="95"/>
                    </a:cxn>
                    <a:cxn ang="0">
                      <a:pos x="89" y="89"/>
                    </a:cxn>
                    <a:cxn ang="0">
                      <a:pos x="122" y="95"/>
                    </a:cxn>
                    <a:cxn ang="0">
                      <a:pos x="122" y="83"/>
                    </a:cxn>
                    <a:cxn ang="0">
                      <a:pos x="134" y="77"/>
                    </a:cxn>
                    <a:cxn ang="0">
                      <a:pos x="138" y="61"/>
                    </a:cxn>
                    <a:cxn ang="0">
                      <a:pos x="144" y="57"/>
                    </a:cxn>
                    <a:cxn ang="0">
                      <a:pos x="122" y="39"/>
                    </a:cxn>
                    <a:cxn ang="0">
                      <a:pos x="122" y="16"/>
                    </a:cxn>
                    <a:cxn ang="0">
                      <a:pos x="105" y="10"/>
                    </a:cxn>
                    <a:cxn ang="0">
                      <a:pos x="95" y="22"/>
                    </a:cxn>
                    <a:cxn ang="0">
                      <a:pos x="95" y="22"/>
                    </a:cxn>
                  </a:cxnLst>
                  <a:rect l="0" t="0" r="r" b="b"/>
                  <a:pathLst>
                    <a:path w="144" h="95">
                      <a:moveTo>
                        <a:pt x="95" y="22"/>
                      </a:moveTo>
                      <a:lnTo>
                        <a:pt x="89" y="10"/>
                      </a:lnTo>
                      <a:lnTo>
                        <a:pt x="67" y="0"/>
                      </a:lnTo>
                      <a:lnTo>
                        <a:pt x="51" y="10"/>
                      </a:lnTo>
                      <a:lnTo>
                        <a:pt x="29" y="39"/>
                      </a:lnTo>
                      <a:lnTo>
                        <a:pt x="6" y="45"/>
                      </a:lnTo>
                      <a:lnTo>
                        <a:pt x="12" y="57"/>
                      </a:lnTo>
                      <a:lnTo>
                        <a:pt x="0" y="77"/>
                      </a:lnTo>
                      <a:lnTo>
                        <a:pt x="12" y="89"/>
                      </a:lnTo>
                      <a:lnTo>
                        <a:pt x="55" y="83"/>
                      </a:lnTo>
                      <a:lnTo>
                        <a:pt x="73" y="95"/>
                      </a:lnTo>
                      <a:lnTo>
                        <a:pt x="89" y="89"/>
                      </a:lnTo>
                      <a:lnTo>
                        <a:pt x="122" y="95"/>
                      </a:lnTo>
                      <a:lnTo>
                        <a:pt x="122" y="83"/>
                      </a:lnTo>
                      <a:lnTo>
                        <a:pt x="134" y="77"/>
                      </a:lnTo>
                      <a:lnTo>
                        <a:pt x="138" y="61"/>
                      </a:lnTo>
                      <a:lnTo>
                        <a:pt x="144" y="57"/>
                      </a:lnTo>
                      <a:lnTo>
                        <a:pt x="122" y="39"/>
                      </a:lnTo>
                      <a:lnTo>
                        <a:pt x="122" y="16"/>
                      </a:lnTo>
                      <a:lnTo>
                        <a:pt x="105" y="10"/>
                      </a:lnTo>
                      <a:lnTo>
                        <a:pt x="95" y="22"/>
                      </a:lnTo>
                      <a:lnTo>
                        <a:pt x="95"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60" name="Freeform 194">
                  <a:extLst>
                    <a:ext uri="{FF2B5EF4-FFF2-40B4-BE49-F238E27FC236}">
                      <a16:creationId xmlns:a16="http://schemas.microsoft.com/office/drawing/2014/main" id="{778F7AE7-25B8-47A3-9277-E66138107AC8}"/>
                    </a:ext>
                  </a:extLst>
                </p:cNvPr>
                <p:cNvSpPr>
                  <a:spLocks/>
                </p:cNvSpPr>
                <p:nvPr/>
              </p:nvSpPr>
              <p:spPr bwMode="auto">
                <a:xfrm>
                  <a:off x="4710507" y="1704280"/>
                  <a:ext cx="375352" cy="221067"/>
                </a:xfrm>
                <a:custGeom>
                  <a:avLst/>
                  <a:gdLst/>
                  <a:ahLst/>
                  <a:cxnLst>
                    <a:cxn ang="0">
                      <a:pos x="12" y="16"/>
                    </a:cxn>
                    <a:cxn ang="0">
                      <a:pos x="22" y="32"/>
                    </a:cxn>
                    <a:cxn ang="0">
                      <a:pos x="6" y="55"/>
                    </a:cxn>
                    <a:cxn ang="0">
                      <a:pos x="0" y="71"/>
                    </a:cxn>
                    <a:cxn ang="0">
                      <a:pos x="12" y="83"/>
                    </a:cxn>
                    <a:cxn ang="0">
                      <a:pos x="51" y="89"/>
                    </a:cxn>
                    <a:cxn ang="0">
                      <a:pos x="67" y="77"/>
                    </a:cxn>
                    <a:cxn ang="0">
                      <a:pos x="83" y="71"/>
                    </a:cxn>
                    <a:cxn ang="0">
                      <a:pos x="105" y="83"/>
                    </a:cxn>
                    <a:cxn ang="0">
                      <a:pos x="118" y="105"/>
                    </a:cxn>
                    <a:cxn ang="0">
                      <a:pos x="99" y="127"/>
                    </a:cxn>
                    <a:cxn ang="0">
                      <a:pos x="118" y="134"/>
                    </a:cxn>
                    <a:cxn ang="0">
                      <a:pos x="134" y="105"/>
                    </a:cxn>
                    <a:cxn ang="0">
                      <a:pos x="166" y="127"/>
                    </a:cxn>
                    <a:cxn ang="0">
                      <a:pos x="178" y="150"/>
                    </a:cxn>
                    <a:cxn ang="0">
                      <a:pos x="188" y="150"/>
                    </a:cxn>
                    <a:cxn ang="0">
                      <a:pos x="211" y="134"/>
                    </a:cxn>
                    <a:cxn ang="0">
                      <a:pos x="201" y="121"/>
                    </a:cxn>
                    <a:cxn ang="0">
                      <a:pos x="178" y="121"/>
                    </a:cxn>
                    <a:cxn ang="0">
                      <a:pos x="178" y="117"/>
                    </a:cxn>
                    <a:cxn ang="0">
                      <a:pos x="239" y="99"/>
                    </a:cxn>
                    <a:cxn ang="0">
                      <a:pos x="249" y="89"/>
                    </a:cxn>
                    <a:cxn ang="0">
                      <a:pos x="271" y="83"/>
                    </a:cxn>
                    <a:cxn ang="0">
                      <a:pos x="271" y="55"/>
                    </a:cxn>
                    <a:cxn ang="0">
                      <a:pos x="227" y="38"/>
                    </a:cxn>
                    <a:cxn ang="0">
                      <a:pos x="217" y="44"/>
                    </a:cxn>
                    <a:cxn ang="0">
                      <a:pos x="205" y="38"/>
                    </a:cxn>
                    <a:cxn ang="0">
                      <a:pos x="195" y="38"/>
                    </a:cxn>
                    <a:cxn ang="0">
                      <a:pos x="188" y="22"/>
                    </a:cxn>
                    <a:cxn ang="0">
                      <a:pos x="178" y="22"/>
                    </a:cxn>
                    <a:cxn ang="0">
                      <a:pos x="178" y="10"/>
                    </a:cxn>
                    <a:cxn ang="0">
                      <a:pos x="166" y="0"/>
                    </a:cxn>
                    <a:cxn ang="0">
                      <a:pos x="134" y="4"/>
                    </a:cxn>
                    <a:cxn ang="0">
                      <a:pos x="122" y="10"/>
                    </a:cxn>
                    <a:cxn ang="0">
                      <a:pos x="122" y="22"/>
                    </a:cxn>
                    <a:cxn ang="0">
                      <a:pos x="89" y="16"/>
                    </a:cxn>
                    <a:cxn ang="0">
                      <a:pos x="73" y="22"/>
                    </a:cxn>
                    <a:cxn ang="0">
                      <a:pos x="55" y="10"/>
                    </a:cxn>
                    <a:cxn ang="0">
                      <a:pos x="12" y="16"/>
                    </a:cxn>
                    <a:cxn ang="0">
                      <a:pos x="12" y="16"/>
                    </a:cxn>
                  </a:cxnLst>
                  <a:rect l="0" t="0" r="r" b="b"/>
                  <a:pathLst>
                    <a:path w="271" h="150">
                      <a:moveTo>
                        <a:pt x="12" y="16"/>
                      </a:moveTo>
                      <a:lnTo>
                        <a:pt x="22" y="32"/>
                      </a:lnTo>
                      <a:lnTo>
                        <a:pt x="6" y="55"/>
                      </a:lnTo>
                      <a:lnTo>
                        <a:pt x="0" y="71"/>
                      </a:lnTo>
                      <a:lnTo>
                        <a:pt x="12" y="83"/>
                      </a:lnTo>
                      <a:lnTo>
                        <a:pt x="51" y="89"/>
                      </a:lnTo>
                      <a:lnTo>
                        <a:pt x="67" y="77"/>
                      </a:lnTo>
                      <a:lnTo>
                        <a:pt x="83" y="71"/>
                      </a:lnTo>
                      <a:lnTo>
                        <a:pt x="105" y="83"/>
                      </a:lnTo>
                      <a:lnTo>
                        <a:pt x="118" y="105"/>
                      </a:lnTo>
                      <a:lnTo>
                        <a:pt x="99" y="127"/>
                      </a:lnTo>
                      <a:lnTo>
                        <a:pt x="118" y="134"/>
                      </a:lnTo>
                      <a:lnTo>
                        <a:pt x="134" y="105"/>
                      </a:lnTo>
                      <a:lnTo>
                        <a:pt x="166" y="127"/>
                      </a:lnTo>
                      <a:lnTo>
                        <a:pt x="178" y="150"/>
                      </a:lnTo>
                      <a:lnTo>
                        <a:pt x="188" y="150"/>
                      </a:lnTo>
                      <a:lnTo>
                        <a:pt x="211" y="134"/>
                      </a:lnTo>
                      <a:lnTo>
                        <a:pt x="201" y="121"/>
                      </a:lnTo>
                      <a:lnTo>
                        <a:pt x="178" y="121"/>
                      </a:lnTo>
                      <a:lnTo>
                        <a:pt x="178" y="117"/>
                      </a:lnTo>
                      <a:lnTo>
                        <a:pt x="239" y="99"/>
                      </a:lnTo>
                      <a:lnTo>
                        <a:pt x="249" y="89"/>
                      </a:lnTo>
                      <a:lnTo>
                        <a:pt x="271" y="83"/>
                      </a:lnTo>
                      <a:lnTo>
                        <a:pt x="271" y="55"/>
                      </a:lnTo>
                      <a:lnTo>
                        <a:pt x="227" y="38"/>
                      </a:lnTo>
                      <a:lnTo>
                        <a:pt x="217" y="44"/>
                      </a:lnTo>
                      <a:lnTo>
                        <a:pt x="205" y="38"/>
                      </a:lnTo>
                      <a:lnTo>
                        <a:pt x="195" y="38"/>
                      </a:lnTo>
                      <a:lnTo>
                        <a:pt x="188" y="22"/>
                      </a:lnTo>
                      <a:lnTo>
                        <a:pt x="178" y="22"/>
                      </a:lnTo>
                      <a:lnTo>
                        <a:pt x="178" y="10"/>
                      </a:lnTo>
                      <a:lnTo>
                        <a:pt x="166" y="0"/>
                      </a:lnTo>
                      <a:lnTo>
                        <a:pt x="134" y="4"/>
                      </a:lnTo>
                      <a:lnTo>
                        <a:pt x="122" y="10"/>
                      </a:lnTo>
                      <a:lnTo>
                        <a:pt x="122" y="22"/>
                      </a:lnTo>
                      <a:lnTo>
                        <a:pt x="89" y="16"/>
                      </a:lnTo>
                      <a:lnTo>
                        <a:pt x="73" y="22"/>
                      </a:lnTo>
                      <a:lnTo>
                        <a:pt x="55" y="10"/>
                      </a:lnTo>
                      <a:lnTo>
                        <a:pt x="12" y="16"/>
                      </a:lnTo>
                      <a:lnTo>
                        <a:pt x="12"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61" name="Freeform 197">
                  <a:extLst>
                    <a:ext uri="{FF2B5EF4-FFF2-40B4-BE49-F238E27FC236}">
                      <a16:creationId xmlns:a16="http://schemas.microsoft.com/office/drawing/2014/main" id="{FDA1D4A9-1010-4FA3-AD8E-F0579BF9767F}"/>
                    </a:ext>
                  </a:extLst>
                </p:cNvPr>
                <p:cNvSpPr>
                  <a:spLocks/>
                </p:cNvSpPr>
                <p:nvPr/>
              </p:nvSpPr>
              <p:spPr bwMode="auto">
                <a:xfrm>
                  <a:off x="4380862" y="1564271"/>
                  <a:ext cx="49862" cy="81058"/>
                </a:xfrm>
                <a:custGeom>
                  <a:avLst/>
                  <a:gdLst/>
                  <a:ahLst/>
                  <a:cxnLst>
                    <a:cxn ang="0">
                      <a:pos x="36" y="55"/>
                    </a:cxn>
                    <a:cxn ang="0">
                      <a:pos x="36" y="22"/>
                    </a:cxn>
                    <a:cxn ang="0">
                      <a:pos x="22" y="0"/>
                    </a:cxn>
                    <a:cxn ang="0">
                      <a:pos x="0" y="24"/>
                    </a:cxn>
                    <a:cxn ang="0">
                      <a:pos x="16" y="40"/>
                    </a:cxn>
                    <a:cxn ang="0">
                      <a:pos x="36" y="55"/>
                    </a:cxn>
                    <a:cxn ang="0">
                      <a:pos x="36" y="55"/>
                    </a:cxn>
                  </a:cxnLst>
                  <a:rect l="0" t="0" r="r" b="b"/>
                  <a:pathLst>
                    <a:path w="36" h="55">
                      <a:moveTo>
                        <a:pt x="36" y="55"/>
                      </a:moveTo>
                      <a:lnTo>
                        <a:pt x="36" y="22"/>
                      </a:lnTo>
                      <a:lnTo>
                        <a:pt x="22" y="0"/>
                      </a:lnTo>
                      <a:lnTo>
                        <a:pt x="0" y="24"/>
                      </a:lnTo>
                      <a:lnTo>
                        <a:pt x="16" y="40"/>
                      </a:lnTo>
                      <a:lnTo>
                        <a:pt x="36" y="55"/>
                      </a:lnTo>
                      <a:lnTo>
                        <a:pt x="36" y="5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62" name="Freeform 200">
                  <a:extLst>
                    <a:ext uri="{FF2B5EF4-FFF2-40B4-BE49-F238E27FC236}">
                      <a16:creationId xmlns:a16="http://schemas.microsoft.com/office/drawing/2014/main" id="{2BB77688-7F6B-4473-8E55-76AE87D30CE5}"/>
                    </a:ext>
                  </a:extLst>
                </p:cNvPr>
                <p:cNvSpPr>
                  <a:spLocks/>
                </p:cNvSpPr>
                <p:nvPr/>
              </p:nvSpPr>
              <p:spPr bwMode="auto">
                <a:xfrm>
                  <a:off x="4509673" y="1623222"/>
                  <a:ext cx="229920" cy="156220"/>
                </a:xfrm>
                <a:custGeom>
                  <a:avLst/>
                  <a:gdLst>
                    <a:gd name="T0" fmla="*/ 89 w 166"/>
                    <a:gd name="T1" fmla="*/ 12 h 106"/>
                    <a:gd name="T2" fmla="*/ 67 w 166"/>
                    <a:gd name="T3" fmla="*/ 17 h 106"/>
                    <a:gd name="T4" fmla="*/ 55 w 166"/>
                    <a:gd name="T5" fmla="*/ 0 h 106"/>
                    <a:gd name="T6" fmla="*/ 0 w 166"/>
                    <a:gd name="T7" fmla="*/ 17 h 106"/>
                    <a:gd name="T8" fmla="*/ 28 w 166"/>
                    <a:gd name="T9" fmla="*/ 67 h 106"/>
                    <a:gd name="T10" fmla="*/ 93 w 166"/>
                    <a:gd name="T11" fmla="*/ 106 h 106"/>
                    <a:gd name="T12" fmla="*/ 150 w 166"/>
                    <a:gd name="T13" fmla="*/ 106 h 106"/>
                    <a:gd name="T14" fmla="*/ 166 w 166"/>
                    <a:gd name="T15" fmla="*/ 84 h 106"/>
                    <a:gd name="T16" fmla="*/ 156 w 166"/>
                    <a:gd name="T17" fmla="*/ 67 h 106"/>
                    <a:gd name="T18" fmla="*/ 144 w 166"/>
                    <a:gd name="T19" fmla="*/ 55 h 106"/>
                    <a:gd name="T20" fmla="*/ 156 w 166"/>
                    <a:gd name="T21" fmla="*/ 35 h 106"/>
                    <a:gd name="T22" fmla="*/ 150 w 166"/>
                    <a:gd name="T23" fmla="*/ 23 h 106"/>
                    <a:gd name="T24" fmla="*/ 89 w 166"/>
                    <a:gd name="T25" fmla="*/ 12 h 106"/>
                    <a:gd name="T26" fmla="*/ 89 w 166"/>
                    <a:gd name="T27" fmla="*/ 12 h 1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6"/>
                    <a:gd name="T43" fmla="*/ 0 h 106"/>
                    <a:gd name="T44" fmla="*/ 166 w 166"/>
                    <a:gd name="T45" fmla="*/ 106 h 1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6" h="106">
                      <a:moveTo>
                        <a:pt x="89" y="12"/>
                      </a:moveTo>
                      <a:lnTo>
                        <a:pt x="67" y="17"/>
                      </a:lnTo>
                      <a:lnTo>
                        <a:pt x="55" y="0"/>
                      </a:lnTo>
                      <a:lnTo>
                        <a:pt x="0" y="17"/>
                      </a:lnTo>
                      <a:lnTo>
                        <a:pt x="28" y="67"/>
                      </a:lnTo>
                      <a:lnTo>
                        <a:pt x="93" y="106"/>
                      </a:lnTo>
                      <a:lnTo>
                        <a:pt x="150" y="106"/>
                      </a:lnTo>
                      <a:lnTo>
                        <a:pt x="166" y="84"/>
                      </a:lnTo>
                      <a:lnTo>
                        <a:pt x="156" y="67"/>
                      </a:lnTo>
                      <a:lnTo>
                        <a:pt x="144" y="55"/>
                      </a:lnTo>
                      <a:lnTo>
                        <a:pt x="156" y="35"/>
                      </a:lnTo>
                      <a:lnTo>
                        <a:pt x="150" y="23"/>
                      </a:lnTo>
                      <a:lnTo>
                        <a:pt x="89"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3" name="Freeform 204">
                  <a:extLst>
                    <a:ext uri="{FF2B5EF4-FFF2-40B4-BE49-F238E27FC236}">
                      <a16:creationId xmlns:a16="http://schemas.microsoft.com/office/drawing/2014/main" id="{87D53B75-77FF-4609-9AD4-112422F4324E}"/>
                    </a:ext>
                  </a:extLst>
                </p:cNvPr>
                <p:cNvSpPr>
                  <a:spLocks/>
                </p:cNvSpPr>
                <p:nvPr/>
              </p:nvSpPr>
              <p:spPr bwMode="auto">
                <a:xfrm>
                  <a:off x="4725743" y="1920925"/>
                  <a:ext cx="138507" cy="79585"/>
                </a:xfrm>
                <a:custGeom>
                  <a:avLst/>
                  <a:gdLst>
                    <a:gd name="T0" fmla="*/ 94 w 100"/>
                    <a:gd name="T1" fmla="*/ 6 h 54"/>
                    <a:gd name="T2" fmla="*/ 65 w 100"/>
                    <a:gd name="T3" fmla="*/ 0 h 54"/>
                    <a:gd name="T4" fmla="*/ 27 w 100"/>
                    <a:gd name="T5" fmla="*/ 16 h 54"/>
                    <a:gd name="T6" fmla="*/ 4 w 100"/>
                    <a:gd name="T7" fmla="*/ 6 h 54"/>
                    <a:gd name="T8" fmla="*/ 10 w 100"/>
                    <a:gd name="T9" fmla="*/ 22 h 54"/>
                    <a:gd name="T10" fmla="*/ 0 w 100"/>
                    <a:gd name="T11" fmla="*/ 34 h 54"/>
                    <a:gd name="T12" fmla="*/ 17 w 100"/>
                    <a:gd name="T13" fmla="*/ 38 h 54"/>
                    <a:gd name="T14" fmla="*/ 21 w 100"/>
                    <a:gd name="T15" fmla="*/ 50 h 54"/>
                    <a:gd name="T16" fmla="*/ 49 w 100"/>
                    <a:gd name="T17" fmla="*/ 54 h 54"/>
                    <a:gd name="T18" fmla="*/ 84 w 100"/>
                    <a:gd name="T19" fmla="*/ 44 h 54"/>
                    <a:gd name="T20" fmla="*/ 100 w 100"/>
                    <a:gd name="T21" fmla="*/ 34 h 54"/>
                    <a:gd name="T22" fmla="*/ 88 w 100"/>
                    <a:gd name="T23" fmla="*/ 22 h 54"/>
                    <a:gd name="T24" fmla="*/ 94 w 100"/>
                    <a:gd name="T25" fmla="*/ 6 h 54"/>
                    <a:gd name="T26" fmla="*/ 94 w 100"/>
                    <a:gd name="T27" fmla="*/ 6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54"/>
                    <a:gd name="T44" fmla="*/ 100 w 100"/>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54">
                      <a:moveTo>
                        <a:pt x="94" y="6"/>
                      </a:moveTo>
                      <a:lnTo>
                        <a:pt x="65" y="0"/>
                      </a:lnTo>
                      <a:lnTo>
                        <a:pt x="27" y="16"/>
                      </a:lnTo>
                      <a:lnTo>
                        <a:pt x="4" y="6"/>
                      </a:lnTo>
                      <a:lnTo>
                        <a:pt x="10" y="22"/>
                      </a:lnTo>
                      <a:lnTo>
                        <a:pt x="0" y="34"/>
                      </a:lnTo>
                      <a:lnTo>
                        <a:pt x="17" y="38"/>
                      </a:lnTo>
                      <a:lnTo>
                        <a:pt x="21" y="50"/>
                      </a:lnTo>
                      <a:lnTo>
                        <a:pt x="49" y="54"/>
                      </a:lnTo>
                      <a:lnTo>
                        <a:pt x="84" y="44"/>
                      </a:lnTo>
                      <a:lnTo>
                        <a:pt x="100" y="34"/>
                      </a:lnTo>
                      <a:lnTo>
                        <a:pt x="88" y="22"/>
                      </a:lnTo>
                      <a:lnTo>
                        <a:pt x="94"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4" name="Freeform 206">
                  <a:extLst>
                    <a:ext uri="{FF2B5EF4-FFF2-40B4-BE49-F238E27FC236}">
                      <a16:creationId xmlns:a16="http://schemas.microsoft.com/office/drawing/2014/main" id="{4FC5AC7E-393C-471E-A8AA-4E54F5159C1A}"/>
                    </a:ext>
                  </a:extLst>
                </p:cNvPr>
                <p:cNvSpPr>
                  <a:spLocks/>
                </p:cNvSpPr>
                <p:nvPr/>
              </p:nvSpPr>
              <p:spPr bwMode="auto">
                <a:xfrm>
                  <a:off x="4754829" y="2159678"/>
                  <a:ext cx="77564" cy="33897"/>
                </a:xfrm>
                <a:custGeom>
                  <a:avLst/>
                  <a:gdLst>
                    <a:gd name="T0" fmla="*/ 56 w 56"/>
                    <a:gd name="T1" fmla="*/ 17 h 23"/>
                    <a:gd name="T2" fmla="*/ 50 w 56"/>
                    <a:gd name="T3" fmla="*/ 0 h 23"/>
                    <a:gd name="T4" fmla="*/ 40 w 56"/>
                    <a:gd name="T5" fmla="*/ 6 h 23"/>
                    <a:gd name="T6" fmla="*/ 0 w 56"/>
                    <a:gd name="T7" fmla="*/ 6 h 23"/>
                    <a:gd name="T8" fmla="*/ 22 w 56"/>
                    <a:gd name="T9" fmla="*/ 23 h 23"/>
                    <a:gd name="T10" fmla="*/ 56 w 56"/>
                    <a:gd name="T11" fmla="*/ 17 h 23"/>
                    <a:gd name="T12" fmla="*/ 56 w 56"/>
                    <a:gd name="T13" fmla="*/ 17 h 23"/>
                    <a:gd name="T14" fmla="*/ 0 60000 65536"/>
                    <a:gd name="T15" fmla="*/ 0 60000 65536"/>
                    <a:gd name="T16" fmla="*/ 0 60000 65536"/>
                    <a:gd name="T17" fmla="*/ 0 60000 65536"/>
                    <a:gd name="T18" fmla="*/ 0 60000 65536"/>
                    <a:gd name="T19" fmla="*/ 0 60000 65536"/>
                    <a:gd name="T20" fmla="*/ 0 60000 65536"/>
                    <a:gd name="T21" fmla="*/ 0 w 56"/>
                    <a:gd name="T22" fmla="*/ 0 h 23"/>
                    <a:gd name="T23" fmla="*/ 56 w 56"/>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23">
                      <a:moveTo>
                        <a:pt x="56" y="17"/>
                      </a:moveTo>
                      <a:lnTo>
                        <a:pt x="50" y="0"/>
                      </a:lnTo>
                      <a:lnTo>
                        <a:pt x="40" y="6"/>
                      </a:lnTo>
                      <a:lnTo>
                        <a:pt x="0" y="6"/>
                      </a:lnTo>
                      <a:lnTo>
                        <a:pt x="22" y="23"/>
                      </a:lnTo>
                      <a:lnTo>
                        <a:pt x="56" y="1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5" name="Freeform 207">
                  <a:extLst>
                    <a:ext uri="{FF2B5EF4-FFF2-40B4-BE49-F238E27FC236}">
                      <a16:creationId xmlns:a16="http://schemas.microsoft.com/office/drawing/2014/main" id="{EA7DEDC2-DF9F-4581-B567-159A1ECB4067}"/>
                    </a:ext>
                  </a:extLst>
                </p:cNvPr>
                <p:cNvSpPr>
                  <a:spLocks/>
                </p:cNvSpPr>
                <p:nvPr/>
              </p:nvSpPr>
              <p:spPr bwMode="auto">
                <a:xfrm>
                  <a:off x="4386402" y="1854605"/>
                  <a:ext cx="243772" cy="240227"/>
                </a:xfrm>
                <a:custGeom>
                  <a:avLst/>
                  <a:gdLst>
                    <a:gd name="T0" fmla="*/ 95 w 176"/>
                    <a:gd name="T1" fmla="*/ 28 h 163"/>
                    <a:gd name="T2" fmla="*/ 105 w 176"/>
                    <a:gd name="T3" fmla="*/ 6 h 163"/>
                    <a:gd name="T4" fmla="*/ 79 w 176"/>
                    <a:gd name="T5" fmla="*/ 6 h 163"/>
                    <a:gd name="T6" fmla="*/ 73 w 176"/>
                    <a:gd name="T7" fmla="*/ 0 h 163"/>
                    <a:gd name="T8" fmla="*/ 50 w 176"/>
                    <a:gd name="T9" fmla="*/ 0 h 163"/>
                    <a:gd name="T10" fmla="*/ 28 w 176"/>
                    <a:gd name="T11" fmla="*/ 12 h 163"/>
                    <a:gd name="T12" fmla="*/ 18 w 176"/>
                    <a:gd name="T13" fmla="*/ 12 h 163"/>
                    <a:gd name="T14" fmla="*/ 0 w 176"/>
                    <a:gd name="T15" fmla="*/ 16 h 163"/>
                    <a:gd name="T16" fmla="*/ 6 w 176"/>
                    <a:gd name="T17" fmla="*/ 53 h 163"/>
                    <a:gd name="T18" fmla="*/ 36 w 176"/>
                    <a:gd name="T19" fmla="*/ 47 h 163"/>
                    <a:gd name="T20" fmla="*/ 60 w 176"/>
                    <a:gd name="T21" fmla="*/ 83 h 163"/>
                    <a:gd name="T22" fmla="*/ 79 w 176"/>
                    <a:gd name="T23" fmla="*/ 95 h 163"/>
                    <a:gd name="T24" fmla="*/ 101 w 176"/>
                    <a:gd name="T25" fmla="*/ 99 h 163"/>
                    <a:gd name="T26" fmla="*/ 111 w 176"/>
                    <a:gd name="T27" fmla="*/ 112 h 163"/>
                    <a:gd name="T28" fmla="*/ 134 w 176"/>
                    <a:gd name="T29" fmla="*/ 124 h 163"/>
                    <a:gd name="T30" fmla="*/ 144 w 176"/>
                    <a:gd name="T31" fmla="*/ 140 h 163"/>
                    <a:gd name="T32" fmla="*/ 134 w 176"/>
                    <a:gd name="T33" fmla="*/ 160 h 163"/>
                    <a:gd name="T34" fmla="*/ 144 w 176"/>
                    <a:gd name="T35" fmla="*/ 163 h 163"/>
                    <a:gd name="T36" fmla="*/ 160 w 176"/>
                    <a:gd name="T37" fmla="*/ 134 h 163"/>
                    <a:gd name="T38" fmla="*/ 152 w 176"/>
                    <a:gd name="T39" fmla="*/ 128 h 163"/>
                    <a:gd name="T40" fmla="*/ 160 w 176"/>
                    <a:gd name="T41" fmla="*/ 118 h 163"/>
                    <a:gd name="T42" fmla="*/ 174 w 176"/>
                    <a:gd name="T43" fmla="*/ 128 h 163"/>
                    <a:gd name="T44" fmla="*/ 176 w 176"/>
                    <a:gd name="T45" fmla="*/ 118 h 163"/>
                    <a:gd name="T46" fmla="*/ 152 w 176"/>
                    <a:gd name="T47" fmla="*/ 99 h 163"/>
                    <a:gd name="T48" fmla="*/ 136 w 176"/>
                    <a:gd name="T49" fmla="*/ 91 h 163"/>
                    <a:gd name="T50" fmla="*/ 89 w 176"/>
                    <a:gd name="T51" fmla="*/ 55 h 163"/>
                    <a:gd name="T52" fmla="*/ 79 w 176"/>
                    <a:gd name="T53" fmla="*/ 51 h 163"/>
                    <a:gd name="T54" fmla="*/ 73 w 176"/>
                    <a:gd name="T55" fmla="*/ 28 h 163"/>
                    <a:gd name="T56" fmla="*/ 83 w 176"/>
                    <a:gd name="T57" fmla="*/ 16 h 163"/>
                    <a:gd name="T58" fmla="*/ 95 w 176"/>
                    <a:gd name="T59" fmla="*/ 28 h 163"/>
                    <a:gd name="T60" fmla="*/ 95 w 176"/>
                    <a:gd name="T61" fmla="*/ 28 h 16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76"/>
                    <a:gd name="T94" fmla="*/ 0 h 163"/>
                    <a:gd name="T95" fmla="*/ 176 w 176"/>
                    <a:gd name="T96" fmla="*/ 163 h 16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76" h="163">
                      <a:moveTo>
                        <a:pt x="95" y="28"/>
                      </a:moveTo>
                      <a:lnTo>
                        <a:pt x="105" y="6"/>
                      </a:lnTo>
                      <a:lnTo>
                        <a:pt x="79" y="6"/>
                      </a:lnTo>
                      <a:lnTo>
                        <a:pt x="73" y="0"/>
                      </a:lnTo>
                      <a:lnTo>
                        <a:pt x="50" y="0"/>
                      </a:lnTo>
                      <a:lnTo>
                        <a:pt x="28" y="12"/>
                      </a:lnTo>
                      <a:lnTo>
                        <a:pt x="18" y="12"/>
                      </a:lnTo>
                      <a:lnTo>
                        <a:pt x="0" y="16"/>
                      </a:lnTo>
                      <a:lnTo>
                        <a:pt x="6" y="53"/>
                      </a:lnTo>
                      <a:lnTo>
                        <a:pt x="36" y="47"/>
                      </a:lnTo>
                      <a:lnTo>
                        <a:pt x="60" y="83"/>
                      </a:lnTo>
                      <a:lnTo>
                        <a:pt x="79" y="95"/>
                      </a:lnTo>
                      <a:lnTo>
                        <a:pt x="101" y="99"/>
                      </a:lnTo>
                      <a:lnTo>
                        <a:pt x="111" y="112"/>
                      </a:lnTo>
                      <a:lnTo>
                        <a:pt x="134" y="124"/>
                      </a:lnTo>
                      <a:lnTo>
                        <a:pt x="144" y="140"/>
                      </a:lnTo>
                      <a:lnTo>
                        <a:pt x="134" y="160"/>
                      </a:lnTo>
                      <a:lnTo>
                        <a:pt x="144" y="163"/>
                      </a:lnTo>
                      <a:lnTo>
                        <a:pt x="160" y="134"/>
                      </a:lnTo>
                      <a:lnTo>
                        <a:pt x="152" y="128"/>
                      </a:lnTo>
                      <a:lnTo>
                        <a:pt x="160" y="118"/>
                      </a:lnTo>
                      <a:lnTo>
                        <a:pt x="174" y="128"/>
                      </a:lnTo>
                      <a:lnTo>
                        <a:pt x="176" y="118"/>
                      </a:lnTo>
                      <a:lnTo>
                        <a:pt x="152" y="99"/>
                      </a:lnTo>
                      <a:lnTo>
                        <a:pt x="136" y="91"/>
                      </a:lnTo>
                      <a:lnTo>
                        <a:pt x="89" y="55"/>
                      </a:lnTo>
                      <a:lnTo>
                        <a:pt x="79" y="51"/>
                      </a:lnTo>
                      <a:lnTo>
                        <a:pt x="73" y="28"/>
                      </a:lnTo>
                      <a:lnTo>
                        <a:pt x="83" y="16"/>
                      </a:lnTo>
                      <a:lnTo>
                        <a:pt x="95" y="2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6" name="Freeform 208">
                  <a:extLst>
                    <a:ext uri="{FF2B5EF4-FFF2-40B4-BE49-F238E27FC236}">
                      <a16:creationId xmlns:a16="http://schemas.microsoft.com/office/drawing/2014/main" id="{DF1AF8C1-2D8C-42C6-8E4C-0ED744482EE0}"/>
                    </a:ext>
                  </a:extLst>
                </p:cNvPr>
                <p:cNvSpPr>
                  <a:spLocks/>
                </p:cNvSpPr>
                <p:nvPr/>
              </p:nvSpPr>
              <p:spPr bwMode="auto">
                <a:xfrm>
                  <a:off x="4495823" y="2094831"/>
                  <a:ext cx="76178" cy="47161"/>
                </a:xfrm>
                <a:custGeom>
                  <a:avLst/>
                  <a:gdLst>
                    <a:gd name="T0" fmla="*/ 49 w 55"/>
                    <a:gd name="T1" fmla="*/ 4 h 32"/>
                    <a:gd name="T2" fmla="*/ 32 w 55"/>
                    <a:gd name="T3" fmla="*/ 4 h 32"/>
                    <a:gd name="T4" fmla="*/ 26 w 55"/>
                    <a:gd name="T5" fmla="*/ 0 h 32"/>
                    <a:gd name="T6" fmla="*/ 0 w 55"/>
                    <a:gd name="T7" fmla="*/ 0 h 32"/>
                    <a:gd name="T8" fmla="*/ 32 w 55"/>
                    <a:gd name="T9" fmla="*/ 28 h 32"/>
                    <a:gd name="T10" fmla="*/ 55 w 55"/>
                    <a:gd name="T11" fmla="*/ 32 h 32"/>
                    <a:gd name="T12" fmla="*/ 49 w 55"/>
                    <a:gd name="T13" fmla="*/ 4 h 32"/>
                    <a:gd name="T14" fmla="*/ 49 w 55"/>
                    <a:gd name="T15" fmla="*/ 4 h 3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32"/>
                    <a:gd name="T26" fmla="*/ 55 w 55"/>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32">
                      <a:moveTo>
                        <a:pt x="49" y="4"/>
                      </a:moveTo>
                      <a:lnTo>
                        <a:pt x="32" y="4"/>
                      </a:lnTo>
                      <a:lnTo>
                        <a:pt x="26" y="0"/>
                      </a:lnTo>
                      <a:lnTo>
                        <a:pt x="0" y="0"/>
                      </a:lnTo>
                      <a:lnTo>
                        <a:pt x="32" y="28"/>
                      </a:lnTo>
                      <a:lnTo>
                        <a:pt x="55" y="32"/>
                      </a:lnTo>
                      <a:lnTo>
                        <a:pt x="49"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7" name="Freeform 210">
                  <a:extLst>
                    <a:ext uri="{FF2B5EF4-FFF2-40B4-BE49-F238E27FC236}">
                      <a16:creationId xmlns:a16="http://schemas.microsoft.com/office/drawing/2014/main" id="{A67D3B66-8BA6-41B2-8B3B-D2A8F91F2F02}"/>
                    </a:ext>
                  </a:extLst>
                </p:cNvPr>
                <p:cNvSpPr>
                  <a:spLocks/>
                </p:cNvSpPr>
                <p:nvPr/>
              </p:nvSpPr>
              <p:spPr bwMode="auto">
                <a:xfrm>
                  <a:off x="4517984" y="1863447"/>
                  <a:ext cx="128811" cy="98743"/>
                </a:xfrm>
                <a:custGeom>
                  <a:avLst/>
                  <a:gdLst>
                    <a:gd name="T0" fmla="*/ 83 w 93"/>
                    <a:gd name="T1" fmla="*/ 22 h 67"/>
                    <a:gd name="T2" fmla="*/ 93 w 93"/>
                    <a:gd name="T3" fmla="*/ 16 h 67"/>
                    <a:gd name="T4" fmla="*/ 93 w 93"/>
                    <a:gd name="T5" fmla="*/ 6 h 67"/>
                    <a:gd name="T6" fmla="*/ 55 w 93"/>
                    <a:gd name="T7" fmla="*/ 0 h 67"/>
                    <a:gd name="T8" fmla="*/ 39 w 93"/>
                    <a:gd name="T9" fmla="*/ 16 h 67"/>
                    <a:gd name="T10" fmla="*/ 22 w 93"/>
                    <a:gd name="T11" fmla="*/ 10 h 67"/>
                    <a:gd name="T12" fmla="*/ 0 w 93"/>
                    <a:gd name="T13" fmla="*/ 22 h 67"/>
                    <a:gd name="T14" fmla="*/ 6 w 93"/>
                    <a:gd name="T15" fmla="*/ 26 h 67"/>
                    <a:gd name="T16" fmla="*/ 16 w 93"/>
                    <a:gd name="T17" fmla="*/ 26 h 67"/>
                    <a:gd name="T18" fmla="*/ 45 w 93"/>
                    <a:gd name="T19" fmla="*/ 61 h 67"/>
                    <a:gd name="T20" fmla="*/ 67 w 93"/>
                    <a:gd name="T21" fmla="*/ 67 h 67"/>
                    <a:gd name="T22" fmla="*/ 45 w 93"/>
                    <a:gd name="T23" fmla="*/ 26 h 67"/>
                    <a:gd name="T24" fmla="*/ 55 w 93"/>
                    <a:gd name="T25" fmla="*/ 22 h 67"/>
                    <a:gd name="T26" fmla="*/ 83 w 93"/>
                    <a:gd name="T27" fmla="*/ 22 h 67"/>
                    <a:gd name="T28" fmla="*/ 83 w 93"/>
                    <a:gd name="T29" fmla="*/ 22 h 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3"/>
                    <a:gd name="T46" fmla="*/ 0 h 67"/>
                    <a:gd name="T47" fmla="*/ 93 w 93"/>
                    <a:gd name="T48" fmla="*/ 67 h 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3" h="67">
                      <a:moveTo>
                        <a:pt x="83" y="22"/>
                      </a:moveTo>
                      <a:lnTo>
                        <a:pt x="93" y="16"/>
                      </a:lnTo>
                      <a:lnTo>
                        <a:pt x="93" y="6"/>
                      </a:lnTo>
                      <a:lnTo>
                        <a:pt x="55" y="0"/>
                      </a:lnTo>
                      <a:lnTo>
                        <a:pt x="39" y="16"/>
                      </a:lnTo>
                      <a:lnTo>
                        <a:pt x="22" y="10"/>
                      </a:lnTo>
                      <a:lnTo>
                        <a:pt x="0" y="22"/>
                      </a:lnTo>
                      <a:lnTo>
                        <a:pt x="6" y="26"/>
                      </a:lnTo>
                      <a:lnTo>
                        <a:pt x="16" y="26"/>
                      </a:lnTo>
                      <a:lnTo>
                        <a:pt x="45" y="61"/>
                      </a:lnTo>
                      <a:lnTo>
                        <a:pt x="67" y="67"/>
                      </a:lnTo>
                      <a:lnTo>
                        <a:pt x="45" y="26"/>
                      </a:lnTo>
                      <a:lnTo>
                        <a:pt x="55" y="22"/>
                      </a:lnTo>
                      <a:lnTo>
                        <a:pt x="83"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8" name="Freeform 211">
                  <a:extLst>
                    <a:ext uri="{FF2B5EF4-FFF2-40B4-BE49-F238E27FC236}">
                      <a16:creationId xmlns:a16="http://schemas.microsoft.com/office/drawing/2014/main" id="{571A04AE-D232-4456-88C2-339029CDC729}"/>
                    </a:ext>
                  </a:extLst>
                </p:cNvPr>
                <p:cNvSpPr>
                  <a:spLocks/>
                </p:cNvSpPr>
                <p:nvPr/>
              </p:nvSpPr>
              <p:spPr bwMode="auto">
                <a:xfrm>
                  <a:off x="4580312" y="1895871"/>
                  <a:ext cx="76178" cy="81058"/>
                </a:xfrm>
                <a:custGeom>
                  <a:avLst/>
                  <a:gdLst>
                    <a:gd name="T0" fmla="*/ 10 w 55"/>
                    <a:gd name="T1" fmla="*/ 0 h 55"/>
                    <a:gd name="T2" fmla="*/ 0 w 55"/>
                    <a:gd name="T3" fmla="*/ 4 h 55"/>
                    <a:gd name="T4" fmla="*/ 22 w 55"/>
                    <a:gd name="T5" fmla="*/ 45 h 55"/>
                    <a:gd name="T6" fmla="*/ 38 w 55"/>
                    <a:gd name="T7" fmla="*/ 55 h 55"/>
                    <a:gd name="T8" fmla="*/ 55 w 55"/>
                    <a:gd name="T9" fmla="*/ 23 h 55"/>
                    <a:gd name="T10" fmla="*/ 38 w 55"/>
                    <a:gd name="T11" fmla="*/ 0 h 55"/>
                    <a:gd name="T12" fmla="*/ 10 w 55"/>
                    <a:gd name="T13" fmla="*/ 0 h 55"/>
                    <a:gd name="T14" fmla="*/ 10 w 55"/>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55"/>
                    <a:gd name="T26" fmla="*/ 55 w 55"/>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55">
                      <a:moveTo>
                        <a:pt x="10" y="0"/>
                      </a:moveTo>
                      <a:lnTo>
                        <a:pt x="0" y="4"/>
                      </a:lnTo>
                      <a:lnTo>
                        <a:pt x="22" y="45"/>
                      </a:lnTo>
                      <a:lnTo>
                        <a:pt x="38" y="55"/>
                      </a:lnTo>
                      <a:lnTo>
                        <a:pt x="55" y="23"/>
                      </a:lnTo>
                      <a:lnTo>
                        <a:pt x="38" y="0"/>
                      </a:lnTo>
                      <a:lnTo>
                        <a:pt x="1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9" name="Freeform 212">
                  <a:extLst>
                    <a:ext uri="{FF2B5EF4-FFF2-40B4-BE49-F238E27FC236}">
                      <a16:creationId xmlns:a16="http://schemas.microsoft.com/office/drawing/2014/main" id="{67C9944D-06F6-40D4-985F-E74DCB330A43}"/>
                    </a:ext>
                  </a:extLst>
                </p:cNvPr>
                <p:cNvSpPr>
                  <a:spLocks/>
                </p:cNvSpPr>
                <p:nvPr/>
              </p:nvSpPr>
              <p:spPr bwMode="auto">
                <a:xfrm>
                  <a:off x="4632943" y="1872290"/>
                  <a:ext cx="106650" cy="122323"/>
                </a:xfrm>
                <a:custGeom>
                  <a:avLst/>
                  <a:gdLst>
                    <a:gd name="T0" fmla="*/ 67 w 77"/>
                    <a:gd name="T1" fmla="*/ 67 h 83"/>
                    <a:gd name="T2" fmla="*/ 77 w 77"/>
                    <a:gd name="T3" fmla="*/ 55 h 83"/>
                    <a:gd name="T4" fmla="*/ 71 w 77"/>
                    <a:gd name="T5" fmla="*/ 39 h 83"/>
                    <a:gd name="T6" fmla="*/ 33 w 77"/>
                    <a:gd name="T7" fmla="*/ 0 h 83"/>
                    <a:gd name="T8" fmla="*/ 10 w 77"/>
                    <a:gd name="T9" fmla="*/ 0 h 83"/>
                    <a:gd name="T10" fmla="*/ 10 w 77"/>
                    <a:gd name="T11" fmla="*/ 10 h 83"/>
                    <a:gd name="T12" fmla="*/ 0 w 77"/>
                    <a:gd name="T13" fmla="*/ 16 h 83"/>
                    <a:gd name="T14" fmla="*/ 17 w 77"/>
                    <a:gd name="T15" fmla="*/ 39 h 83"/>
                    <a:gd name="T16" fmla="*/ 0 w 77"/>
                    <a:gd name="T17" fmla="*/ 71 h 83"/>
                    <a:gd name="T18" fmla="*/ 10 w 77"/>
                    <a:gd name="T19" fmla="*/ 77 h 83"/>
                    <a:gd name="T20" fmla="*/ 17 w 77"/>
                    <a:gd name="T21" fmla="*/ 67 h 83"/>
                    <a:gd name="T22" fmla="*/ 27 w 77"/>
                    <a:gd name="T23" fmla="*/ 67 h 83"/>
                    <a:gd name="T24" fmla="*/ 39 w 77"/>
                    <a:gd name="T25" fmla="*/ 83 h 83"/>
                    <a:gd name="T26" fmla="*/ 67 w 77"/>
                    <a:gd name="T27" fmla="*/ 67 h 83"/>
                    <a:gd name="T28" fmla="*/ 67 w 77"/>
                    <a:gd name="T29" fmla="*/ 67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3"/>
                    <a:gd name="T47" fmla="*/ 77 w 77"/>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3">
                      <a:moveTo>
                        <a:pt x="67" y="67"/>
                      </a:moveTo>
                      <a:lnTo>
                        <a:pt x="77" y="55"/>
                      </a:lnTo>
                      <a:lnTo>
                        <a:pt x="71" y="39"/>
                      </a:lnTo>
                      <a:lnTo>
                        <a:pt x="33" y="0"/>
                      </a:lnTo>
                      <a:lnTo>
                        <a:pt x="10" y="0"/>
                      </a:lnTo>
                      <a:lnTo>
                        <a:pt x="10" y="10"/>
                      </a:lnTo>
                      <a:lnTo>
                        <a:pt x="0" y="16"/>
                      </a:lnTo>
                      <a:lnTo>
                        <a:pt x="17" y="39"/>
                      </a:lnTo>
                      <a:lnTo>
                        <a:pt x="0" y="71"/>
                      </a:lnTo>
                      <a:lnTo>
                        <a:pt x="10" y="77"/>
                      </a:lnTo>
                      <a:lnTo>
                        <a:pt x="17" y="67"/>
                      </a:lnTo>
                      <a:lnTo>
                        <a:pt x="27" y="67"/>
                      </a:lnTo>
                      <a:lnTo>
                        <a:pt x="39" y="83"/>
                      </a:lnTo>
                      <a:lnTo>
                        <a:pt x="67" y="6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0" name="Freeform 215">
                  <a:extLst>
                    <a:ext uri="{FF2B5EF4-FFF2-40B4-BE49-F238E27FC236}">
                      <a16:creationId xmlns:a16="http://schemas.microsoft.com/office/drawing/2014/main" id="{751E8841-A3A9-471C-BBCC-42F5A5C793A3}"/>
                    </a:ext>
                  </a:extLst>
                </p:cNvPr>
                <p:cNvSpPr>
                  <a:spLocks/>
                </p:cNvSpPr>
                <p:nvPr/>
              </p:nvSpPr>
              <p:spPr bwMode="auto">
                <a:xfrm>
                  <a:off x="4013820" y="1935663"/>
                  <a:ext cx="277012" cy="218119"/>
                </a:xfrm>
                <a:custGeom>
                  <a:avLst/>
                  <a:gdLst>
                    <a:gd name="T0" fmla="*/ 197 w 200"/>
                    <a:gd name="T1" fmla="*/ 24 h 148"/>
                    <a:gd name="T2" fmla="*/ 181 w 200"/>
                    <a:gd name="T3" fmla="*/ 24 h 148"/>
                    <a:gd name="T4" fmla="*/ 173 w 200"/>
                    <a:gd name="T5" fmla="*/ 30 h 148"/>
                    <a:gd name="T6" fmla="*/ 167 w 200"/>
                    <a:gd name="T7" fmla="*/ 24 h 148"/>
                    <a:gd name="T8" fmla="*/ 122 w 200"/>
                    <a:gd name="T9" fmla="*/ 4 h 148"/>
                    <a:gd name="T10" fmla="*/ 114 w 200"/>
                    <a:gd name="T11" fmla="*/ 12 h 148"/>
                    <a:gd name="T12" fmla="*/ 27 w 200"/>
                    <a:gd name="T13" fmla="*/ 0 h 148"/>
                    <a:gd name="T14" fmla="*/ 0 w 200"/>
                    <a:gd name="T15" fmla="*/ 12 h 148"/>
                    <a:gd name="T16" fmla="*/ 9 w 200"/>
                    <a:gd name="T17" fmla="*/ 34 h 148"/>
                    <a:gd name="T18" fmla="*/ 53 w 200"/>
                    <a:gd name="T19" fmla="*/ 44 h 148"/>
                    <a:gd name="T20" fmla="*/ 39 w 200"/>
                    <a:gd name="T21" fmla="*/ 87 h 148"/>
                    <a:gd name="T22" fmla="*/ 33 w 200"/>
                    <a:gd name="T23" fmla="*/ 126 h 148"/>
                    <a:gd name="T24" fmla="*/ 55 w 200"/>
                    <a:gd name="T25" fmla="*/ 148 h 148"/>
                    <a:gd name="T26" fmla="*/ 74 w 200"/>
                    <a:gd name="T27" fmla="*/ 140 h 148"/>
                    <a:gd name="T28" fmla="*/ 110 w 200"/>
                    <a:gd name="T29" fmla="*/ 136 h 148"/>
                    <a:gd name="T30" fmla="*/ 137 w 200"/>
                    <a:gd name="T31" fmla="*/ 114 h 148"/>
                    <a:gd name="T32" fmla="*/ 157 w 200"/>
                    <a:gd name="T33" fmla="*/ 67 h 148"/>
                    <a:gd name="T34" fmla="*/ 200 w 200"/>
                    <a:gd name="T35" fmla="*/ 38 h 148"/>
                    <a:gd name="T36" fmla="*/ 197 w 200"/>
                    <a:gd name="T37" fmla="*/ 24 h 148"/>
                    <a:gd name="T38" fmla="*/ 197 w 200"/>
                    <a:gd name="T39" fmla="*/ 24 h 1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0"/>
                    <a:gd name="T61" fmla="*/ 0 h 148"/>
                    <a:gd name="T62" fmla="*/ 200 w 200"/>
                    <a:gd name="T63" fmla="*/ 148 h 1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0" h="148">
                      <a:moveTo>
                        <a:pt x="197" y="24"/>
                      </a:moveTo>
                      <a:lnTo>
                        <a:pt x="181" y="24"/>
                      </a:lnTo>
                      <a:lnTo>
                        <a:pt x="173" y="30"/>
                      </a:lnTo>
                      <a:lnTo>
                        <a:pt x="167" y="24"/>
                      </a:lnTo>
                      <a:lnTo>
                        <a:pt x="122" y="4"/>
                      </a:lnTo>
                      <a:lnTo>
                        <a:pt x="114" y="12"/>
                      </a:lnTo>
                      <a:lnTo>
                        <a:pt x="27" y="0"/>
                      </a:lnTo>
                      <a:lnTo>
                        <a:pt x="0" y="12"/>
                      </a:lnTo>
                      <a:lnTo>
                        <a:pt x="9" y="34"/>
                      </a:lnTo>
                      <a:lnTo>
                        <a:pt x="53" y="44"/>
                      </a:lnTo>
                      <a:lnTo>
                        <a:pt x="39" y="87"/>
                      </a:lnTo>
                      <a:lnTo>
                        <a:pt x="33" y="126"/>
                      </a:lnTo>
                      <a:lnTo>
                        <a:pt x="55" y="148"/>
                      </a:lnTo>
                      <a:lnTo>
                        <a:pt x="74" y="140"/>
                      </a:lnTo>
                      <a:lnTo>
                        <a:pt x="110" y="136"/>
                      </a:lnTo>
                      <a:lnTo>
                        <a:pt x="137" y="114"/>
                      </a:lnTo>
                      <a:lnTo>
                        <a:pt x="157" y="67"/>
                      </a:lnTo>
                      <a:lnTo>
                        <a:pt x="200" y="38"/>
                      </a:lnTo>
                      <a:lnTo>
                        <a:pt x="197" y="2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1" name="Freeform 217">
                  <a:extLst>
                    <a:ext uri="{FF2B5EF4-FFF2-40B4-BE49-F238E27FC236}">
                      <a16:creationId xmlns:a16="http://schemas.microsoft.com/office/drawing/2014/main" id="{7CD1A8A0-5379-4215-8F10-CB54BFEEF75A}"/>
                    </a:ext>
                  </a:extLst>
                </p:cNvPr>
                <p:cNvSpPr>
                  <a:spLocks/>
                </p:cNvSpPr>
                <p:nvPr/>
              </p:nvSpPr>
              <p:spPr bwMode="auto">
                <a:xfrm>
                  <a:off x="3792210" y="2354217"/>
                  <a:ext cx="11081" cy="19159"/>
                </a:xfrm>
                <a:custGeom>
                  <a:avLst/>
                  <a:gdLst>
                    <a:gd name="T0" fmla="*/ 8 w 8"/>
                    <a:gd name="T1" fmla="*/ 0 h 13"/>
                    <a:gd name="T2" fmla="*/ 0 w 8"/>
                    <a:gd name="T3" fmla="*/ 0 h 13"/>
                    <a:gd name="T4" fmla="*/ 2 w 8"/>
                    <a:gd name="T5" fmla="*/ 13 h 13"/>
                    <a:gd name="T6" fmla="*/ 8 w 8"/>
                    <a:gd name="T7" fmla="*/ 13 h 13"/>
                    <a:gd name="T8" fmla="*/ 8 w 8"/>
                    <a:gd name="T9" fmla="*/ 0 h 13"/>
                    <a:gd name="T10" fmla="*/ 8 w 8"/>
                    <a:gd name="T11" fmla="*/ 0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8" y="0"/>
                      </a:moveTo>
                      <a:lnTo>
                        <a:pt x="0" y="0"/>
                      </a:lnTo>
                      <a:lnTo>
                        <a:pt x="2" y="13"/>
                      </a:lnTo>
                      <a:lnTo>
                        <a:pt x="8" y="13"/>
                      </a:lnTo>
                      <a:lnTo>
                        <a:pt x="8"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2" name="Freeform 218">
                  <a:extLst>
                    <a:ext uri="{FF2B5EF4-FFF2-40B4-BE49-F238E27FC236}">
                      <a16:creationId xmlns:a16="http://schemas.microsoft.com/office/drawing/2014/main" id="{D5440ADC-2020-4091-A2DD-6BEABA98E1E5}"/>
                    </a:ext>
                  </a:extLst>
                </p:cNvPr>
                <p:cNvSpPr>
                  <a:spLocks/>
                </p:cNvSpPr>
                <p:nvPr/>
              </p:nvSpPr>
              <p:spPr bwMode="auto">
                <a:xfrm>
                  <a:off x="3819912" y="2364533"/>
                  <a:ext cx="20776" cy="20633"/>
                </a:xfrm>
                <a:custGeom>
                  <a:avLst/>
                  <a:gdLst>
                    <a:gd name="T0" fmla="*/ 4 w 15"/>
                    <a:gd name="T1" fmla="*/ 2 h 14"/>
                    <a:gd name="T2" fmla="*/ 0 w 15"/>
                    <a:gd name="T3" fmla="*/ 14 h 14"/>
                    <a:gd name="T4" fmla="*/ 15 w 15"/>
                    <a:gd name="T5" fmla="*/ 0 h 14"/>
                    <a:gd name="T6" fmla="*/ 4 w 15"/>
                    <a:gd name="T7" fmla="*/ 2 h 14"/>
                    <a:gd name="T8" fmla="*/ 4 w 15"/>
                    <a:gd name="T9" fmla="*/ 2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4" y="2"/>
                      </a:moveTo>
                      <a:lnTo>
                        <a:pt x="0" y="14"/>
                      </a:lnTo>
                      <a:lnTo>
                        <a:pt x="15" y="0"/>
                      </a:lnTo>
                      <a:lnTo>
                        <a:pt x="4" y="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3" name="Freeform 219">
                  <a:extLst>
                    <a:ext uri="{FF2B5EF4-FFF2-40B4-BE49-F238E27FC236}">
                      <a16:creationId xmlns:a16="http://schemas.microsoft.com/office/drawing/2014/main" id="{6CDF2EAB-5482-4ACE-868C-6FD3B524D950}"/>
                    </a:ext>
                  </a:extLst>
                </p:cNvPr>
                <p:cNvSpPr>
                  <a:spLocks/>
                </p:cNvSpPr>
                <p:nvPr/>
              </p:nvSpPr>
              <p:spPr bwMode="auto">
                <a:xfrm>
                  <a:off x="3879470" y="2348322"/>
                  <a:ext cx="22161" cy="36844"/>
                </a:xfrm>
                <a:custGeom>
                  <a:avLst/>
                  <a:gdLst>
                    <a:gd name="T0" fmla="*/ 10 w 16"/>
                    <a:gd name="T1" fmla="*/ 17 h 25"/>
                    <a:gd name="T2" fmla="*/ 16 w 16"/>
                    <a:gd name="T3" fmla="*/ 0 h 25"/>
                    <a:gd name="T4" fmla="*/ 0 w 16"/>
                    <a:gd name="T5" fmla="*/ 25 h 25"/>
                    <a:gd name="T6" fmla="*/ 10 w 16"/>
                    <a:gd name="T7" fmla="*/ 17 h 25"/>
                    <a:gd name="T8" fmla="*/ 10 w 16"/>
                    <a:gd name="T9" fmla="*/ 17 h 25"/>
                    <a:gd name="T10" fmla="*/ 0 60000 65536"/>
                    <a:gd name="T11" fmla="*/ 0 60000 65536"/>
                    <a:gd name="T12" fmla="*/ 0 60000 65536"/>
                    <a:gd name="T13" fmla="*/ 0 60000 65536"/>
                    <a:gd name="T14" fmla="*/ 0 60000 65536"/>
                    <a:gd name="T15" fmla="*/ 0 w 16"/>
                    <a:gd name="T16" fmla="*/ 0 h 25"/>
                    <a:gd name="T17" fmla="*/ 16 w 16"/>
                    <a:gd name="T18" fmla="*/ 25 h 25"/>
                  </a:gdLst>
                  <a:ahLst/>
                  <a:cxnLst>
                    <a:cxn ang="T10">
                      <a:pos x="T0" y="T1"/>
                    </a:cxn>
                    <a:cxn ang="T11">
                      <a:pos x="T2" y="T3"/>
                    </a:cxn>
                    <a:cxn ang="T12">
                      <a:pos x="T4" y="T5"/>
                    </a:cxn>
                    <a:cxn ang="T13">
                      <a:pos x="T6" y="T7"/>
                    </a:cxn>
                    <a:cxn ang="T14">
                      <a:pos x="T8" y="T9"/>
                    </a:cxn>
                  </a:cxnLst>
                  <a:rect l="T15" t="T16" r="T17" b="T18"/>
                  <a:pathLst>
                    <a:path w="16" h="25">
                      <a:moveTo>
                        <a:pt x="10" y="17"/>
                      </a:moveTo>
                      <a:lnTo>
                        <a:pt x="16" y="0"/>
                      </a:lnTo>
                      <a:lnTo>
                        <a:pt x="0" y="25"/>
                      </a:lnTo>
                      <a:lnTo>
                        <a:pt x="10" y="1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4" name="Freeform 220">
                  <a:extLst>
                    <a:ext uri="{FF2B5EF4-FFF2-40B4-BE49-F238E27FC236}">
                      <a16:creationId xmlns:a16="http://schemas.microsoft.com/office/drawing/2014/main" id="{6069A6B0-7083-418B-A3ED-ABE7C12F26DB}"/>
                    </a:ext>
                  </a:extLst>
                </p:cNvPr>
                <p:cNvSpPr>
                  <a:spLocks/>
                </p:cNvSpPr>
                <p:nvPr/>
              </p:nvSpPr>
              <p:spPr bwMode="auto">
                <a:xfrm>
                  <a:off x="4005510" y="1982825"/>
                  <a:ext cx="81719" cy="141483"/>
                </a:xfrm>
                <a:custGeom>
                  <a:avLst/>
                  <a:gdLst>
                    <a:gd name="T0" fmla="*/ 59 w 59"/>
                    <a:gd name="T1" fmla="*/ 12 h 96"/>
                    <a:gd name="T2" fmla="*/ 13 w 59"/>
                    <a:gd name="T3" fmla="*/ 0 h 96"/>
                    <a:gd name="T4" fmla="*/ 15 w 59"/>
                    <a:gd name="T5" fmla="*/ 29 h 96"/>
                    <a:gd name="T6" fmla="*/ 0 w 59"/>
                    <a:gd name="T7" fmla="*/ 59 h 96"/>
                    <a:gd name="T8" fmla="*/ 11 w 59"/>
                    <a:gd name="T9" fmla="*/ 96 h 96"/>
                    <a:gd name="T10" fmla="*/ 39 w 59"/>
                    <a:gd name="T11" fmla="*/ 94 h 96"/>
                    <a:gd name="T12" fmla="*/ 45 w 59"/>
                    <a:gd name="T13" fmla="*/ 55 h 96"/>
                    <a:gd name="T14" fmla="*/ 59 w 59"/>
                    <a:gd name="T15" fmla="*/ 12 h 96"/>
                    <a:gd name="T16" fmla="*/ 59 w 59"/>
                    <a:gd name="T17" fmla="*/ 12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96"/>
                    <a:gd name="T29" fmla="*/ 59 w 5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96">
                      <a:moveTo>
                        <a:pt x="59" y="12"/>
                      </a:moveTo>
                      <a:lnTo>
                        <a:pt x="13" y="0"/>
                      </a:lnTo>
                      <a:lnTo>
                        <a:pt x="15" y="29"/>
                      </a:lnTo>
                      <a:lnTo>
                        <a:pt x="0" y="59"/>
                      </a:lnTo>
                      <a:lnTo>
                        <a:pt x="11" y="96"/>
                      </a:lnTo>
                      <a:lnTo>
                        <a:pt x="39" y="94"/>
                      </a:lnTo>
                      <a:lnTo>
                        <a:pt x="45" y="55"/>
                      </a:lnTo>
                      <a:lnTo>
                        <a:pt x="59"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5" name="Freeform 221">
                  <a:extLst>
                    <a:ext uri="{FF2B5EF4-FFF2-40B4-BE49-F238E27FC236}">
                      <a16:creationId xmlns:a16="http://schemas.microsoft.com/office/drawing/2014/main" id="{BCD36695-817A-4533-9D33-2935BE6BADAC}"/>
                    </a:ext>
                  </a:extLst>
                </p:cNvPr>
                <p:cNvSpPr>
                  <a:spLocks/>
                </p:cNvSpPr>
                <p:nvPr/>
              </p:nvSpPr>
              <p:spPr bwMode="auto">
                <a:xfrm>
                  <a:off x="4121855" y="1730807"/>
                  <a:ext cx="281168" cy="240227"/>
                </a:xfrm>
                <a:custGeom>
                  <a:avLst/>
                  <a:gdLst>
                    <a:gd name="T0" fmla="*/ 63 w 203"/>
                    <a:gd name="T1" fmla="*/ 35 h 163"/>
                    <a:gd name="T2" fmla="*/ 46 w 203"/>
                    <a:gd name="T3" fmla="*/ 27 h 163"/>
                    <a:gd name="T4" fmla="*/ 46 w 203"/>
                    <a:gd name="T5" fmla="*/ 51 h 163"/>
                    <a:gd name="T6" fmla="*/ 16 w 203"/>
                    <a:gd name="T7" fmla="*/ 47 h 163"/>
                    <a:gd name="T8" fmla="*/ 0 w 203"/>
                    <a:gd name="T9" fmla="*/ 57 h 163"/>
                    <a:gd name="T10" fmla="*/ 42 w 203"/>
                    <a:gd name="T11" fmla="*/ 80 h 163"/>
                    <a:gd name="T12" fmla="*/ 44 w 203"/>
                    <a:gd name="T13" fmla="*/ 143 h 163"/>
                    <a:gd name="T14" fmla="*/ 89 w 203"/>
                    <a:gd name="T15" fmla="*/ 163 h 163"/>
                    <a:gd name="T16" fmla="*/ 97 w 203"/>
                    <a:gd name="T17" fmla="*/ 159 h 163"/>
                    <a:gd name="T18" fmla="*/ 103 w 203"/>
                    <a:gd name="T19" fmla="*/ 163 h 163"/>
                    <a:gd name="T20" fmla="*/ 119 w 203"/>
                    <a:gd name="T21" fmla="*/ 163 h 163"/>
                    <a:gd name="T22" fmla="*/ 142 w 203"/>
                    <a:gd name="T23" fmla="*/ 145 h 163"/>
                    <a:gd name="T24" fmla="*/ 168 w 203"/>
                    <a:gd name="T25" fmla="*/ 157 h 163"/>
                    <a:gd name="T26" fmla="*/ 197 w 203"/>
                    <a:gd name="T27" fmla="*/ 137 h 163"/>
                    <a:gd name="T28" fmla="*/ 191 w 203"/>
                    <a:gd name="T29" fmla="*/ 100 h 163"/>
                    <a:gd name="T30" fmla="*/ 180 w 203"/>
                    <a:gd name="T31" fmla="*/ 90 h 163"/>
                    <a:gd name="T32" fmla="*/ 197 w 203"/>
                    <a:gd name="T33" fmla="*/ 68 h 163"/>
                    <a:gd name="T34" fmla="*/ 203 w 203"/>
                    <a:gd name="T35" fmla="*/ 39 h 163"/>
                    <a:gd name="T36" fmla="*/ 187 w 203"/>
                    <a:gd name="T37" fmla="*/ 33 h 163"/>
                    <a:gd name="T38" fmla="*/ 162 w 203"/>
                    <a:gd name="T39" fmla="*/ 33 h 163"/>
                    <a:gd name="T40" fmla="*/ 119 w 203"/>
                    <a:gd name="T41" fmla="*/ 0 h 163"/>
                    <a:gd name="T42" fmla="*/ 99 w 203"/>
                    <a:gd name="T43" fmla="*/ 5 h 163"/>
                    <a:gd name="T44" fmla="*/ 63 w 203"/>
                    <a:gd name="T45" fmla="*/ 35 h 163"/>
                    <a:gd name="T46" fmla="*/ 63 w 203"/>
                    <a:gd name="T47" fmla="*/ 35 h 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3"/>
                    <a:gd name="T73" fmla="*/ 0 h 163"/>
                    <a:gd name="T74" fmla="*/ 203 w 203"/>
                    <a:gd name="T75" fmla="*/ 163 h 1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3" h="163">
                      <a:moveTo>
                        <a:pt x="63" y="35"/>
                      </a:moveTo>
                      <a:lnTo>
                        <a:pt x="46" y="27"/>
                      </a:lnTo>
                      <a:lnTo>
                        <a:pt x="46" y="51"/>
                      </a:lnTo>
                      <a:lnTo>
                        <a:pt x="16" y="47"/>
                      </a:lnTo>
                      <a:lnTo>
                        <a:pt x="0" y="57"/>
                      </a:lnTo>
                      <a:lnTo>
                        <a:pt x="42" y="80"/>
                      </a:lnTo>
                      <a:lnTo>
                        <a:pt x="44" y="143"/>
                      </a:lnTo>
                      <a:lnTo>
                        <a:pt x="89" y="163"/>
                      </a:lnTo>
                      <a:lnTo>
                        <a:pt x="97" y="159"/>
                      </a:lnTo>
                      <a:lnTo>
                        <a:pt x="103" y="163"/>
                      </a:lnTo>
                      <a:lnTo>
                        <a:pt x="119" y="163"/>
                      </a:lnTo>
                      <a:lnTo>
                        <a:pt x="142" y="145"/>
                      </a:lnTo>
                      <a:lnTo>
                        <a:pt x="168" y="157"/>
                      </a:lnTo>
                      <a:lnTo>
                        <a:pt x="197" y="137"/>
                      </a:lnTo>
                      <a:lnTo>
                        <a:pt x="191" y="100"/>
                      </a:lnTo>
                      <a:lnTo>
                        <a:pt x="180" y="90"/>
                      </a:lnTo>
                      <a:lnTo>
                        <a:pt x="197" y="68"/>
                      </a:lnTo>
                      <a:lnTo>
                        <a:pt x="203" y="39"/>
                      </a:lnTo>
                      <a:lnTo>
                        <a:pt x="187" y="33"/>
                      </a:lnTo>
                      <a:lnTo>
                        <a:pt x="162" y="33"/>
                      </a:lnTo>
                      <a:lnTo>
                        <a:pt x="119" y="0"/>
                      </a:lnTo>
                      <a:lnTo>
                        <a:pt x="99" y="5"/>
                      </a:lnTo>
                      <a:lnTo>
                        <a:pt x="63" y="3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6" name="Freeform 222">
                  <a:extLst>
                    <a:ext uri="{FF2B5EF4-FFF2-40B4-BE49-F238E27FC236}">
                      <a16:creationId xmlns:a16="http://schemas.microsoft.com/office/drawing/2014/main" id="{F984507E-AE0C-451F-9F47-EBAE6AAB03CE}"/>
                    </a:ext>
                  </a:extLst>
                </p:cNvPr>
                <p:cNvSpPr>
                  <a:spLocks/>
                </p:cNvSpPr>
                <p:nvPr/>
              </p:nvSpPr>
              <p:spPr bwMode="auto">
                <a:xfrm>
                  <a:off x="4411334" y="1953348"/>
                  <a:ext cx="16621" cy="41266"/>
                </a:xfrm>
                <a:custGeom>
                  <a:avLst/>
                  <a:gdLst>
                    <a:gd name="T0" fmla="*/ 12 w 12"/>
                    <a:gd name="T1" fmla="*/ 0 h 28"/>
                    <a:gd name="T2" fmla="*/ 0 w 12"/>
                    <a:gd name="T3" fmla="*/ 12 h 28"/>
                    <a:gd name="T4" fmla="*/ 4 w 12"/>
                    <a:gd name="T5" fmla="*/ 28 h 28"/>
                    <a:gd name="T6" fmla="*/ 12 w 12"/>
                    <a:gd name="T7" fmla="*/ 28 h 28"/>
                    <a:gd name="T8" fmla="*/ 12 w 12"/>
                    <a:gd name="T9" fmla="*/ 0 h 28"/>
                    <a:gd name="T10" fmla="*/ 12 w 12"/>
                    <a:gd name="T11" fmla="*/ 0 h 28"/>
                    <a:gd name="T12" fmla="*/ 0 60000 65536"/>
                    <a:gd name="T13" fmla="*/ 0 60000 65536"/>
                    <a:gd name="T14" fmla="*/ 0 60000 65536"/>
                    <a:gd name="T15" fmla="*/ 0 60000 65536"/>
                    <a:gd name="T16" fmla="*/ 0 60000 65536"/>
                    <a:gd name="T17" fmla="*/ 0 60000 65536"/>
                    <a:gd name="T18" fmla="*/ 0 w 12"/>
                    <a:gd name="T19" fmla="*/ 0 h 28"/>
                    <a:gd name="T20" fmla="*/ 12 w 12"/>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2" h="28">
                      <a:moveTo>
                        <a:pt x="12" y="0"/>
                      </a:moveTo>
                      <a:lnTo>
                        <a:pt x="0" y="12"/>
                      </a:lnTo>
                      <a:lnTo>
                        <a:pt x="4" y="28"/>
                      </a:lnTo>
                      <a:lnTo>
                        <a:pt x="12" y="28"/>
                      </a:lnTo>
                      <a:lnTo>
                        <a:pt x="1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7" name="Freeform 223">
                  <a:extLst>
                    <a:ext uri="{FF2B5EF4-FFF2-40B4-BE49-F238E27FC236}">
                      <a16:creationId xmlns:a16="http://schemas.microsoft.com/office/drawing/2014/main" id="{2337DCD4-E366-4F72-A60A-2C0A5795FDEB}"/>
                    </a:ext>
                  </a:extLst>
                </p:cNvPr>
                <p:cNvSpPr>
                  <a:spLocks/>
                </p:cNvSpPr>
                <p:nvPr/>
              </p:nvSpPr>
              <p:spPr bwMode="auto">
                <a:xfrm>
                  <a:off x="4084458" y="1515636"/>
                  <a:ext cx="180058" cy="249068"/>
                </a:xfrm>
                <a:custGeom>
                  <a:avLst/>
                  <a:gdLst>
                    <a:gd name="T0" fmla="*/ 6 w 130"/>
                    <a:gd name="T1" fmla="*/ 0 h 169"/>
                    <a:gd name="T2" fmla="*/ 6 w 130"/>
                    <a:gd name="T3" fmla="*/ 6 h 169"/>
                    <a:gd name="T4" fmla="*/ 0 w 130"/>
                    <a:gd name="T5" fmla="*/ 18 h 169"/>
                    <a:gd name="T6" fmla="*/ 12 w 130"/>
                    <a:gd name="T7" fmla="*/ 29 h 169"/>
                    <a:gd name="T8" fmla="*/ 6 w 130"/>
                    <a:gd name="T9" fmla="*/ 51 h 169"/>
                    <a:gd name="T10" fmla="*/ 12 w 130"/>
                    <a:gd name="T11" fmla="*/ 61 h 169"/>
                    <a:gd name="T12" fmla="*/ 29 w 130"/>
                    <a:gd name="T13" fmla="*/ 57 h 169"/>
                    <a:gd name="T14" fmla="*/ 29 w 130"/>
                    <a:gd name="T15" fmla="*/ 79 h 169"/>
                    <a:gd name="T16" fmla="*/ 51 w 130"/>
                    <a:gd name="T17" fmla="*/ 85 h 169"/>
                    <a:gd name="T18" fmla="*/ 51 w 130"/>
                    <a:gd name="T19" fmla="*/ 96 h 169"/>
                    <a:gd name="T20" fmla="*/ 29 w 130"/>
                    <a:gd name="T21" fmla="*/ 112 h 169"/>
                    <a:gd name="T22" fmla="*/ 29 w 130"/>
                    <a:gd name="T23" fmla="*/ 134 h 169"/>
                    <a:gd name="T24" fmla="*/ 57 w 130"/>
                    <a:gd name="T25" fmla="*/ 140 h 169"/>
                    <a:gd name="T26" fmla="*/ 19 w 130"/>
                    <a:gd name="T27" fmla="*/ 153 h 169"/>
                    <a:gd name="T28" fmla="*/ 12 w 130"/>
                    <a:gd name="T29" fmla="*/ 169 h 169"/>
                    <a:gd name="T30" fmla="*/ 57 w 130"/>
                    <a:gd name="T31" fmla="*/ 157 h 169"/>
                    <a:gd name="T32" fmla="*/ 102 w 130"/>
                    <a:gd name="T33" fmla="*/ 157 h 169"/>
                    <a:gd name="T34" fmla="*/ 112 w 130"/>
                    <a:gd name="T35" fmla="*/ 146 h 169"/>
                    <a:gd name="T36" fmla="*/ 106 w 130"/>
                    <a:gd name="T37" fmla="*/ 134 h 169"/>
                    <a:gd name="T38" fmla="*/ 124 w 130"/>
                    <a:gd name="T39" fmla="*/ 128 h 169"/>
                    <a:gd name="T40" fmla="*/ 130 w 130"/>
                    <a:gd name="T41" fmla="*/ 118 h 169"/>
                    <a:gd name="T42" fmla="*/ 112 w 130"/>
                    <a:gd name="T43" fmla="*/ 112 h 169"/>
                    <a:gd name="T44" fmla="*/ 96 w 130"/>
                    <a:gd name="T45" fmla="*/ 118 h 169"/>
                    <a:gd name="T46" fmla="*/ 102 w 130"/>
                    <a:gd name="T47" fmla="*/ 108 h 169"/>
                    <a:gd name="T48" fmla="*/ 79 w 130"/>
                    <a:gd name="T49" fmla="*/ 79 h 169"/>
                    <a:gd name="T50" fmla="*/ 79 w 130"/>
                    <a:gd name="T51" fmla="*/ 67 h 169"/>
                    <a:gd name="T52" fmla="*/ 63 w 130"/>
                    <a:gd name="T53" fmla="*/ 51 h 169"/>
                    <a:gd name="T54" fmla="*/ 45 w 130"/>
                    <a:gd name="T55" fmla="*/ 45 h 169"/>
                    <a:gd name="T56" fmla="*/ 63 w 130"/>
                    <a:gd name="T57" fmla="*/ 41 h 169"/>
                    <a:gd name="T58" fmla="*/ 67 w 130"/>
                    <a:gd name="T59" fmla="*/ 29 h 169"/>
                    <a:gd name="T60" fmla="*/ 35 w 130"/>
                    <a:gd name="T61" fmla="*/ 29 h 169"/>
                    <a:gd name="T62" fmla="*/ 23 w 130"/>
                    <a:gd name="T63" fmla="*/ 18 h 169"/>
                    <a:gd name="T64" fmla="*/ 35 w 130"/>
                    <a:gd name="T65" fmla="*/ 12 h 169"/>
                    <a:gd name="T66" fmla="*/ 6 w 130"/>
                    <a:gd name="T67" fmla="*/ 0 h 169"/>
                    <a:gd name="T68" fmla="*/ 6 w 130"/>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169"/>
                    <a:gd name="T107" fmla="*/ 130 w 130"/>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169">
                      <a:moveTo>
                        <a:pt x="6" y="0"/>
                      </a:moveTo>
                      <a:lnTo>
                        <a:pt x="6" y="6"/>
                      </a:lnTo>
                      <a:lnTo>
                        <a:pt x="0" y="18"/>
                      </a:lnTo>
                      <a:lnTo>
                        <a:pt x="12" y="29"/>
                      </a:lnTo>
                      <a:lnTo>
                        <a:pt x="6" y="51"/>
                      </a:lnTo>
                      <a:lnTo>
                        <a:pt x="12" y="61"/>
                      </a:lnTo>
                      <a:lnTo>
                        <a:pt x="29" y="57"/>
                      </a:lnTo>
                      <a:lnTo>
                        <a:pt x="29" y="79"/>
                      </a:lnTo>
                      <a:lnTo>
                        <a:pt x="51" y="85"/>
                      </a:lnTo>
                      <a:lnTo>
                        <a:pt x="51" y="96"/>
                      </a:lnTo>
                      <a:lnTo>
                        <a:pt x="29" y="112"/>
                      </a:lnTo>
                      <a:lnTo>
                        <a:pt x="29" y="134"/>
                      </a:lnTo>
                      <a:lnTo>
                        <a:pt x="57" y="140"/>
                      </a:lnTo>
                      <a:lnTo>
                        <a:pt x="19" y="153"/>
                      </a:lnTo>
                      <a:lnTo>
                        <a:pt x="12" y="169"/>
                      </a:lnTo>
                      <a:lnTo>
                        <a:pt x="57" y="157"/>
                      </a:lnTo>
                      <a:lnTo>
                        <a:pt x="102" y="157"/>
                      </a:lnTo>
                      <a:lnTo>
                        <a:pt x="112" y="146"/>
                      </a:lnTo>
                      <a:lnTo>
                        <a:pt x="106" y="134"/>
                      </a:lnTo>
                      <a:lnTo>
                        <a:pt x="124" y="128"/>
                      </a:lnTo>
                      <a:lnTo>
                        <a:pt x="130" y="118"/>
                      </a:lnTo>
                      <a:lnTo>
                        <a:pt x="112" y="112"/>
                      </a:lnTo>
                      <a:lnTo>
                        <a:pt x="96" y="118"/>
                      </a:lnTo>
                      <a:lnTo>
                        <a:pt x="102" y="108"/>
                      </a:lnTo>
                      <a:lnTo>
                        <a:pt x="79" y="79"/>
                      </a:lnTo>
                      <a:lnTo>
                        <a:pt x="79" y="67"/>
                      </a:lnTo>
                      <a:lnTo>
                        <a:pt x="63" y="51"/>
                      </a:lnTo>
                      <a:lnTo>
                        <a:pt x="45" y="45"/>
                      </a:lnTo>
                      <a:lnTo>
                        <a:pt x="63" y="41"/>
                      </a:lnTo>
                      <a:lnTo>
                        <a:pt x="67" y="29"/>
                      </a:lnTo>
                      <a:lnTo>
                        <a:pt x="35" y="29"/>
                      </a:lnTo>
                      <a:lnTo>
                        <a:pt x="23" y="18"/>
                      </a:lnTo>
                      <a:lnTo>
                        <a:pt x="35" y="12"/>
                      </a:lnTo>
                      <a:lnTo>
                        <a:pt x="6"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8" name="Freeform 224">
                  <a:extLst>
                    <a:ext uri="{FF2B5EF4-FFF2-40B4-BE49-F238E27FC236}">
                      <a16:creationId xmlns:a16="http://schemas.microsoft.com/office/drawing/2014/main" id="{0A8370A2-0E9F-4352-B884-9D501DEA8D6F}"/>
                    </a:ext>
                  </a:extLst>
                </p:cNvPr>
                <p:cNvSpPr>
                  <a:spLocks/>
                </p:cNvSpPr>
                <p:nvPr/>
              </p:nvSpPr>
              <p:spPr bwMode="auto">
                <a:xfrm>
                  <a:off x="4070608" y="1623222"/>
                  <a:ext cx="30471" cy="42740"/>
                </a:xfrm>
                <a:custGeom>
                  <a:avLst/>
                  <a:gdLst>
                    <a:gd name="T0" fmla="*/ 10 w 22"/>
                    <a:gd name="T1" fmla="*/ 0 h 29"/>
                    <a:gd name="T2" fmla="*/ 0 w 22"/>
                    <a:gd name="T3" fmla="*/ 17 h 29"/>
                    <a:gd name="T4" fmla="*/ 22 w 22"/>
                    <a:gd name="T5" fmla="*/ 29 h 29"/>
                    <a:gd name="T6" fmla="*/ 22 w 22"/>
                    <a:gd name="T7" fmla="*/ 6 h 29"/>
                    <a:gd name="T8" fmla="*/ 10 w 22"/>
                    <a:gd name="T9" fmla="*/ 0 h 29"/>
                    <a:gd name="T10" fmla="*/ 10 w 22"/>
                    <a:gd name="T11" fmla="*/ 0 h 29"/>
                    <a:gd name="T12" fmla="*/ 0 60000 65536"/>
                    <a:gd name="T13" fmla="*/ 0 60000 65536"/>
                    <a:gd name="T14" fmla="*/ 0 60000 65536"/>
                    <a:gd name="T15" fmla="*/ 0 60000 65536"/>
                    <a:gd name="T16" fmla="*/ 0 60000 65536"/>
                    <a:gd name="T17" fmla="*/ 0 60000 65536"/>
                    <a:gd name="T18" fmla="*/ 0 w 22"/>
                    <a:gd name="T19" fmla="*/ 0 h 29"/>
                    <a:gd name="T20" fmla="*/ 22 w 2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2" h="29">
                      <a:moveTo>
                        <a:pt x="10" y="0"/>
                      </a:moveTo>
                      <a:lnTo>
                        <a:pt x="0" y="17"/>
                      </a:lnTo>
                      <a:lnTo>
                        <a:pt x="22" y="29"/>
                      </a:lnTo>
                      <a:lnTo>
                        <a:pt x="22" y="6"/>
                      </a:lnTo>
                      <a:lnTo>
                        <a:pt x="1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9" name="Freeform 225">
                  <a:extLst>
                    <a:ext uri="{FF2B5EF4-FFF2-40B4-BE49-F238E27FC236}">
                      <a16:creationId xmlns:a16="http://schemas.microsoft.com/office/drawing/2014/main" id="{FD7DE849-C214-4FC3-AF6E-1DC0605C7DE2}"/>
                    </a:ext>
                  </a:extLst>
                </p:cNvPr>
                <p:cNvSpPr>
                  <a:spLocks/>
                </p:cNvSpPr>
                <p:nvPr/>
              </p:nvSpPr>
              <p:spPr bwMode="auto">
                <a:xfrm>
                  <a:off x="3999970" y="1599641"/>
                  <a:ext cx="101109" cy="122323"/>
                </a:xfrm>
                <a:custGeom>
                  <a:avLst/>
                  <a:gdLst>
                    <a:gd name="T0" fmla="*/ 6 w 73"/>
                    <a:gd name="T1" fmla="*/ 39 h 83"/>
                    <a:gd name="T2" fmla="*/ 19 w 73"/>
                    <a:gd name="T3" fmla="*/ 51 h 83"/>
                    <a:gd name="T4" fmla="*/ 0 w 73"/>
                    <a:gd name="T5" fmla="*/ 71 h 83"/>
                    <a:gd name="T6" fmla="*/ 12 w 73"/>
                    <a:gd name="T7" fmla="*/ 83 h 83"/>
                    <a:gd name="T8" fmla="*/ 41 w 73"/>
                    <a:gd name="T9" fmla="*/ 83 h 83"/>
                    <a:gd name="T10" fmla="*/ 73 w 73"/>
                    <a:gd name="T11" fmla="*/ 55 h 83"/>
                    <a:gd name="T12" fmla="*/ 73 w 73"/>
                    <a:gd name="T13" fmla="*/ 45 h 83"/>
                    <a:gd name="T14" fmla="*/ 51 w 73"/>
                    <a:gd name="T15" fmla="*/ 33 h 83"/>
                    <a:gd name="T16" fmla="*/ 61 w 73"/>
                    <a:gd name="T17" fmla="*/ 16 h 83"/>
                    <a:gd name="T18" fmla="*/ 57 w 73"/>
                    <a:gd name="T19" fmla="*/ 0 h 83"/>
                    <a:gd name="T20" fmla="*/ 41 w 73"/>
                    <a:gd name="T21" fmla="*/ 10 h 83"/>
                    <a:gd name="T22" fmla="*/ 35 w 73"/>
                    <a:gd name="T23" fmla="*/ 28 h 83"/>
                    <a:gd name="T24" fmla="*/ 12 w 73"/>
                    <a:gd name="T25" fmla="*/ 28 h 83"/>
                    <a:gd name="T26" fmla="*/ 6 w 73"/>
                    <a:gd name="T27" fmla="*/ 39 h 83"/>
                    <a:gd name="T28" fmla="*/ 6 w 73"/>
                    <a:gd name="T29" fmla="*/ 39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
                    <a:gd name="T46" fmla="*/ 0 h 83"/>
                    <a:gd name="T47" fmla="*/ 73 w 73"/>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 h="83">
                      <a:moveTo>
                        <a:pt x="6" y="39"/>
                      </a:moveTo>
                      <a:lnTo>
                        <a:pt x="19" y="51"/>
                      </a:lnTo>
                      <a:lnTo>
                        <a:pt x="0" y="71"/>
                      </a:lnTo>
                      <a:lnTo>
                        <a:pt x="12" y="83"/>
                      </a:lnTo>
                      <a:lnTo>
                        <a:pt x="41" y="83"/>
                      </a:lnTo>
                      <a:lnTo>
                        <a:pt x="73" y="55"/>
                      </a:lnTo>
                      <a:lnTo>
                        <a:pt x="73" y="45"/>
                      </a:lnTo>
                      <a:lnTo>
                        <a:pt x="51" y="33"/>
                      </a:lnTo>
                      <a:lnTo>
                        <a:pt x="61" y="16"/>
                      </a:lnTo>
                      <a:lnTo>
                        <a:pt x="57" y="0"/>
                      </a:lnTo>
                      <a:lnTo>
                        <a:pt x="41" y="10"/>
                      </a:lnTo>
                      <a:lnTo>
                        <a:pt x="35" y="28"/>
                      </a:lnTo>
                      <a:lnTo>
                        <a:pt x="12" y="28"/>
                      </a:lnTo>
                      <a:lnTo>
                        <a:pt x="6"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0" name="Freeform 226">
                  <a:extLst>
                    <a:ext uri="{FF2B5EF4-FFF2-40B4-BE49-F238E27FC236}">
                      <a16:creationId xmlns:a16="http://schemas.microsoft.com/office/drawing/2014/main" id="{2B3F5673-7955-4001-A596-7A34D4B558E0}"/>
                    </a:ext>
                  </a:extLst>
                </p:cNvPr>
                <p:cNvSpPr>
                  <a:spLocks/>
                </p:cNvSpPr>
                <p:nvPr/>
              </p:nvSpPr>
              <p:spPr bwMode="auto">
                <a:xfrm>
                  <a:off x="4362856" y="1614379"/>
                  <a:ext cx="185599" cy="216646"/>
                </a:xfrm>
                <a:custGeom>
                  <a:avLst/>
                  <a:gdLst>
                    <a:gd name="T0" fmla="*/ 84 w 134"/>
                    <a:gd name="T1" fmla="*/ 23 h 147"/>
                    <a:gd name="T2" fmla="*/ 73 w 134"/>
                    <a:gd name="T3" fmla="*/ 29 h 147"/>
                    <a:gd name="T4" fmla="*/ 45 w 134"/>
                    <a:gd name="T5" fmla="*/ 18 h 147"/>
                    <a:gd name="T6" fmla="*/ 39 w 134"/>
                    <a:gd name="T7" fmla="*/ 0 h 147"/>
                    <a:gd name="T8" fmla="*/ 29 w 134"/>
                    <a:gd name="T9" fmla="*/ 6 h 147"/>
                    <a:gd name="T10" fmla="*/ 23 w 134"/>
                    <a:gd name="T11" fmla="*/ 18 h 147"/>
                    <a:gd name="T12" fmla="*/ 29 w 134"/>
                    <a:gd name="T13" fmla="*/ 29 h 147"/>
                    <a:gd name="T14" fmla="*/ 17 w 134"/>
                    <a:gd name="T15" fmla="*/ 35 h 147"/>
                    <a:gd name="T16" fmla="*/ 6 w 134"/>
                    <a:gd name="T17" fmla="*/ 57 h 147"/>
                    <a:gd name="T18" fmla="*/ 6 w 134"/>
                    <a:gd name="T19" fmla="*/ 67 h 147"/>
                    <a:gd name="T20" fmla="*/ 0 w 134"/>
                    <a:gd name="T21" fmla="*/ 79 h 147"/>
                    <a:gd name="T22" fmla="*/ 13 w 134"/>
                    <a:gd name="T23" fmla="*/ 102 h 147"/>
                    <a:gd name="T24" fmla="*/ 13 w 134"/>
                    <a:gd name="T25" fmla="*/ 112 h 147"/>
                    <a:gd name="T26" fmla="*/ 29 w 134"/>
                    <a:gd name="T27" fmla="*/ 118 h 147"/>
                    <a:gd name="T28" fmla="*/ 23 w 134"/>
                    <a:gd name="T29" fmla="*/ 147 h 147"/>
                    <a:gd name="T30" fmla="*/ 106 w 134"/>
                    <a:gd name="T31" fmla="*/ 147 h 147"/>
                    <a:gd name="T32" fmla="*/ 112 w 134"/>
                    <a:gd name="T33" fmla="*/ 124 h 147"/>
                    <a:gd name="T34" fmla="*/ 96 w 134"/>
                    <a:gd name="T35" fmla="*/ 96 h 147"/>
                    <a:gd name="T36" fmla="*/ 134 w 134"/>
                    <a:gd name="T37" fmla="*/ 73 h 147"/>
                    <a:gd name="T38" fmla="*/ 106 w 134"/>
                    <a:gd name="T39" fmla="*/ 23 h 147"/>
                    <a:gd name="T40" fmla="*/ 84 w 134"/>
                    <a:gd name="T41" fmla="*/ 23 h 147"/>
                    <a:gd name="T42" fmla="*/ 84 w 134"/>
                    <a:gd name="T43" fmla="*/ 23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4"/>
                    <a:gd name="T67" fmla="*/ 0 h 147"/>
                    <a:gd name="T68" fmla="*/ 134 w 134"/>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4" h="147">
                      <a:moveTo>
                        <a:pt x="84" y="23"/>
                      </a:moveTo>
                      <a:lnTo>
                        <a:pt x="73" y="29"/>
                      </a:lnTo>
                      <a:lnTo>
                        <a:pt x="45" y="18"/>
                      </a:lnTo>
                      <a:lnTo>
                        <a:pt x="39" y="0"/>
                      </a:lnTo>
                      <a:lnTo>
                        <a:pt x="29" y="6"/>
                      </a:lnTo>
                      <a:lnTo>
                        <a:pt x="23" y="18"/>
                      </a:lnTo>
                      <a:lnTo>
                        <a:pt x="29" y="29"/>
                      </a:lnTo>
                      <a:lnTo>
                        <a:pt x="17" y="35"/>
                      </a:lnTo>
                      <a:lnTo>
                        <a:pt x="6" y="57"/>
                      </a:lnTo>
                      <a:lnTo>
                        <a:pt x="6" y="67"/>
                      </a:lnTo>
                      <a:lnTo>
                        <a:pt x="0" y="79"/>
                      </a:lnTo>
                      <a:lnTo>
                        <a:pt x="13" y="102"/>
                      </a:lnTo>
                      <a:lnTo>
                        <a:pt x="13" y="112"/>
                      </a:lnTo>
                      <a:lnTo>
                        <a:pt x="29" y="118"/>
                      </a:lnTo>
                      <a:lnTo>
                        <a:pt x="23" y="147"/>
                      </a:lnTo>
                      <a:lnTo>
                        <a:pt x="106" y="147"/>
                      </a:lnTo>
                      <a:lnTo>
                        <a:pt x="112" y="124"/>
                      </a:lnTo>
                      <a:lnTo>
                        <a:pt x="96" y="96"/>
                      </a:lnTo>
                      <a:lnTo>
                        <a:pt x="134" y="73"/>
                      </a:lnTo>
                      <a:lnTo>
                        <a:pt x="106" y="23"/>
                      </a:lnTo>
                      <a:lnTo>
                        <a:pt x="84" y="2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1" name="Freeform 227">
                  <a:extLst>
                    <a:ext uri="{FF2B5EF4-FFF2-40B4-BE49-F238E27FC236}">
                      <a16:creationId xmlns:a16="http://schemas.microsoft.com/office/drawing/2014/main" id="{7B141E7D-9E11-4191-AB9F-616463A229C3}"/>
                    </a:ext>
                  </a:extLst>
                </p:cNvPr>
                <p:cNvSpPr>
                  <a:spLocks/>
                </p:cNvSpPr>
                <p:nvPr/>
              </p:nvSpPr>
              <p:spPr bwMode="auto">
                <a:xfrm>
                  <a:off x="4310224" y="1665961"/>
                  <a:ext cx="76178" cy="64847"/>
                </a:xfrm>
                <a:custGeom>
                  <a:avLst/>
                  <a:gdLst>
                    <a:gd name="T0" fmla="*/ 55 w 55"/>
                    <a:gd name="T1" fmla="*/ 0 h 44"/>
                    <a:gd name="T2" fmla="*/ 32 w 55"/>
                    <a:gd name="T3" fmla="*/ 0 h 44"/>
                    <a:gd name="T4" fmla="*/ 16 w 55"/>
                    <a:gd name="T5" fmla="*/ 6 h 44"/>
                    <a:gd name="T6" fmla="*/ 22 w 55"/>
                    <a:gd name="T7" fmla="*/ 16 h 44"/>
                    <a:gd name="T8" fmla="*/ 6 w 55"/>
                    <a:gd name="T9" fmla="*/ 16 h 44"/>
                    <a:gd name="T10" fmla="*/ 0 w 55"/>
                    <a:gd name="T11" fmla="*/ 38 h 44"/>
                    <a:gd name="T12" fmla="*/ 38 w 55"/>
                    <a:gd name="T13" fmla="*/ 44 h 44"/>
                    <a:gd name="T14" fmla="*/ 44 w 55"/>
                    <a:gd name="T15" fmla="*/ 32 h 44"/>
                    <a:gd name="T16" fmla="*/ 44 w 55"/>
                    <a:gd name="T17" fmla="*/ 22 h 44"/>
                    <a:gd name="T18" fmla="*/ 55 w 55"/>
                    <a:gd name="T19" fmla="*/ 0 h 44"/>
                    <a:gd name="T20" fmla="*/ 55 w 55"/>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44"/>
                    <a:gd name="T35" fmla="*/ 55 w 55"/>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44">
                      <a:moveTo>
                        <a:pt x="55" y="0"/>
                      </a:moveTo>
                      <a:lnTo>
                        <a:pt x="32" y="0"/>
                      </a:lnTo>
                      <a:lnTo>
                        <a:pt x="16" y="6"/>
                      </a:lnTo>
                      <a:lnTo>
                        <a:pt x="22" y="16"/>
                      </a:lnTo>
                      <a:lnTo>
                        <a:pt x="6" y="16"/>
                      </a:lnTo>
                      <a:lnTo>
                        <a:pt x="0" y="38"/>
                      </a:lnTo>
                      <a:lnTo>
                        <a:pt x="38" y="44"/>
                      </a:lnTo>
                      <a:lnTo>
                        <a:pt x="44" y="32"/>
                      </a:lnTo>
                      <a:lnTo>
                        <a:pt x="44" y="22"/>
                      </a:lnTo>
                      <a:lnTo>
                        <a:pt x="55"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2" name="Freeform 228">
                  <a:extLst>
                    <a:ext uri="{FF2B5EF4-FFF2-40B4-BE49-F238E27FC236}">
                      <a16:creationId xmlns:a16="http://schemas.microsoft.com/office/drawing/2014/main" id="{5319D8C6-D472-4EA9-89C6-1E19A6C30950}"/>
                    </a:ext>
                  </a:extLst>
                </p:cNvPr>
                <p:cNvSpPr>
                  <a:spLocks/>
                </p:cNvSpPr>
                <p:nvPr/>
              </p:nvSpPr>
              <p:spPr bwMode="auto">
                <a:xfrm>
                  <a:off x="4286678" y="1721965"/>
                  <a:ext cx="84489" cy="57477"/>
                </a:xfrm>
                <a:custGeom>
                  <a:avLst/>
                  <a:gdLst>
                    <a:gd name="T0" fmla="*/ 17 w 61"/>
                    <a:gd name="T1" fmla="*/ 0 h 39"/>
                    <a:gd name="T2" fmla="*/ 0 w 61"/>
                    <a:gd name="T3" fmla="*/ 6 h 39"/>
                    <a:gd name="T4" fmla="*/ 43 w 61"/>
                    <a:gd name="T5" fmla="*/ 39 h 39"/>
                    <a:gd name="T6" fmla="*/ 43 w 61"/>
                    <a:gd name="T7" fmla="*/ 29 h 39"/>
                    <a:gd name="T8" fmla="*/ 61 w 61"/>
                    <a:gd name="T9" fmla="*/ 17 h 39"/>
                    <a:gd name="T10" fmla="*/ 55 w 61"/>
                    <a:gd name="T11" fmla="*/ 6 h 39"/>
                    <a:gd name="T12" fmla="*/ 17 w 61"/>
                    <a:gd name="T13" fmla="*/ 0 h 39"/>
                    <a:gd name="T14" fmla="*/ 17 w 61"/>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39"/>
                    <a:gd name="T26" fmla="*/ 61 w 61"/>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39">
                      <a:moveTo>
                        <a:pt x="17" y="0"/>
                      </a:moveTo>
                      <a:lnTo>
                        <a:pt x="0" y="6"/>
                      </a:lnTo>
                      <a:lnTo>
                        <a:pt x="43" y="39"/>
                      </a:lnTo>
                      <a:lnTo>
                        <a:pt x="43" y="29"/>
                      </a:lnTo>
                      <a:lnTo>
                        <a:pt x="61" y="17"/>
                      </a:lnTo>
                      <a:lnTo>
                        <a:pt x="55" y="6"/>
                      </a:lnTo>
                      <a:lnTo>
                        <a:pt x="1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3" name="Freeform 229">
                  <a:extLst>
                    <a:ext uri="{FF2B5EF4-FFF2-40B4-BE49-F238E27FC236}">
                      <a16:creationId xmlns:a16="http://schemas.microsoft.com/office/drawing/2014/main" id="{2356568F-D77B-416A-B691-DDB05064F66D}"/>
                    </a:ext>
                  </a:extLst>
                </p:cNvPr>
                <p:cNvSpPr>
                  <a:spLocks/>
                </p:cNvSpPr>
                <p:nvPr/>
              </p:nvSpPr>
              <p:spPr bwMode="auto">
                <a:xfrm>
                  <a:off x="4346236" y="1747018"/>
                  <a:ext cx="34627" cy="32424"/>
                </a:xfrm>
                <a:custGeom>
                  <a:avLst/>
                  <a:gdLst>
                    <a:gd name="T0" fmla="*/ 0 w 25"/>
                    <a:gd name="T1" fmla="*/ 12 h 22"/>
                    <a:gd name="T2" fmla="*/ 0 w 25"/>
                    <a:gd name="T3" fmla="*/ 22 h 22"/>
                    <a:gd name="T4" fmla="*/ 25 w 25"/>
                    <a:gd name="T5" fmla="*/ 22 h 22"/>
                    <a:gd name="T6" fmla="*/ 25 w 25"/>
                    <a:gd name="T7" fmla="*/ 12 h 22"/>
                    <a:gd name="T8" fmla="*/ 18 w 25"/>
                    <a:gd name="T9" fmla="*/ 0 h 22"/>
                    <a:gd name="T10" fmla="*/ 0 w 25"/>
                    <a:gd name="T11" fmla="*/ 12 h 22"/>
                    <a:gd name="T12" fmla="*/ 0 w 25"/>
                    <a:gd name="T13" fmla="*/ 12 h 22"/>
                    <a:gd name="T14" fmla="*/ 0 60000 65536"/>
                    <a:gd name="T15" fmla="*/ 0 60000 65536"/>
                    <a:gd name="T16" fmla="*/ 0 60000 65536"/>
                    <a:gd name="T17" fmla="*/ 0 60000 65536"/>
                    <a:gd name="T18" fmla="*/ 0 60000 65536"/>
                    <a:gd name="T19" fmla="*/ 0 60000 65536"/>
                    <a:gd name="T20" fmla="*/ 0 60000 65536"/>
                    <a:gd name="T21" fmla="*/ 0 w 25"/>
                    <a:gd name="T22" fmla="*/ 0 h 22"/>
                    <a:gd name="T23" fmla="*/ 25 w 25"/>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22">
                      <a:moveTo>
                        <a:pt x="0" y="12"/>
                      </a:moveTo>
                      <a:lnTo>
                        <a:pt x="0" y="22"/>
                      </a:lnTo>
                      <a:lnTo>
                        <a:pt x="25" y="22"/>
                      </a:lnTo>
                      <a:lnTo>
                        <a:pt x="25" y="12"/>
                      </a:lnTo>
                      <a:lnTo>
                        <a:pt x="18" y="0"/>
                      </a:lnTo>
                      <a:lnTo>
                        <a:pt x="0"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4" name="Freeform 232">
                  <a:extLst>
                    <a:ext uri="{FF2B5EF4-FFF2-40B4-BE49-F238E27FC236}">
                      <a16:creationId xmlns:a16="http://schemas.microsoft.com/office/drawing/2014/main" id="{E636FEE1-2E1A-4130-83BE-663EB1C0A5BE}"/>
                    </a:ext>
                  </a:extLst>
                </p:cNvPr>
                <p:cNvSpPr>
                  <a:spLocks/>
                </p:cNvSpPr>
                <p:nvPr/>
              </p:nvSpPr>
              <p:spPr bwMode="auto">
                <a:xfrm>
                  <a:off x="4495823" y="1721965"/>
                  <a:ext cx="142662" cy="81058"/>
                </a:xfrm>
                <a:custGeom>
                  <a:avLst/>
                  <a:gdLst>
                    <a:gd name="T0" fmla="*/ 0 w 103"/>
                    <a:gd name="T1" fmla="*/ 23 h 55"/>
                    <a:gd name="T2" fmla="*/ 16 w 103"/>
                    <a:gd name="T3" fmla="*/ 51 h 55"/>
                    <a:gd name="T4" fmla="*/ 55 w 103"/>
                    <a:gd name="T5" fmla="*/ 45 h 55"/>
                    <a:gd name="T6" fmla="*/ 71 w 103"/>
                    <a:gd name="T7" fmla="*/ 55 h 55"/>
                    <a:gd name="T8" fmla="*/ 71 w 103"/>
                    <a:gd name="T9" fmla="*/ 45 h 55"/>
                    <a:gd name="T10" fmla="*/ 87 w 103"/>
                    <a:gd name="T11" fmla="*/ 51 h 55"/>
                    <a:gd name="T12" fmla="*/ 103 w 103"/>
                    <a:gd name="T13" fmla="*/ 39 h 55"/>
                    <a:gd name="T14" fmla="*/ 38 w 103"/>
                    <a:gd name="T15" fmla="*/ 0 h 55"/>
                    <a:gd name="T16" fmla="*/ 0 w 103"/>
                    <a:gd name="T17" fmla="*/ 23 h 55"/>
                    <a:gd name="T18" fmla="*/ 0 w 103"/>
                    <a:gd name="T19" fmla="*/ 23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55"/>
                    <a:gd name="T32" fmla="*/ 103 w 10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55">
                      <a:moveTo>
                        <a:pt x="0" y="23"/>
                      </a:moveTo>
                      <a:lnTo>
                        <a:pt x="16" y="51"/>
                      </a:lnTo>
                      <a:lnTo>
                        <a:pt x="55" y="45"/>
                      </a:lnTo>
                      <a:lnTo>
                        <a:pt x="71" y="55"/>
                      </a:lnTo>
                      <a:lnTo>
                        <a:pt x="71" y="45"/>
                      </a:lnTo>
                      <a:lnTo>
                        <a:pt x="87" y="51"/>
                      </a:lnTo>
                      <a:lnTo>
                        <a:pt x="103" y="39"/>
                      </a:lnTo>
                      <a:lnTo>
                        <a:pt x="38" y="0"/>
                      </a:lnTo>
                      <a:lnTo>
                        <a:pt x="0" y="2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5" name="Freeform 233">
                  <a:extLst>
                    <a:ext uri="{FF2B5EF4-FFF2-40B4-BE49-F238E27FC236}">
                      <a16:creationId xmlns:a16="http://schemas.microsoft.com/office/drawing/2014/main" id="{E4618173-C805-4AC0-AE39-B7148CBEEAA5}"/>
                    </a:ext>
                  </a:extLst>
                </p:cNvPr>
                <p:cNvSpPr>
                  <a:spLocks/>
                </p:cNvSpPr>
                <p:nvPr/>
              </p:nvSpPr>
              <p:spPr bwMode="auto">
                <a:xfrm>
                  <a:off x="4540145" y="2146414"/>
                  <a:ext cx="20776" cy="20633"/>
                </a:xfrm>
                <a:custGeom>
                  <a:avLst/>
                  <a:gdLst>
                    <a:gd name="T0" fmla="*/ 4 w 15"/>
                    <a:gd name="T1" fmla="*/ 2 h 14"/>
                    <a:gd name="T2" fmla="*/ 0 w 15"/>
                    <a:gd name="T3" fmla="*/ 14 h 14"/>
                    <a:gd name="T4" fmla="*/ 15 w 15"/>
                    <a:gd name="T5" fmla="*/ 0 h 14"/>
                    <a:gd name="T6" fmla="*/ 4 w 15"/>
                    <a:gd name="T7" fmla="*/ 2 h 14"/>
                    <a:gd name="T8" fmla="*/ 4 w 15"/>
                    <a:gd name="T9" fmla="*/ 2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4" y="2"/>
                      </a:moveTo>
                      <a:lnTo>
                        <a:pt x="0" y="14"/>
                      </a:lnTo>
                      <a:lnTo>
                        <a:pt x="15" y="0"/>
                      </a:lnTo>
                      <a:lnTo>
                        <a:pt x="4" y="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6" name="Freeform 65">
                  <a:extLst>
                    <a:ext uri="{FF2B5EF4-FFF2-40B4-BE49-F238E27FC236}">
                      <a16:creationId xmlns:a16="http://schemas.microsoft.com/office/drawing/2014/main" id="{C623DE05-2FD0-4608-B3BD-F46EC51453EE}"/>
                    </a:ext>
                  </a:extLst>
                </p:cNvPr>
                <p:cNvSpPr>
                  <a:spLocks/>
                </p:cNvSpPr>
                <p:nvPr/>
              </p:nvSpPr>
              <p:spPr bwMode="auto">
                <a:xfrm>
                  <a:off x="5023531" y="2225998"/>
                  <a:ext cx="38782" cy="116429"/>
                </a:xfrm>
                <a:custGeom>
                  <a:avLst/>
                  <a:gdLst>
                    <a:gd name="T0" fmla="*/ 19050 w 28"/>
                    <a:gd name="T1" fmla="*/ 0 h 79"/>
                    <a:gd name="T2" fmla="*/ 0 w 28"/>
                    <a:gd name="T3" fmla="*/ 53975 h 79"/>
                    <a:gd name="T4" fmla="*/ 34925 w 28"/>
                    <a:gd name="T5" fmla="*/ 125413 h 79"/>
                    <a:gd name="T6" fmla="*/ 44450 w 28"/>
                    <a:gd name="T7" fmla="*/ 34925 h 79"/>
                    <a:gd name="T8" fmla="*/ 44450 w 28"/>
                    <a:gd name="T9" fmla="*/ 19050 h 79"/>
                    <a:gd name="T10" fmla="*/ 19050 w 28"/>
                    <a:gd name="T11" fmla="*/ 0 h 79"/>
                    <a:gd name="T12" fmla="*/ 19050 w 28"/>
                    <a:gd name="T13" fmla="*/ 0 h 79"/>
                    <a:gd name="T14" fmla="*/ 0 60000 65536"/>
                    <a:gd name="T15" fmla="*/ 0 60000 65536"/>
                    <a:gd name="T16" fmla="*/ 0 60000 65536"/>
                    <a:gd name="T17" fmla="*/ 0 60000 65536"/>
                    <a:gd name="T18" fmla="*/ 0 60000 65536"/>
                    <a:gd name="T19" fmla="*/ 0 60000 65536"/>
                    <a:gd name="T20" fmla="*/ 0 60000 65536"/>
                    <a:gd name="T21" fmla="*/ 0 w 28"/>
                    <a:gd name="T22" fmla="*/ 0 h 79"/>
                    <a:gd name="T23" fmla="*/ 28 w 28"/>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79">
                      <a:moveTo>
                        <a:pt x="12" y="0"/>
                      </a:moveTo>
                      <a:lnTo>
                        <a:pt x="0" y="34"/>
                      </a:lnTo>
                      <a:lnTo>
                        <a:pt x="22" y="79"/>
                      </a:lnTo>
                      <a:lnTo>
                        <a:pt x="28" y="22"/>
                      </a:lnTo>
                      <a:lnTo>
                        <a:pt x="28" y="12"/>
                      </a:lnTo>
                      <a:lnTo>
                        <a:pt x="1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grpSp>
      </p:grpSp>
      <p:sp>
        <p:nvSpPr>
          <p:cNvPr id="331" name="Oval 330">
            <a:extLst>
              <a:ext uri="{FF2B5EF4-FFF2-40B4-BE49-F238E27FC236}">
                <a16:creationId xmlns:a16="http://schemas.microsoft.com/office/drawing/2014/main" id="{2DE2935D-9A1B-481D-A3ED-9120B07A3C73}"/>
              </a:ext>
            </a:extLst>
          </p:cNvPr>
          <p:cNvSpPr/>
          <p:nvPr userDrawn="1"/>
        </p:nvSpPr>
        <p:spPr>
          <a:xfrm>
            <a:off x="8306873" y="84079"/>
            <a:ext cx="727656" cy="444321"/>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r>
              <a:rPr lang="en-US" sz="800">
                <a:solidFill>
                  <a:schemeClr val="tx2"/>
                </a:solidFill>
              </a:rPr>
              <a:t>Plain white</a:t>
            </a:r>
          </a:p>
        </p:txBody>
      </p:sp>
    </p:spTree>
    <p:extLst>
      <p:ext uri="{BB962C8B-B14F-4D97-AF65-F5344CB8AC3E}">
        <p14:creationId xmlns:p14="http://schemas.microsoft.com/office/powerpoint/2010/main" val="22803339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3 Gradient blue-green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EA6BF65-D85B-485A-82F0-F876EADB4EEF}"/>
              </a:ext>
            </a:extLst>
          </p:cNvPr>
          <p:cNvGraphicFramePr>
            <a:graphicFrameLocks noChangeAspect="1"/>
          </p:cNvGraphicFramePr>
          <p:nvPr userDrawn="1">
            <p:custDataLst>
              <p:tags r:id="rId1"/>
            </p:custDataLst>
            <p:extLst>
              <p:ext uri="{D42A27DB-BD31-4B8C-83A1-F6EECF244321}">
                <p14:modId xmlns:p14="http://schemas.microsoft.com/office/powerpoint/2010/main" val="781803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Object 8" hidden="1">
                        <a:extLst>
                          <a:ext uri="{FF2B5EF4-FFF2-40B4-BE49-F238E27FC236}">
                            <a16:creationId xmlns:a16="http://schemas.microsoft.com/office/drawing/2014/main" id="{DEA6BF65-D85B-485A-82F0-F876EADB4E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sp>
        <p:nvSpPr>
          <p:cNvPr id="2" name="TextBox 1">
            <a:extLst>
              <a:ext uri="{FF2B5EF4-FFF2-40B4-BE49-F238E27FC236}">
                <a16:creationId xmlns:a16="http://schemas.microsoft.com/office/drawing/2014/main" id="{3CE14D48-572B-4FBC-B3BB-EA4CEFD841C6}"/>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D0FE3D03-1927-7F22-5A39-25AC5EE297B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5" name="Straight Connector 4">
            <a:extLst>
              <a:ext uri="{FF2B5EF4-FFF2-40B4-BE49-F238E27FC236}">
                <a16:creationId xmlns:a16="http://schemas.microsoft.com/office/drawing/2014/main" id="{DADB5A51-8451-D947-C3F9-CBE6E67EA93C}"/>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B6DDB2AC-023E-1CB2-8A40-C190BDD6FF5A}"/>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8" name="Text Placeholder 42">
            <a:extLst>
              <a:ext uri="{FF2B5EF4-FFF2-40B4-BE49-F238E27FC236}">
                <a16:creationId xmlns:a16="http://schemas.microsoft.com/office/drawing/2014/main" id="{E4E03277-15C4-4359-B053-3F467C69EC0C}"/>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11" name="Oval 10">
            <a:extLst>
              <a:ext uri="{FF2B5EF4-FFF2-40B4-BE49-F238E27FC236}">
                <a16:creationId xmlns:a16="http://schemas.microsoft.com/office/drawing/2014/main" id="{5580FB3E-9C2A-4CBD-9BDB-CF2661C8A56B}"/>
              </a:ext>
            </a:extLst>
          </p:cNvPr>
          <p:cNvSpPr/>
          <p:nvPr userDrawn="1"/>
        </p:nvSpPr>
        <p:spPr>
          <a:xfrm>
            <a:off x="8306873" y="84079"/>
            <a:ext cx="727656" cy="444321"/>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r>
              <a:rPr lang="en-US" sz="750">
                <a:solidFill>
                  <a:schemeClr val="tx2"/>
                </a:solidFill>
              </a:rPr>
              <a:t>Gradient</a:t>
            </a:r>
          </a:p>
        </p:txBody>
      </p:sp>
    </p:spTree>
    <p:extLst>
      <p:ext uri="{BB962C8B-B14F-4D97-AF65-F5344CB8AC3E}">
        <p14:creationId xmlns:p14="http://schemas.microsoft.com/office/powerpoint/2010/main" val="42604190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4 Gradient blue-green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127207-FBDD-4EF5-A60B-68DDED46BE59}"/>
              </a:ext>
            </a:extLst>
          </p:cNvPr>
          <p:cNvGraphicFramePr>
            <a:graphicFrameLocks noChangeAspect="1"/>
          </p:cNvGraphicFramePr>
          <p:nvPr userDrawn="1">
            <p:custDataLst>
              <p:tags r:id="rId1"/>
            </p:custDataLst>
            <p:extLst>
              <p:ext uri="{D42A27DB-BD31-4B8C-83A1-F6EECF244321}">
                <p14:modId xmlns:p14="http://schemas.microsoft.com/office/powerpoint/2010/main" val="13933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6" imgH="296" progId="TCLayout.ActiveDocument.1">
                  <p:embed/>
                </p:oleObj>
              </mc:Choice>
              <mc:Fallback>
                <p:oleObj name="think-cell Slide" r:id="rId4" imgW="296" imgH="296" progId="TCLayout.ActiveDocument.1">
                  <p:embed/>
                  <p:pic>
                    <p:nvPicPr>
                      <p:cNvPr id="7" name="Object 6" hidden="1">
                        <a:extLst>
                          <a:ext uri="{FF2B5EF4-FFF2-40B4-BE49-F238E27FC236}">
                            <a16:creationId xmlns:a16="http://schemas.microsoft.com/office/drawing/2014/main" id="{1D127207-FBDD-4EF5-A60B-68DDED46B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pic>
        <p:nvPicPr>
          <p:cNvPr id="8" name="Graphic 7">
            <a:extLst>
              <a:ext uri="{FF2B5EF4-FFF2-40B4-BE49-F238E27FC236}">
                <a16:creationId xmlns:a16="http://schemas.microsoft.com/office/drawing/2014/main" id="{26C0DBAD-285D-45D1-9382-147D250C13B0}"/>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8C3D6FB9-5D6D-4AA1-BD5E-0E7BDE931B49}"/>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F97281ED-C326-44ED-8D41-B6DD98CDEE1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D33F5482-C4CB-4939-AB40-CD8848C3F028}"/>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440CEBF7-22FD-45A1-9D92-D7D3B0E7E2B4}"/>
              </a:ext>
            </a:extLst>
          </p:cNvPr>
          <p:cNvSpPr/>
          <p:nvPr userDrawn="1"/>
        </p:nvSpPr>
        <p:spPr>
          <a:xfrm>
            <a:off x="8306873" y="84079"/>
            <a:ext cx="727656" cy="444321"/>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r>
              <a:rPr lang="en-US" sz="750">
                <a:solidFill>
                  <a:schemeClr val="tx2"/>
                </a:solidFill>
              </a:rPr>
              <a:t>Gradient</a:t>
            </a:r>
          </a:p>
        </p:txBody>
      </p:sp>
    </p:spTree>
    <p:extLst>
      <p:ext uri="{BB962C8B-B14F-4D97-AF65-F5344CB8AC3E}">
        <p14:creationId xmlns:p14="http://schemas.microsoft.com/office/powerpoint/2010/main" val="35554916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5 Gradient gree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A7C896-F781-44A4-9AB2-A4689B352CF0}"/>
              </a:ext>
            </a:extLst>
          </p:cNvPr>
          <p:cNvGraphicFramePr>
            <a:graphicFrameLocks noChangeAspect="1"/>
          </p:cNvGraphicFramePr>
          <p:nvPr userDrawn="1">
            <p:custDataLst>
              <p:tags r:id="rId1"/>
            </p:custDataLst>
            <p:extLst>
              <p:ext uri="{D42A27DB-BD31-4B8C-83A1-F6EECF244321}">
                <p14:modId xmlns:p14="http://schemas.microsoft.com/office/powerpoint/2010/main" val="2743932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Object 8" hidden="1">
                        <a:extLst>
                          <a:ext uri="{FF2B5EF4-FFF2-40B4-BE49-F238E27FC236}">
                            <a16:creationId xmlns:a16="http://schemas.microsoft.com/office/drawing/2014/main" id="{6FA7C896-F781-44A4-9AB2-A4689B352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sp>
        <p:nvSpPr>
          <p:cNvPr id="2" name="TextBox 1">
            <a:extLst>
              <a:ext uri="{FF2B5EF4-FFF2-40B4-BE49-F238E27FC236}">
                <a16:creationId xmlns:a16="http://schemas.microsoft.com/office/drawing/2014/main" id="{3CE14D48-572B-4FBC-B3BB-EA4CEFD841C6}"/>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D0FE3D03-1927-7F22-5A39-25AC5EE297B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5" name="Straight Connector 4">
            <a:extLst>
              <a:ext uri="{FF2B5EF4-FFF2-40B4-BE49-F238E27FC236}">
                <a16:creationId xmlns:a16="http://schemas.microsoft.com/office/drawing/2014/main" id="{DADB5A51-8451-D947-C3F9-CBE6E67EA93C}"/>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B6DDB2AC-023E-1CB2-8A40-C190BDD6FF5A}"/>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8" name="Text Placeholder 42">
            <a:extLst>
              <a:ext uri="{FF2B5EF4-FFF2-40B4-BE49-F238E27FC236}">
                <a16:creationId xmlns:a16="http://schemas.microsoft.com/office/drawing/2014/main" id="{B5453D77-1984-4404-9398-BAF609B2A978}"/>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11" name="Oval 10">
            <a:extLst>
              <a:ext uri="{FF2B5EF4-FFF2-40B4-BE49-F238E27FC236}">
                <a16:creationId xmlns:a16="http://schemas.microsoft.com/office/drawing/2014/main" id="{43DB3B9F-AD56-45AA-BA88-44F6E386AAB7}"/>
              </a:ext>
            </a:extLst>
          </p:cNvPr>
          <p:cNvSpPr/>
          <p:nvPr userDrawn="1"/>
        </p:nvSpPr>
        <p:spPr>
          <a:xfrm>
            <a:off x="8306873" y="84079"/>
            <a:ext cx="727656" cy="444321"/>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r>
              <a:rPr lang="en-US" sz="750">
                <a:solidFill>
                  <a:schemeClr val="tx2"/>
                </a:solidFill>
              </a:rPr>
              <a:t>Gradient</a:t>
            </a:r>
          </a:p>
        </p:txBody>
      </p:sp>
    </p:spTree>
    <p:extLst>
      <p:ext uri="{BB962C8B-B14F-4D97-AF65-F5344CB8AC3E}">
        <p14:creationId xmlns:p14="http://schemas.microsoft.com/office/powerpoint/2010/main" val="8099624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6 Gradient blu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127207-FBDD-4EF5-A60B-68DDED46BE59}"/>
              </a:ext>
            </a:extLst>
          </p:cNvPr>
          <p:cNvGraphicFramePr>
            <a:graphicFrameLocks noChangeAspect="1"/>
          </p:cNvGraphicFramePr>
          <p:nvPr userDrawn="1">
            <p:custDataLst>
              <p:tags r:id="rId1"/>
            </p:custDataLst>
            <p:extLst>
              <p:ext uri="{D42A27DB-BD31-4B8C-83A1-F6EECF244321}">
                <p14:modId xmlns:p14="http://schemas.microsoft.com/office/powerpoint/2010/main" val="2678649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6" imgH="296" progId="TCLayout.ActiveDocument.1">
                  <p:embed/>
                </p:oleObj>
              </mc:Choice>
              <mc:Fallback>
                <p:oleObj name="think-cell Slide" r:id="rId4" imgW="296" imgH="296" progId="TCLayout.ActiveDocument.1">
                  <p:embed/>
                  <p:pic>
                    <p:nvPicPr>
                      <p:cNvPr id="7" name="Object 6" hidden="1">
                        <a:extLst>
                          <a:ext uri="{FF2B5EF4-FFF2-40B4-BE49-F238E27FC236}">
                            <a16:creationId xmlns:a16="http://schemas.microsoft.com/office/drawing/2014/main" id="{1D127207-FBDD-4EF5-A60B-68DDED46B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pic>
        <p:nvPicPr>
          <p:cNvPr id="8" name="Graphic 7">
            <a:extLst>
              <a:ext uri="{FF2B5EF4-FFF2-40B4-BE49-F238E27FC236}">
                <a16:creationId xmlns:a16="http://schemas.microsoft.com/office/drawing/2014/main" id="{26C0DBAD-285D-45D1-9382-147D250C13B0}"/>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8C3D6FB9-5D6D-4AA1-BD5E-0E7BDE931B49}"/>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F97281ED-C326-44ED-8D41-B6DD98CDEE1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D33F5482-C4CB-4939-AB40-CD8848C3F028}"/>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2DFFF742-5C07-4253-8E4C-1E1A4DAE57BA}"/>
              </a:ext>
            </a:extLst>
          </p:cNvPr>
          <p:cNvSpPr/>
          <p:nvPr userDrawn="1"/>
        </p:nvSpPr>
        <p:spPr>
          <a:xfrm>
            <a:off x="8306873" y="84079"/>
            <a:ext cx="727656" cy="444321"/>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r>
              <a:rPr lang="en-US" sz="750">
                <a:solidFill>
                  <a:schemeClr val="tx2"/>
                </a:solidFill>
              </a:rPr>
              <a:t>Gradient</a:t>
            </a:r>
          </a:p>
        </p:txBody>
      </p:sp>
    </p:spTree>
    <p:extLst>
      <p:ext uri="{BB962C8B-B14F-4D97-AF65-F5344CB8AC3E}">
        <p14:creationId xmlns:p14="http://schemas.microsoft.com/office/powerpoint/2010/main" val="31091878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3 - Bullet 1/2 dar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4572000" y="0"/>
            <a:ext cx="4571999"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a:extLst>
              <a:ext uri="{FF2B5EF4-FFF2-40B4-BE49-F238E27FC236}">
                <a16:creationId xmlns:a16="http://schemas.microsoft.com/office/drawing/2014/main" id="{81B2B362-2879-6819-D5A2-C7BE4DDA16A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60008FED-F579-32FA-B396-B46F632C45F4}"/>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8639B8D9-7FD8-8F41-6E5A-1F2F111B9E5E}"/>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296D02C5-F794-02A5-9D37-1018EC4A2983}"/>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5367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7 Gradient blue-pin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7FA4D4-5969-4CE1-99D8-8BCFD01C2B47}"/>
              </a:ext>
            </a:extLst>
          </p:cNvPr>
          <p:cNvGraphicFramePr>
            <a:graphicFrameLocks noChangeAspect="1"/>
          </p:cNvGraphicFramePr>
          <p:nvPr userDrawn="1">
            <p:custDataLst>
              <p:tags r:id="rId1"/>
            </p:custDataLst>
            <p:extLst>
              <p:ext uri="{D42A27DB-BD31-4B8C-83A1-F6EECF244321}">
                <p14:modId xmlns:p14="http://schemas.microsoft.com/office/powerpoint/2010/main" val="2873449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7" hidden="1">
                        <a:extLst>
                          <a:ext uri="{FF2B5EF4-FFF2-40B4-BE49-F238E27FC236}">
                            <a16:creationId xmlns:a16="http://schemas.microsoft.com/office/drawing/2014/main" id="{757FA4D4-5969-4CE1-99D8-8BCFD01C2B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sp>
        <p:nvSpPr>
          <p:cNvPr id="2" name="TextBox 1">
            <a:extLst>
              <a:ext uri="{FF2B5EF4-FFF2-40B4-BE49-F238E27FC236}">
                <a16:creationId xmlns:a16="http://schemas.microsoft.com/office/drawing/2014/main" id="{3CE14D48-572B-4FBC-B3BB-EA4CEFD841C6}"/>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D0FE3D03-1927-7F22-5A39-25AC5EE297B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5" name="Straight Connector 4">
            <a:extLst>
              <a:ext uri="{FF2B5EF4-FFF2-40B4-BE49-F238E27FC236}">
                <a16:creationId xmlns:a16="http://schemas.microsoft.com/office/drawing/2014/main" id="{DADB5A51-8451-D947-C3F9-CBE6E67EA93C}"/>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B6DDB2AC-023E-1CB2-8A40-C190BDD6FF5A}"/>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10" name="Text Placeholder 42">
            <a:extLst>
              <a:ext uri="{FF2B5EF4-FFF2-40B4-BE49-F238E27FC236}">
                <a16:creationId xmlns:a16="http://schemas.microsoft.com/office/drawing/2014/main" id="{C571946B-E071-4584-BA17-BC12B9A8087D}"/>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12" name="Oval 11">
            <a:extLst>
              <a:ext uri="{FF2B5EF4-FFF2-40B4-BE49-F238E27FC236}">
                <a16:creationId xmlns:a16="http://schemas.microsoft.com/office/drawing/2014/main" id="{00F97F82-5C44-462C-B711-DCADE9C4901E}"/>
              </a:ext>
            </a:extLst>
          </p:cNvPr>
          <p:cNvSpPr/>
          <p:nvPr userDrawn="1"/>
        </p:nvSpPr>
        <p:spPr>
          <a:xfrm>
            <a:off x="8306873" y="84079"/>
            <a:ext cx="727656" cy="444321"/>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r>
              <a:rPr lang="en-US" sz="750">
                <a:solidFill>
                  <a:schemeClr val="tx2"/>
                </a:solidFill>
              </a:rPr>
              <a:t>Gradient</a:t>
            </a:r>
          </a:p>
        </p:txBody>
      </p:sp>
    </p:spTree>
    <p:extLst>
      <p:ext uri="{BB962C8B-B14F-4D97-AF65-F5344CB8AC3E}">
        <p14:creationId xmlns:p14="http://schemas.microsoft.com/office/powerpoint/2010/main" val="271891295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Ultra Light" panose="020B02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2"/>
                </a:solidFill>
                <a:latin typeface="Nokia Pure Headline Ultra Light" panose="020B0204020202020204" pitchFamily="34" charset="0"/>
              </a:defRPr>
            </a:lvl1pPr>
          </a:lstStyle>
          <a:p>
            <a:pPr lvl="0"/>
            <a:r>
              <a:rPr lang="en-US" noProof="0"/>
              <a:t>Click to edit headline</a:t>
            </a:r>
          </a:p>
        </p:txBody>
      </p:sp>
    </p:spTree>
    <p:extLst>
      <p:ext uri="{BB962C8B-B14F-4D97-AF65-F5344CB8AC3E}">
        <p14:creationId xmlns:p14="http://schemas.microsoft.com/office/powerpoint/2010/main" val="63871434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2_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3D5205-902F-4BD0-BC84-0DF013DF8E29}"/>
              </a:ext>
            </a:extLst>
          </p:cNvPr>
          <p:cNvGraphicFramePr>
            <a:graphicFrameLocks noChangeAspect="1"/>
          </p:cNvGraphicFramePr>
          <p:nvPr userDrawn="1">
            <p:custDataLst>
              <p:tags r:id="rId1"/>
            </p:custDataLst>
            <p:extLst>
              <p:ext uri="{D42A27DB-BD31-4B8C-83A1-F6EECF244321}">
                <p14:modId xmlns:p14="http://schemas.microsoft.com/office/powerpoint/2010/main" val="13441082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a:extLst>
                          <a:ext uri="{FF2B5EF4-FFF2-40B4-BE49-F238E27FC236}">
                            <a16:creationId xmlns:a16="http://schemas.microsoft.com/office/drawing/2014/main" id="{213D5205-902F-4BD0-BC84-0DF013DF8E29}"/>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4" name="Text Placeholder 12">
            <a:extLst>
              <a:ext uri="{FF2B5EF4-FFF2-40B4-BE49-F238E27FC236}">
                <a16:creationId xmlns:a16="http://schemas.microsoft.com/office/drawing/2014/main" id="{99A4E175-66C0-4DDD-AA07-5D4B03CEA1D0}"/>
              </a:ext>
            </a:extLst>
          </p:cNvPr>
          <p:cNvSpPr>
            <a:spLocks noGrp="1"/>
          </p:cNvSpPr>
          <p:nvPr>
            <p:ph type="body" sz="quarter" idx="11"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5" name="Text Placeholder 42">
            <a:extLst>
              <a:ext uri="{FF2B5EF4-FFF2-40B4-BE49-F238E27FC236}">
                <a16:creationId xmlns:a16="http://schemas.microsoft.com/office/drawing/2014/main" id="{F4102E0A-65A1-4E0C-ABCA-2CEBB8D5BF5D}"/>
              </a:ext>
            </a:extLst>
          </p:cNvPr>
          <p:cNvSpPr>
            <a:spLocks noGrp="1"/>
          </p:cNvSpPr>
          <p:nvPr>
            <p:ph type="body" sz="quarter" idx="12"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Tree>
    <p:extLst>
      <p:ext uri="{BB962C8B-B14F-4D97-AF65-F5344CB8AC3E}">
        <p14:creationId xmlns:p14="http://schemas.microsoft.com/office/powerpoint/2010/main" val="73667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4 - Bullet 2/3 dar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3096000" y="0"/>
            <a:ext cx="604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Box 15">
            <a:extLst>
              <a:ext uri="{FF2B5EF4-FFF2-40B4-BE49-F238E27FC236}">
                <a16:creationId xmlns:a16="http://schemas.microsoft.com/office/drawing/2014/main" id="{92932C8D-B957-1CF9-AF0A-C66A4B80B16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EDFF5BE1-C27A-DAF6-539C-BE7CFB3D313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E2198C15-49FA-5DCF-088F-089A36BBE5B6}"/>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9B9FE98F-750B-124A-AB36-A98D98DEA881}"/>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98390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1 - Blank dark">
    <p:bg>
      <p:bgPr>
        <a:solidFill>
          <a:schemeClr val="tx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6" name="TextBox 15">
            <a:extLst>
              <a:ext uri="{FF2B5EF4-FFF2-40B4-BE49-F238E27FC236}">
                <a16:creationId xmlns:a16="http://schemas.microsoft.com/office/drawing/2014/main" id="{EFADF482-1182-15C3-2090-EF4C2A8F787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B5714932-B041-C268-D37A-89265A6401E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3D6BE398-80E2-C124-8939-1FA1DF0C101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D2469804-3D7D-D013-35CB-24DEE40DE415}"/>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81222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2 - Title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pic>
        <p:nvPicPr>
          <p:cNvPr id="3" name="Graphic 2">
            <a:extLst>
              <a:ext uri="{FF2B5EF4-FFF2-40B4-BE49-F238E27FC236}">
                <a16:creationId xmlns:a16="http://schemas.microsoft.com/office/drawing/2014/main" id="{BC39B26E-924A-E04C-205D-CC553972AED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8" name="TextBox 17">
            <a:extLst>
              <a:ext uri="{FF2B5EF4-FFF2-40B4-BE49-F238E27FC236}">
                <a16:creationId xmlns:a16="http://schemas.microsoft.com/office/drawing/2014/main" id="{B4D6E92B-62A5-89F1-C025-9AFA6FCB332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F2BA0AE1-3EC1-6929-E965-9C60516B99D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0" name="Footer Placeholder 2">
            <a:extLst>
              <a:ext uri="{FF2B5EF4-FFF2-40B4-BE49-F238E27FC236}">
                <a16:creationId xmlns:a16="http://schemas.microsoft.com/office/drawing/2014/main" id="{8CFFAAD9-97A5-7898-E5FF-36F481EB932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E7303E76-5976-AA67-FD72-87B2A291B565}"/>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646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3 - Text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bg1"/>
                </a:solidFill>
              </a:defRPr>
            </a:lvl1pPr>
            <a:lvl2pPr marL="180000" indent="0">
              <a:lnSpc>
                <a:spcPct val="100000"/>
              </a:lnSpc>
              <a:spcBef>
                <a:spcPts val="0"/>
              </a:spcBef>
              <a:spcAft>
                <a:spcPts val="600"/>
              </a:spcAft>
              <a:buSzPct val="70000"/>
              <a:buNone/>
              <a:defRPr sz="1200">
                <a:solidFill>
                  <a:schemeClr val="bg1"/>
                </a:solidFill>
              </a:defRPr>
            </a:lvl2pPr>
            <a:lvl3pPr marL="360000" indent="0">
              <a:lnSpc>
                <a:spcPct val="100000"/>
              </a:lnSpc>
              <a:spcBef>
                <a:spcPts val="0"/>
              </a:spcBef>
              <a:spcAft>
                <a:spcPts val="600"/>
              </a:spcAft>
              <a:buSzPct val="70000"/>
              <a:buNone/>
              <a:defRPr sz="1200">
                <a:solidFill>
                  <a:schemeClr val="bg1"/>
                </a:solidFill>
              </a:defRPr>
            </a:lvl3pPr>
            <a:lvl4pPr marL="540000" indent="0">
              <a:lnSpc>
                <a:spcPct val="100000"/>
              </a:lnSpc>
              <a:spcBef>
                <a:spcPts val="0"/>
              </a:spcBef>
              <a:spcAft>
                <a:spcPts val="600"/>
              </a:spcAft>
              <a:buSzPct val="70000"/>
              <a:buNone/>
              <a:defRPr sz="1200">
                <a:solidFill>
                  <a:schemeClr val="bg1"/>
                </a:solidFill>
              </a:defRPr>
            </a:lvl4pPr>
            <a:lvl5pPr marL="720000" indent="0">
              <a:lnSpc>
                <a:spcPct val="100000"/>
              </a:lnSpc>
              <a:spcBef>
                <a:spcPts val="0"/>
              </a:spcBef>
              <a:spcAft>
                <a:spcPts val="600"/>
              </a:spcAft>
              <a:buSzPct val="70000"/>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FC50F010-1A3E-13CC-A34C-23E50F7D9E3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9" name="TextBox 18">
            <a:extLst>
              <a:ext uri="{FF2B5EF4-FFF2-40B4-BE49-F238E27FC236}">
                <a16:creationId xmlns:a16="http://schemas.microsoft.com/office/drawing/2014/main" id="{6C224637-55EA-0423-7FB7-9D4C22E954C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0" name="Slide Number Placeholder 5">
            <a:extLst>
              <a:ext uri="{FF2B5EF4-FFF2-40B4-BE49-F238E27FC236}">
                <a16:creationId xmlns:a16="http://schemas.microsoft.com/office/drawing/2014/main" id="{D086BFC4-A13A-A77F-C95D-F0B63E9FC79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Footer Placeholder 2">
            <a:extLst>
              <a:ext uri="{FF2B5EF4-FFF2-40B4-BE49-F238E27FC236}">
                <a16:creationId xmlns:a16="http://schemas.microsoft.com/office/drawing/2014/main" id="{38436AE6-E5BF-2964-DF91-27380150947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3" name="Straight Connector 2">
            <a:extLst>
              <a:ext uri="{FF2B5EF4-FFF2-40B4-BE49-F238E27FC236}">
                <a16:creationId xmlns:a16="http://schemas.microsoft.com/office/drawing/2014/main" id="{72C51FFE-5DAC-A9B0-E605-61A58B24E190}"/>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28895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4 - 1xBullet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9C4C436A-97D3-3C1B-0C95-441F1DF2F98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9" name="TextBox 18">
            <a:extLst>
              <a:ext uri="{FF2B5EF4-FFF2-40B4-BE49-F238E27FC236}">
                <a16:creationId xmlns:a16="http://schemas.microsoft.com/office/drawing/2014/main" id="{F2203B3C-B7BE-B5F0-A84C-BF4A2D307F8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0" name="Slide Number Placeholder 5">
            <a:extLst>
              <a:ext uri="{FF2B5EF4-FFF2-40B4-BE49-F238E27FC236}">
                <a16:creationId xmlns:a16="http://schemas.microsoft.com/office/drawing/2014/main" id="{ED0C98DE-3A96-2DE1-E80F-30D10A98054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Footer Placeholder 2">
            <a:extLst>
              <a:ext uri="{FF2B5EF4-FFF2-40B4-BE49-F238E27FC236}">
                <a16:creationId xmlns:a16="http://schemas.microsoft.com/office/drawing/2014/main" id="{39872479-176B-250D-7009-2FACC846C886}"/>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3" name="Straight Connector 2">
            <a:extLst>
              <a:ext uri="{FF2B5EF4-FFF2-40B4-BE49-F238E27FC236}">
                <a16:creationId xmlns:a16="http://schemas.microsoft.com/office/drawing/2014/main" id="{16CCFB2F-D40E-65A3-6296-DFEDEDD37373}"/>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88892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5 - 2xBullet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437E9F8B-5B93-F909-6599-53CAB2225CA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20" name="TextBox 19">
            <a:extLst>
              <a:ext uri="{FF2B5EF4-FFF2-40B4-BE49-F238E27FC236}">
                <a16:creationId xmlns:a16="http://schemas.microsoft.com/office/drawing/2014/main" id="{38BB2193-E2EE-013C-3734-26FE2B6F289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94D6E453-33BB-3D1A-87F2-BF23E7DB064B}"/>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25631BE9-7C06-22AD-145E-78B1BD5F79B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7" name="Straight Connector 6">
            <a:extLst>
              <a:ext uri="{FF2B5EF4-FFF2-40B4-BE49-F238E27FC236}">
                <a16:creationId xmlns:a16="http://schemas.microsoft.com/office/drawing/2014/main" id="{0850E05B-2BC8-48AD-D3B1-486EB5FCBAC8}"/>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76002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3.6 - 3xBullet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14635BF5-054A-3811-41D1-1B20FDF97FB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21" name="TextBox 20">
            <a:extLst>
              <a:ext uri="{FF2B5EF4-FFF2-40B4-BE49-F238E27FC236}">
                <a16:creationId xmlns:a16="http://schemas.microsoft.com/office/drawing/2014/main" id="{0B09C184-344B-3A37-4BC9-5F46DC81EA5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2" name="Slide Number Placeholder 5">
            <a:extLst>
              <a:ext uri="{FF2B5EF4-FFF2-40B4-BE49-F238E27FC236}">
                <a16:creationId xmlns:a16="http://schemas.microsoft.com/office/drawing/2014/main" id="{EA23E53E-BC8E-B2D9-8857-89A24EB07F9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3" name="Footer Placeholder 2">
            <a:extLst>
              <a:ext uri="{FF2B5EF4-FFF2-40B4-BE49-F238E27FC236}">
                <a16:creationId xmlns:a16="http://schemas.microsoft.com/office/drawing/2014/main" id="{E99784FE-D6A8-9580-1007-194EF43C8A2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3" name="Straight Connector 2">
            <a:extLst>
              <a:ext uri="{FF2B5EF4-FFF2-40B4-BE49-F238E27FC236}">
                <a16:creationId xmlns:a16="http://schemas.microsoft.com/office/drawing/2014/main" id="{10197657-9D9B-4AF7-E9C9-776BC0095585}"/>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41724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1.2 -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4" name="TextBox 13">
            <a:extLst>
              <a:ext uri="{FF2B5EF4-FFF2-40B4-BE49-F238E27FC236}">
                <a16:creationId xmlns:a16="http://schemas.microsoft.com/office/drawing/2014/main" id="{B4AE9558-F65E-E57A-5394-E3FBBB881C0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792A02F9-A52E-683F-E045-1AFEBB2E551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Footer Placeholder 2">
            <a:extLst>
              <a:ext uri="{FF2B5EF4-FFF2-40B4-BE49-F238E27FC236}">
                <a16:creationId xmlns:a16="http://schemas.microsoft.com/office/drawing/2014/main" id="{2949A3C7-28A6-58FC-0E18-DC956F4648A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3" name="Straight Connector 2">
            <a:extLst>
              <a:ext uri="{FF2B5EF4-FFF2-40B4-BE49-F238E27FC236}">
                <a16:creationId xmlns:a16="http://schemas.microsoft.com/office/drawing/2014/main" id="{C180751A-A425-2A7C-9905-D4075302A3A9}"/>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9206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3.7 - 4xBullet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AD49FC51-3DDE-4079-644A-F3FAEB0DC4A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22" name="TextBox 21">
            <a:extLst>
              <a:ext uri="{FF2B5EF4-FFF2-40B4-BE49-F238E27FC236}">
                <a16:creationId xmlns:a16="http://schemas.microsoft.com/office/drawing/2014/main" id="{3F8C1C72-A585-7ED5-651B-B528B397081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3" name="Slide Number Placeholder 5">
            <a:extLst>
              <a:ext uri="{FF2B5EF4-FFF2-40B4-BE49-F238E27FC236}">
                <a16:creationId xmlns:a16="http://schemas.microsoft.com/office/drawing/2014/main" id="{D3FAF429-6C3E-019C-0537-840220A5BF9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4" name="Footer Placeholder 2">
            <a:extLst>
              <a:ext uri="{FF2B5EF4-FFF2-40B4-BE49-F238E27FC236}">
                <a16:creationId xmlns:a16="http://schemas.microsoft.com/office/drawing/2014/main" id="{14C8B806-8FC3-E969-CBCA-FAFFE8971D2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7" name="Straight Connector 6">
            <a:extLst>
              <a:ext uri="{FF2B5EF4-FFF2-40B4-BE49-F238E27FC236}">
                <a16:creationId xmlns:a16="http://schemas.microsoft.com/office/drawing/2014/main" id="{53224256-5A48-9D8B-C9D2-2CC09506C7C1}"/>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3127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8 - Numbered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bg1"/>
                </a:solidFill>
              </a:defRPr>
            </a:lvl1pPr>
            <a:lvl2pPr marL="408600" indent="-228600">
              <a:lnSpc>
                <a:spcPct val="100000"/>
              </a:lnSpc>
              <a:spcBef>
                <a:spcPts val="0"/>
              </a:spcBef>
              <a:spcAft>
                <a:spcPts val="600"/>
              </a:spcAft>
              <a:buFont typeface="+mj-lt"/>
              <a:buAutoNum type="arabicPeriod" startAt="2"/>
              <a:defRPr sz="1200">
                <a:solidFill>
                  <a:schemeClr val="bg1"/>
                </a:solidFill>
              </a:defRPr>
            </a:lvl2pPr>
            <a:lvl3pPr marL="588600" indent="-228600">
              <a:lnSpc>
                <a:spcPct val="100000"/>
              </a:lnSpc>
              <a:spcBef>
                <a:spcPts val="0"/>
              </a:spcBef>
              <a:spcAft>
                <a:spcPts val="600"/>
              </a:spcAft>
              <a:buFont typeface="+mj-lt"/>
              <a:buAutoNum type="arabicPeriod" startAt="3"/>
              <a:defRPr sz="1200">
                <a:solidFill>
                  <a:schemeClr val="bg1"/>
                </a:solidFill>
              </a:defRPr>
            </a:lvl3pPr>
            <a:lvl4pPr marL="768600" indent="-228600">
              <a:lnSpc>
                <a:spcPct val="100000"/>
              </a:lnSpc>
              <a:spcBef>
                <a:spcPts val="0"/>
              </a:spcBef>
              <a:spcAft>
                <a:spcPts val="600"/>
              </a:spcAft>
              <a:buFont typeface="+mj-lt"/>
              <a:buAutoNum type="arabicPeriod" startAt="4"/>
              <a:defRPr sz="1200">
                <a:solidFill>
                  <a:schemeClr val="bg1"/>
                </a:solidFill>
              </a:defRPr>
            </a:lvl4pPr>
            <a:lvl5pPr marL="957150" indent="-228600">
              <a:lnSpc>
                <a:spcPct val="100000"/>
              </a:lnSpc>
              <a:spcBef>
                <a:spcPts val="0"/>
              </a:spcBef>
              <a:spcAft>
                <a:spcPts val="600"/>
              </a:spcAft>
              <a:buFont typeface="+mj-lt"/>
              <a:buAutoNum type="arabicPeriod" startAt="5"/>
              <a:defRPr sz="1200">
                <a:solidFill>
                  <a:schemeClr val="bg1"/>
                </a:solidFill>
              </a:defRPr>
            </a:lvl5pPr>
          </a:lstStyle>
          <a:p>
            <a:pPr lvl="0"/>
            <a:r>
              <a:rPr lang="en-US" dirty="0"/>
              <a:t>Text here</a:t>
            </a:r>
          </a:p>
          <a:p>
            <a:pPr lvl="1"/>
            <a:r>
              <a:rPr lang="en-US" dirty="0"/>
              <a:t>Text here</a:t>
            </a:r>
          </a:p>
          <a:p>
            <a:pPr lvl="2"/>
            <a:r>
              <a:rPr lang="en-US" dirty="0"/>
              <a:t>Text here</a:t>
            </a:r>
          </a:p>
          <a:p>
            <a:pPr lvl="3"/>
            <a:r>
              <a:rPr lang="en-US" dirty="0"/>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dirty="0"/>
              <a:t>Text here</a:t>
            </a:r>
          </a:p>
        </p:txBody>
      </p:sp>
      <p:pic>
        <p:nvPicPr>
          <p:cNvPr id="2" name="Graphic 1">
            <a:extLst>
              <a:ext uri="{FF2B5EF4-FFF2-40B4-BE49-F238E27FC236}">
                <a16:creationId xmlns:a16="http://schemas.microsoft.com/office/drawing/2014/main" id="{AF7ADEE1-F63C-492E-6243-826D5239E9F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9" name="TextBox 18">
            <a:extLst>
              <a:ext uri="{FF2B5EF4-FFF2-40B4-BE49-F238E27FC236}">
                <a16:creationId xmlns:a16="http://schemas.microsoft.com/office/drawing/2014/main" id="{128DC97F-4D64-0DED-88CD-EE02622DD1A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0" name="Slide Number Placeholder 5">
            <a:extLst>
              <a:ext uri="{FF2B5EF4-FFF2-40B4-BE49-F238E27FC236}">
                <a16:creationId xmlns:a16="http://schemas.microsoft.com/office/drawing/2014/main" id="{36AADFB0-EF58-B66F-9E2F-35B8CE845DF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Footer Placeholder 2">
            <a:extLst>
              <a:ext uri="{FF2B5EF4-FFF2-40B4-BE49-F238E27FC236}">
                <a16:creationId xmlns:a16="http://schemas.microsoft.com/office/drawing/2014/main" id="{B5E01CE8-3A1A-97F6-CB42-2A7B7096CAA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5" name="Straight Connector 4">
            <a:extLst>
              <a:ext uri="{FF2B5EF4-FFF2-40B4-BE49-F238E27FC236}">
                <a16:creationId xmlns:a16="http://schemas.microsoft.com/office/drawing/2014/main" id="{AAB8DA60-1079-0DE5-3032-4CC124EFC3AF}"/>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5639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9 - Title dark">
    <p:bg>
      <p:bgPr>
        <a:solidFill>
          <a:schemeClr val="tx2"/>
        </a:solidFill>
        <a:effectLst/>
      </p:bgPr>
    </p:bg>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p:nvPr>
        </p:nvSpPr>
        <p:spPr>
          <a:xfrm>
            <a:off x="417600" y="1080000"/>
            <a:ext cx="8308800" cy="1760501"/>
          </a:xfrm>
          <a:prstGeom prst="rect">
            <a:avLst/>
          </a:prstGeom>
        </p:spPr>
        <p:txBody>
          <a:bodyPr lIns="0" tIns="0" rIns="0" bIns="0"/>
          <a:lstStyle>
            <a:lvl1pPr marL="0" indent="0">
              <a:buNone/>
              <a:defRPr sz="5400" baseline="0">
                <a:solidFill>
                  <a:schemeClr val="bg1"/>
                </a:solidFill>
                <a:latin typeface="Nokia Pure Headline Ultra Light" panose="020B0204020202020204" pitchFamily="34" charset="0"/>
              </a:defRPr>
            </a:lvl1pPr>
          </a:lstStyle>
          <a:p>
            <a:pPr lvl="0"/>
            <a:r>
              <a:rPr lang="en-US"/>
              <a:t>Click to edit Master text styles</a:t>
            </a:r>
          </a:p>
        </p:txBody>
      </p:sp>
      <p:pic>
        <p:nvPicPr>
          <p:cNvPr id="3" name="Graphic 2">
            <a:extLst>
              <a:ext uri="{FF2B5EF4-FFF2-40B4-BE49-F238E27FC236}">
                <a16:creationId xmlns:a16="http://schemas.microsoft.com/office/drawing/2014/main" id="{8751E31D-7B4F-D8BB-1E48-D88EA581DC1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7" name="TextBox 16">
            <a:extLst>
              <a:ext uri="{FF2B5EF4-FFF2-40B4-BE49-F238E27FC236}">
                <a16:creationId xmlns:a16="http://schemas.microsoft.com/office/drawing/2014/main" id="{3CFD536D-56F0-6B89-4E85-90A6E969D32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8" name="Slide Number Placeholder 5">
            <a:extLst>
              <a:ext uri="{FF2B5EF4-FFF2-40B4-BE49-F238E27FC236}">
                <a16:creationId xmlns:a16="http://schemas.microsoft.com/office/drawing/2014/main" id="{A2A18FDE-17E4-A96B-C3EE-A77EEBA83E2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9" name="Footer Placeholder 2">
            <a:extLst>
              <a:ext uri="{FF2B5EF4-FFF2-40B4-BE49-F238E27FC236}">
                <a16:creationId xmlns:a16="http://schemas.microsoft.com/office/drawing/2014/main" id="{A39C322E-4A8A-CA2E-DBCD-97DA4FDE15D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sp>
        <p:nvSpPr>
          <p:cNvPr id="21" name="Text Placeholder 42">
            <a:extLst>
              <a:ext uri="{FF2B5EF4-FFF2-40B4-BE49-F238E27FC236}">
                <a16:creationId xmlns:a16="http://schemas.microsoft.com/office/drawing/2014/main" id="{B3D3C671-29A5-6951-28E5-A58089FE5D4B}"/>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cxnSp>
        <p:nvCxnSpPr>
          <p:cNvPr id="2" name="Straight Connector 1">
            <a:extLst>
              <a:ext uri="{FF2B5EF4-FFF2-40B4-BE49-F238E27FC236}">
                <a16:creationId xmlns:a16="http://schemas.microsoft.com/office/drawing/2014/main" id="{C5C5220E-134B-27E4-7BF1-37E70D4B64AB}"/>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9201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4.1 - Cover N BlueGreen1">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2" name="Title 4">
            <a:extLst>
              <a:ext uri="{FF2B5EF4-FFF2-40B4-BE49-F238E27FC236}">
                <a16:creationId xmlns:a16="http://schemas.microsoft.com/office/drawing/2014/main" id="{FCA7DC03-F552-0867-352F-D9703C6058FC}"/>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4" name="Text Placeholder 3">
            <a:extLst>
              <a:ext uri="{FF2B5EF4-FFF2-40B4-BE49-F238E27FC236}">
                <a16:creationId xmlns:a16="http://schemas.microsoft.com/office/drawing/2014/main" id="{095DCB03-B7A1-6B00-BC51-6A2712B64A79}"/>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10" name="Graphic 3">
            <a:extLst>
              <a:ext uri="{FF2B5EF4-FFF2-40B4-BE49-F238E27FC236}">
                <a16:creationId xmlns:a16="http://schemas.microsoft.com/office/drawing/2014/main" id="{49D9392C-9E29-427F-3C29-C64146E898C7}"/>
              </a:ext>
            </a:extLst>
          </p:cNvPr>
          <p:cNvGrpSpPr/>
          <p:nvPr userDrawn="1"/>
        </p:nvGrpSpPr>
        <p:grpSpPr>
          <a:xfrm>
            <a:off x="1237478" y="4482674"/>
            <a:ext cx="1363492" cy="307063"/>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3" name="TextBox 2">
            <a:extLst>
              <a:ext uri="{FF2B5EF4-FFF2-40B4-BE49-F238E27FC236}">
                <a16:creationId xmlns:a16="http://schemas.microsoft.com/office/drawing/2014/main" id="{659763D9-588F-2473-91CB-B8C347B72189}"/>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23FCDC52-0E62-A2F4-0387-BFC107C7F663}"/>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753EC447-D430-EA30-E1F1-75D216432106}"/>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7" name="Straight Connector 6">
            <a:extLst>
              <a:ext uri="{FF2B5EF4-FFF2-40B4-BE49-F238E27FC236}">
                <a16:creationId xmlns:a16="http://schemas.microsoft.com/office/drawing/2014/main" id="{5043BA7C-3D07-A541-E538-C8BD56B50AB3}"/>
              </a:ext>
            </a:extLst>
          </p:cNvPr>
          <p:cNvCxnSpPr>
            <a:cxnSpLocks/>
          </p:cNvCxnSpPr>
          <p:nvPr userDrawn="1"/>
        </p:nvCxnSpPr>
        <p:spPr>
          <a:xfrm>
            <a:off x="6278509"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09633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4.2 - Cover N PurpleBlue1">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901"/>
            <a:ext cx="5144400" cy="5144400"/>
          </a:xfrm>
          <a:prstGeom prst="rect">
            <a:avLst/>
          </a:prstGeom>
        </p:spPr>
      </p:pic>
      <p:sp>
        <p:nvSpPr>
          <p:cNvPr id="11" name="Title 4">
            <a:extLst>
              <a:ext uri="{FF2B5EF4-FFF2-40B4-BE49-F238E27FC236}">
                <a16:creationId xmlns:a16="http://schemas.microsoft.com/office/drawing/2014/main" id="{59E922F0-08F0-9919-8C26-CE716C3AE5B2}"/>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2" name="Text Placeholder 3">
            <a:extLst>
              <a:ext uri="{FF2B5EF4-FFF2-40B4-BE49-F238E27FC236}">
                <a16:creationId xmlns:a16="http://schemas.microsoft.com/office/drawing/2014/main" id="{FDF29A45-EE41-3151-6F22-1274BFD4DDDB}"/>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AC803887-2AFC-DF73-DE60-1BE27DDE158C}"/>
              </a:ext>
            </a:extLst>
          </p:cNvPr>
          <p:cNvGrpSpPr/>
          <p:nvPr userDrawn="1"/>
        </p:nvGrpSpPr>
        <p:grpSpPr>
          <a:xfrm>
            <a:off x="1237478" y="4482674"/>
            <a:ext cx="1363492" cy="307063"/>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0" name="TextBox 19">
            <a:extLst>
              <a:ext uri="{FF2B5EF4-FFF2-40B4-BE49-F238E27FC236}">
                <a16:creationId xmlns:a16="http://schemas.microsoft.com/office/drawing/2014/main" id="{77E65701-8704-DC44-7F06-7957F6D50DDE}"/>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B0CCF65E-F2C0-F179-6CEF-6926AE13A1AD}"/>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4148E0E7-D605-6CB3-E2A2-9F865D08BD3D}"/>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30FB4871-3E91-2C06-4BD6-BAB4716AC823}"/>
              </a:ext>
            </a:extLst>
          </p:cNvPr>
          <p:cNvCxnSpPr>
            <a:cxnSpLocks/>
          </p:cNvCxnSpPr>
          <p:nvPr userDrawn="1"/>
        </p:nvCxnSpPr>
        <p:spPr>
          <a:xfrm>
            <a:off x="6278509"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9734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4.3 - Cover N Pink1">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9" name="Title 4">
            <a:extLst>
              <a:ext uri="{FF2B5EF4-FFF2-40B4-BE49-F238E27FC236}">
                <a16:creationId xmlns:a16="http://schemas.microsoft.com/office/drawing/2014/main" id="{44BBE444-2A25-873F-1D05-3ED543575B73}"/>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0" name="Text Placeholder 3">
            <a:extLst>
              <a:ext uri="{FF2B5EF4-FFF2-40B4-BE49-F238E27FC236}">
                <a16:creationId xmlns:a16="http://schemas.microsoft.com/office/drawing/2014/main" id="{1CE0441B-626C-B0BA-7F19-6E6E187E9F84}"/>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237478" y="4482674"/>
            <a:ext cx="1363492" cy="307063"/>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9" name="TextBox 18">
            <a:extLst>
              <a:ext uri="{FF2B5EF4-FFF2-40B4-BE49-F238E27FC236}">
                <a16:creationId xmlns:a16="http://schemas.microsoft.com/office/drawing/2014/main" id="{3B531529-C0C1-501F-B90B-E578B26E0D98}"/>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40C94059-F7F6-293D-88B1-A0CCDDB75575}"/>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98343E1B-0BDB-6D7F-D5F6-35E72B8B2568}"/>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F5A84A49-4C32-0562-6B33-E8281C62C942}"/>
              </a:ext>
            </a:extLst>
          </p:cNvPr>
          <p:cNvCxnSpPr>
            <a:cxnSpLocks/>
          </p:cNvCxnSpPr>
          <p:nvPr userDrawn="1"/>
        </p:nvCxnSpPr>
        <p:spPr>
          <a:xfrm>
            <a:off x="6278509"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48159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1.2 -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4" name="TextBox 13">
            <a:extLst>
              <a:ext uri="{FF2B5EF4-FFF2-40B4-BE49-F238E27FC236}">
                <a16:creationId xmlns:a16="http://schemas.microsoft.com/office/drawing/2014/main" id="{B4AE9558-F65E-E57A-5394-E3FBBB881C0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792A02F9-A52E-683F-E045-1AFEBB2E551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Footer Placeholder 2">
            <a:extLst>
              <a:ext uri="{FF2B5EF4-FFF2-40B4-BE49-F238E27FC236}">
                <a16:creationId xmlns:a16="http://schemas.microsoft.com/office/drawing/2014/main" id="{2949A3C7-28A6-58FC-0E18-DC956F4648A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3" name="Straight Connector 2">
            <a:extLst>
              <a:ext uri="{FF2B5EF4-FFF2-40B4-BE49-F238E27FC236}">
                <a16:creationId xmlns:a16="http://schemas.microsoft.com/office/drawing/2014/main" id="{C180751A-A425-2A7C-9905-D4075302A3A9}"/>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9206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1.3 -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tx2"/>
                </a:solidFill>
              </a:defRPr>
            </a:lvl1pPr>
            <a:lvl2pPr marL="180000" indent="0">
              <a:lnSpc>
                <a:spcPct val="100000"/>
              </a:lnSpc>
              <a:spcBef>
                <a:spcPts val="0"/>
              </a:spcBef>
              <a:spcAft>
                <a:spcPts val="600"/>
              </a:spcAft>
              <a:buSzPct val="70000"/>
              <a:buNone/>
              <a:defRPr sz="1200">
                <a:solidFill>
                  <a:schemeClr val="tx2"/>
                </a:solidFill>
              </a:defRPr>
            </a:lvl2pPr>
            <a:lvl3pPr marL="360000" indent="0">
              <a:lnSpc>
                <a:spcPct val="100000"/>
              </a:lnSpc>
              <a:spcBef>
                <a:spcPts val="0"/>
              </a:spcBef>
              <a:spcAft>
                <a:spcPts val="600"/>
              </a:spcAft>
              <a:buSzPct val="70000"/>
              <a:buNone/>
              <a:defRPr sz="1200">
                <a:solidFill>
                  <a:schemeClr val="tx2"/>
                </a:solidFill>
              </a:defRPr>
            </a:lvl3pPr>
            <a:lvl4pPr marL="540000" indent="0">
              <a:lnSpc>
                <a:spcPct val="100000"/>
              </a:lnSpc>
              <a:spcBef>
                <a:spcPts val="0"/>
              </a:spcBef>
              <a:spcAft>
                <a:spcPts val="600"/>
              </a:spcAft>
              <a:buSzPct val="70000"/>
              <a:buNone/>
              <a:defRPr sz="1200">
                <a:solidFill>
                  <a:schemeClr val="tx2"/>
                </a:solidFill>
              </a:defRPr>
            </a:lvl4pPr>
            <a:lvl5pPr marL="720000" indent="0">
              <a:lnSpc>
                <a:spcPct val="100000"/>
              </a:lnSpc>
              <a:spcBef>
                <a:spcPts val="0"/>
              </a:spcBef>
              <a:spcAft>
                <a:spcPts val="600"/>
              </a:spcAft>
              <a:buSzPct val="70000"/>
              <a:buNone/>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31A68076-E163-16F0-6643-612506DC25C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DDBD7350-FFE3-8F35-04ED-B83CAB700A0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Footer Placeholder 2">
            <a:extLst>
              <a:ext uri="{FF2B5EF4-FFF2-40B4-BE49-F238E27FC236}">
                <a16:creationId xmlns:a16="http://schemas.microsoft.com/office/drawing/2014/main" id="{4E90EBC0-49DE-3234-6D8A-7B5E88E2D975}"/>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D81B0E9F-637B-B4E3-0E4C-6D28BA81E660}"/>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0896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4 - Cover N Whit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674FB718-4590-313D-1532-FE817A22ACB4}"/>
              </a:ext>
            </a:extLst>
          </p:cNvPr>
          <p:cNvSpPr/>
          <p:nvPr/>
        </p:nvSpPr>
        <p:spPr>
          <a:xfrm>
            <a:off x="0" y="0"/>
            <a:ext cx="5144400" cy="5144400"/>
          </a:xfrm>
          <a:custGeom>
            <a:avLst/>
            <a:gdLst>
              <a:gd name="connsiteX0" fmla="*/ 0 w 5144400"/>
              <a:gd name="connsiteY0" fmla="*/ 0 h 5144400"/>
              <a:gd name="connsiteX1" fmla="*/ 5144400 w 5144400"/>
              <a:gd name="connsiteY1" fmla="*/ 0 h 5144400"/>
              <a:gd name="connsiteX2" fmla="*/ 5144400 w 5144400"/>
              <a:gd name="connsiteY2" fmla="*/ 5144400 h 5144400"/>
              <a:gd name="connsiteX3" fmla="*/ 0 w 5144400"/>
              <a:gd name="connsiteY3" fmla="*/ 5144400 h 5144400"/>
            </a:gdLst>
            <a:ahLst/>
            <a:cxnLst>
              <a:cxn ang="0">
                <a:pos x="connsiteX0" y="connsiteY0"/>
              </a:cxn>
              <a:cxn ang="0">
                <a:pos x="connsiteX1" y="connsiteY1"/>
              </a:cxn>
              <a:cxn ang="0">
                <a:pos x="connsiteX2" y="connsiteY2"/>
              </a:cxn>
              <a:cxn ang="0">
                <a:pos x="connsiteX3" y="connsiteY3"/>
              </a:cxn>
            </a:cxnLst>
            <a:rect l="l" t="t" r="r" b="b"/>
            <a:pathLst>
              <a:path w="5144400" h="5144400">
                <a:moveTo>
                  <a:pt x="0" y="0"/>
                </a:moveTo>
                <a:lnTo>
                  <a:pt x="5144400" y="0"/>
                </a:lnTo>
                <a:lnTo>
                  <a:pt x="5144400" y="5144400"/>
                </a:lnTo>
                <a:lnTo>
                  <a:pt x="0" y="5144400"/>
                </a:lnTo>
                <a:close/>
              </a:path>
            </a:pathLst>
          </a:custGeom>
          <a:noFill/>
          <a:ln w="26789"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6585F427-7AA2-BA79-9FAB-3B20B348D66A}"/>
              </a:ext>
            </a:extLst>
          </p:cNvPr>
          <p:cNvSpPr/>
          <p:nvPr/>
        </p:nvSpPr>
        <p:spPr>
          <a:xfrm>
            <a:off x="0" y="0"/>
            <a:ext cx="5144400" cy="5144400"/>
          </a:xfrm>
          <a:custGeom>
            <a:avLst/>
            <a:gdLst>
              <a:gd name="connsiteX0" fmla="*/ 0 w 5144400"/>
              <a:gd name="connsiteY0" fmla="*/ 0 h 5144400"/>
              <a:gd name="connsiteX1" fmla="*/ 0 w 5144400"/>
              <a:gd name="connsiteY1" fmla="*/ 5144400 h 5144400"/>
              <a:gd name="connsiteX2" fmla="*/ 794971 w 5144400"/>
              <a:gd name="connsiteY2" fmla="*/ 5144400 h 5144400"/>
              <a:gd name="connsiteX3" fmla="*/ 794971 w 5144400"/>
              <a:gd name="connsiteY3" fmla="*/ 1741594 h 5144400"/>
              <a:gd name="connsiteX4" fmla="*/ 5144400 w 5144400"/>
              <a:gd name="connsiteY4" fmla="*/ 5144400 h 5144400"/>
              <a:gd name="connsiteX5" fmla="*/ 5144400 w 5144400"/>
              <a:gd name="connsiteY5" fmla="*/ 4142850 h 5144400"/>
              <a:gd name="connsiteX6" fmla="*/ 0 w 5144400"/>
              <a:gd name="connsiteY6" fmla="*/ 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4400" h="5144400">
                <a:moveTo>
                  <a:pt x="0" y="0"/>
                </a:moveTo>
                <a:lnTo>
                  <a:pt x="0" y="5144400"/>
                </a:lnTo>
                <a:cubicBezTo>
                  <a:pt x="0" y="5144400"/>
                  <a:pt x="794971" y="5144400"/>
                  <a:pt x="794971" y="5144400"/>
                </a:cubicBezTo>
                <a:lnTo>
                  <a:pt x="794971" y="1741594"/>
                </a:lnTo>
                <a:cubicBezTo>
                  <a:pt x="794971" y="1741594"/>
                  <a:pt x="5144400" y="5144400"/>
                  <a:pt x="5144400" y="5144400"/>
                </a:cubicBezTo>
                <a:lnTo>
                  <a:pt x="5144400" y="4142850"/>
                </a:lnTo>
                <a:lnTo>
                  <a:pt x="0" y="0"/>
                </a:lnTo>
                <a:close/>
              </a:path>
            </a:pathLst>
          </a:custGeom>
          <a:solidFill>
            <a:schemeClr val="accent1"/>
          </a:solidFill>
          <a:ln w="26789" cap="flat">
            <a:noFill/>
            <a:prstDash val="solid"/>
            <a:miter/>
          </a:ln>
        </p:spPr>
        <p:txBody>
          <a:bodyPr rtlCol="0" anchor="ctr"/>
          <a:lstStyle/>
          <a:p>
            <a:endParaRPr lang="en-US"/>
          </a:p>
        </p:txBody>
      </p:sp>
      <p:sp>
        <p:nvSpPr>
          <p:cNvPr id="9" name="Title 4">
            <a:extLst>
              <a:ext uri="{FF2B5EF4-FFF2-40B4-BE49-F238E27FC236}">
                <a16:creationId xmlns:a16="http://schemas.microsoft.com/office/drawing/2014/main" id="{44BBE444-2A25-873F-1D05-3ED543575B73}"/>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dirty="0"/>
              <a:t>Presentation</a:t>
            </a:r>
            <a:br>
              <a:rPr lang="en-GB" dirty="0"/>
            </a:br>
            <a:r>
              <a:rPr lang="en-GB" dirty="0"/>
              <a:t>Title (2 lines)</a:t>
            </a:r>
          </a:p>
        </p:txBody>
      </p:sp>
      <p:sp>
        <p:nvSpPr>
          <p:cNvPr id="10" name="Text Placeholder 3">
            <a:extLst>
              <a:ext uri="{FF2B5EF4-FFF2-40B4-BE49-F238E27FC236}">
                <a16:creationId xmlns:a16="http://schemas.microsoft.com/office/drawing/2014/main" id="{1CE0441B-626C-B0BA-7F19-6E6E187E9F84}"/>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237478" y="4482674"/>
            <a:ext cx="1363492" cy="307063"/>
            <a:chOff x="469958" y="1647414"/>
            <a:chExt cx="8205029" cy="1847802"/>
          </a:xfrm>
          <a:solidFill>
            <a:schemeClr val="accent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4" name="TextBox 23">
            <a:extLst>
              <a:ext uri="{FF2B5EF4-FFF2-40B4-BE49-F238E27FC236}">
                <a16:creationId xmlns:a16="http://schemas.microsoft.com/office/drawing/2014/main" id="{EE447E57-9E3B-2030-9902-A8BA6E7583E4}"/>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5" name="Slide Number Placeholder 5">
            <a:extLst>
              <a:ext uri="{FF2B5EF4-FFF2-40B4-BE49-F238E27FC236}">
                <a16:creationId xmlns:a16="http://schemas.microsoft.com/office/drawing/2014/main" id="{B61C7B4D-5A69-FF1F-0F31-D16D75C7921B}"/>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6" name="Footer Placeholder 2">
            <a:extLst>
              <a:ext uri="{FF2B5EF4-FFF2-40B4-BE49-F238E27FC236}">
                <a16:creationId xmlns:a16="http://schemas.microsoft.com/office/drawing/2014/main" id="{AD544843-BF44-8F0F-4D23-F80C60F60B55}"/>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20907F98-A046-E796-677D-FB8EEDD6F083}"/>
              </a:ext>
            </a:extLst>
          </p:cNvPr>
          <p:cNvCxnSpPr>
            <a:cxnSpLocks/>
          </p:cNvCxnSpPr>
          <p:nvPr userDrawn="1"/>
        </p:nvCxnSpPr>
        <p:spPr>
          <a:xfrm>
            <a:off x="6278509"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3202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1 - Cover O BlueGreen2">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6981148" y="2418218"/>
            <a:ext cx="1363492" cy="307063"/>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4" name="Title 4">
            <a:extLst>
              <a:ext uri="{FF2B5EF4-FFF2-40B4-BE49-F238E27FC236}">
                <a16:creationId xmlns:a16="http://schemas.microsoft.com/office/drawing/2014/main" id="{2C6BDD68-E8AC-9D13-ED1D-D43FFC8357C6}"/>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5" name="Text Placeholder 3">
            <a:extLst>
              <a:ext uri="{FF2B5EF4-FFF2-40B4-BE49-F238E27FC236}">
                <a16:creationId xmlns:a16="http://schemas.microsoft.com/office/drawing/2014/main" id="{76BF5CE8-2417-2D5D-75FE-27E0BE07F509}"/>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16" name="TextBox 15">
            <a:extLst>
              <a:ext uri="{FF2B5EF4-FFF2-40B4-BE49-F238E27FC236}">
                <a16:creationId xmlns:a16="http://schemas.microsoft.com/office/drawing/2014/main" id="{CC8B88A2-C8A9-A342-E8B5-C91DF5E71FF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9EC2290D-5934-145E-499C-1CB0349E5FA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BD471F30-B344-A63E-287D-45299C34768C}"/>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1F9E2940-FA7B-D6D9-D260-E74604400511}"/>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69975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1.3 -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tx2"/>
                </a:solidFill>
              </a:defRPr>
            </a:lvl1pPr>
            <a:lvl2pPr marL="180000" indent="0">
              <a:lnSpc>
                <a:spcPct val="100000"/>
              </a:lnSpc>
              <a:spcBef>
                <a:spcPts val="0"/>
              </a:spcBef>
              <a:spcAft>
                <a:spcPts val="600"/>
              </a:spcAft>
              <a:buSzPct val="70000"/>
              <a:buNone/>
              <a:defRPr sz="1200">
                <a:solidFill>
                  <a:schemeClr val="tx2"/>
                </a:solidFill>
              </a:defRPr>
            </a:lvl2pPr>
            <a:lvl3pPr marL="360000" indent="0">
              <a:lnSpc>
                <a:spcPct val="100000"/>
              </a:lnSpc>
              <a:spcBef>
                <a:spcPts val="0"/>
              </a:spcBef>
              <a:spcAft>
                <a:spcPts val="600"/>
              </a:spcAft>
              <a:buSzPct val="70000"/>
              <a:buNone/>
              <a:defRPr sz="1200">
                <a:solidFill>
                  <a:schemeClr val="tx2"/>
                </a:solidFill>
              </a:defRPr>
            </a:lvl3pPr>
            <a:lvl4pPr marL="540000" indent="0">
              <a:lnSpc>
                <a:spcPct val="100000"/>
              </a:lnSpc>
              <a:spcBef>
                <a:spcPts val="0"/>
              </a:spcBef>
              <a:spcAft>
                <a:spcPts val="600"/>
              </a:spcAft>
              <a:buSzPct val="70000"/>
              <a:buNone/>
              <a:defRPr sz="1200">
                <a:solidFill>
                  <a:schemeClr val="tx2"/>
                </a:solidFill>
              </a:defRPr>
            </a:lvl4pPr>
            <a:lvl5pPr marL="720000" indent="0">
              <a:lnSpc>
                <a:spcPct val="100000"/>
              </a:lnSpc>
              <a:spcBef>
                <a:spcPts val="0"/>
              </a:spcBef>
              <a:spcAft>
                <a:spcPts val="600"/>
              </a:spcAft>
              <a:buSzPct val="70000"/>
              <a:buNone/>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31A68076-E163-16F0-6643-612506DC25C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DDBD7350-FFE3-8F35-04ED-B83CAB700A0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Footer Placeholder 2">
            <a:extLst>
              <a:ext uri="{FF2B5EF4-FFF2-40B4-BE49-F238E27FC236}">
                <a16:creationId xmlns:a16="http://schemas.microsoft.com/office/drawing/2014/main" id="{4E90EBC0-49DE-3234-6D8A-7B5E88E2D975}"/>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D81B0E9F-637B-B4E3-0E4C-6D28BA81E660}"/>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0896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5.2 - Cover O BluePink1">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6981148" y="2418218"/>
            <a:ext cx="1363492" cy="307063"/>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5" name="Title 4">
            <a:extLst>
              <a:ext uri="{FF2B5EF4-FFF2-40B4-BE49-F238E27FC236}">
                <a16:creationId xmlns:a16="http://schemas.microsoft.com/office/drawing/2014/main" id="{60E8CE17-B2D0-B92F-1A9F-C72280B6E9A3}"/>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6" name="Text Placeholder 3">
            <a:extLst>
              <a:ext uri="{FF2B5EF4-FFF2-40B4-BE49-F238E27FC236}">
                <a16:creationId xmlns:a16="http://schemas.microsoft.com/office/drawing/2014/main" id="{6BEF90E0-A2AA-9B05-58FB-3D4109E95C42}"/>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0" name="TextBox 19">
            <a:extLst>
              <a:ext uri="{FF2B5EF4-FFF2-40B4-BE49-F238E27FC236}">
                <a16:creationId xmlns:a16="http://schemas.microsoft.com/office/drawing/2014/main" id="{3B132D8A-9E85-B335-C2FD-9D2508FEAFC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5D1F556C-703D-0EB9-35BD-0A7DE6122BF2}"/>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F61D5928-67F7-A4E5-2767-E072B8F67A23}"/>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EF6BC33A-A2E3-7103-ACC7-6F043901E5EF}"/>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33113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5.3 - Cover O BlueGreen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6981148" y="2418218"/>
            <a:ext cx="1363492" cy="307063"/>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0" name="TextBox 19">
            <a:extLst>
              <a:ext uri="{FF2B5EF4-FFF2-40B4-BE49-F238E27FC236}">
                <a16:creationId xmlns:a16="http://schemas.microsoft.com/office/drawing/2014/main" id="{720759C7-94BC-8FC1-9A43-A40A4BE7AC1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83D4680A-11B6-A841-EC68-FFF11409500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AE485A1C-8A6A-5C51-5E3F-5685AAA904F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97FF23FE-4D10-4C29-7B09-1D707687BDB0}"/>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90347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3 - Cover O BlueGreen3">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6981148" y="2418218"/>
            <a:ext cx="1363492" cy="307063"/>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0" name="TextBox 19">
            <a:extLst>
              <a:ext uri="{FF2B5EF4-FFF2-40B4-BE49-F238E27FC236}">
                <a16:creationId xmlns:a16="http://schemas.microsoft.com/office/drawing/2014/main" id="{720759C7-94BC-8FC1-9A43-A40A4BE7AC1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83D4680A-11B6-A841-EC68-FFF11409500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AE485A1C-8A6A-5C51-5E3F-5685AAA904F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97FF23FE-4D10-4C29-7B09-1D707687BDB0}"/>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90347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4 - Cover O White">
    <p:spTree>
      <p:nvGrpSpPr>
        <p:cNvPr id="1" name=""/>
        <p:cNvGrpSpPr/>
        <p:nvPr/>
      </p:nvGrpSpPr>
      <p:grpSpPr>
        <a:xfrm>
          <a:off x="0" y="0"/>
          <a:ext cx="0" cy="0"/>
          <a:chOff x="0" y="0"/>
          <a:chExt cx="0" cy="0"/>
        </a:xfrm>
      </p:grpSpPr>
      <p:sp>
        <p:nvSpPr>
          <p:cNvPr id="17" name="Title 4">
            <a:extLst>
              <a:ext uri="{FF2B5EF4-FFF2-40B4-BE49-F238E27FC236}">
                <a16:creationId xmlns:a16="http://schemas.microsoft.com/office/drawing/2014/main" id="{EB5A7CA1-8E09-1FEE-5143-08105708AE59}"/>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F6FE26B-E8FF-4ACF-48A7-542E2FB4B861}"/>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57ADD6F0-8A1D-2465-892B-42BFF999186F}"/>
              </a:ext>
            </a:extLst>
          </p:cNvPr>
          <p:cNvGrpSpPr/>
          <p:nvPr userDrawn="1"/>
        </p:nvGrpSpPr>
        <p:grpSpPr>
          <a:xfrm>
            <a:off x="7055828" y="2418218"/>
            <a:ext cx="1363492" cy="307063"/>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pic>
        <p:nvPicPr>
          <p:cNvPr id="20" name="Picture 19" descr="Circle&#10;&#10;Description automatically generated with medium confidence">
            <a:extLst>
              <a:ext uri="{FF2B5EF4-FFF2-40B4-BE49-F238E27FC236}">
                <a16:creationId xmlns:a16="http://schemas.microsoft.com/office/drawing/2014/main" id="{87D5AF06-6AF8-9002-BEDC-176CB57496A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5084"/>
          <a:stretch/>
        </p:blipFill>
        <p:spPr>
          <a:xfrm>
            <a:off x="5126775" y="-4796"/>
            <a:ext cx="4017225" cy="5143500"/>
          </a:xfrm>
          <a:prstGeom prst="rect">
            <a:avLst/>
          </a:prstGeom>
        </p:spPr>
      </p:pic>
      <p:sp>
        <p:nvSpPr>
          <p:cNvPr id="16" name="TextBox 15">
            <a:extLst>
              <a:ext uri="{FF2B5EF4-FFF2-40B4-BE49-F238E27FC236}">
                <a16:creationId xmlns:a16="http://schemas.microsoft.com/office/drawing/2014/main" id="{8D94EDB0-D38F-0FE8-27C1-80BAE2455A1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EFAF1A61-3518-0ABC-1BC0-5990D5EF88D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Footer Placeholder 2">
            <a:extLst>
              <a:ext uri="{FF2B5EF4-FFF2-40B4-BE49-F238E27FC236}">
                <a16:creationId xmlns:a16="http://schemas.microsoft.com/office/drawing/2014/main" id="{496FB4B1-7F2F-CF04-74B8-D3A7467B0EDC}"/>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31F15E35-8F62-FCD4-CD9C-8C7F57AAEDE8}"/>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61600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1 - Cover K Orange1">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967656" y="0"/>
            <a:ext cx="4176344" cy="51444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7055828" y="2418218"/>
            <a:ext cx="1363492" cy="307063"/>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0" name="TextBox 19">
            <a:extLst>
              <a:ext uri="{FF2B5EF4-FFF2-40B4-BE49-F238E27FC236}">
                <a16:creationId xmlns:a16="http://schemas.microsoft.com/office/drawing/2014/main" id="{801FC38E-29E5-B44A-FE96-F713B08050E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1" name="Slide Number Placeholder 5">
            <a:extLst>
              <a:ext uri="{FF2B5EF4-FFF2-40B4-BE49-F238E27FC236}">
                <a16:creationId xmlns:a16="http://schemas.microsoft.com/office/drawing/2014/main" id="{7AAAD9DC-C952-84F6-32BA-CE8084E916D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2" name="Footer Placeholder 2">
            <a:extLst>
              <a:ext uri="{FF2B5EF4-FFF2-40B4-BE49-F238E27FC236}">
                <a16:creationId xmlns:a16="http://schemas.microsoft.com/office/drawing/2014/main" id="{B603A7C0-7450-F57A-CF86-135B131E63C3}"/>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EB055563-B67F-14B5-583B-3BFC0EB8093A}"/>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5816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6.2 - Cover K BlueGreen4">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5C4391E8-E519-220E-82C7-E7E85659A4E4}"/>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F3E219A7-8ADF-6CBF-872C-AEF07B645E6D}"/>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47BEB086-B161-40ED-B2E3-DDF397278FA8}"/>
              </a:ext>
            </a:extLst>
          </p:cNvPr>
          <p:cNvGrpSpPr/>
          <p:nvPr userDrawn="1"/>
        </p:nvGrpSpPr>
        <p:grpSpPr>
          <a:xfrm>
            <a:off x="7055828" y="2418218"/>
            <a:ext cx="1363492" cy="307063"/>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7" name="TextBox 16">
            <a:extLst>
              <a:ext uri="{FF2B5EF4-FFF2-40B4-BE49-F238E27FC236}">
                <a16:creationId xmlns:a16="http://schemas.microsoft.com/office/drawing/2014/main" id="{D9CCAE72-315B-6DC4-6ED3-6C32104BB03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8" name="Slide Number Placeholder 5">
            <a:extLst>
              <a:ext uri="{FF2B5EF4-FFF2-40B4-BE49-F238E27FC236}">
                <a16:creationId xmlns:a16="http://schemas.microsoft.com/office/drawing/2014/main" id="{9F6B1C01-19BD-7D67-4E40-88818E2139B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9" name="Footer Placeholder 2">
            <a:extLst>
              <a:ext uri="{FF2B5EF4-FFF2-40B4-BE49-F238E27FC236}">
                <a16:creationId xmlns:a16="http://schemas.microsoft.com/office/drawing/2014/main" id="{7C973916-701B-92E4-FA4C-28A5746F5C0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2987F7F1-F554-8627-99C4-694EBCFB2B2A}"/>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94542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6.3 - Cover K Pink1">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8" name="Graphic 3">
            <a:extLst>
              <a:ext uri="{FF2B5EF4-FFF2-40B4-BE49-F238E27FC236}">
                <a16:creationId xmlns:a16="http://schemas.microsoft.com/office/drawing/2014/main" id="{02491239-1144-EB94-E007-F05D770D71DA}"/>
              </a:ext>
            </a:extLst>
          </p:cNvPr>
          <p:cNvGrpSpPr/>
          <p:nvPr userDrawn="1"/>
        </p:nvGrpSpPr>
        <p:grpSpPr>
          <a:xfrm>
            <a:off x="7055828" y="2418218"/>
            <a:ext cx="1363492" cy="307063"/>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8" name="TextBox 17">
            <a:extLst>
              <a:ext uri="{FF2B5EF4-FFF2-40B4-BE49-F238E27FC236}">
                <a16:creationId xmlns:a16="http://schemas.microsoft.com/office/drawing/2014/main" id="{5AE80B1C-FD35-F288-8BFD-2F827D4C51A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0B17E72F-0CE2-D4D0-F696-BEA9F83EF5A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0" name="Footer Placeholder 2">
            <a:extLst>
              <a:ext uri="{FF2B5EF4-FFF2-40B4-BE49-F238E27FC236}">
                <a16:creationId xmlns:a16="http://schemas.microsoft.com/office/drawing/2014/main" id="{AB4C8BF7-D6EA-CCEB-F116-FF8F674A1D0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3" name="Straight Connector 2">
            <a:extLst>
              <a:ext uri="{FF2B5EF4-FFF2-40B4-BE49-F238E27FC236}">
                <a16:creationId xmlns:a16="http://schemas.microsoft.com/office/drawing/2014/main" id="{DA7837CA-5E74-BA1B-C559-ADAB2DF6DB76}"/>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55738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6.4 - Cover K Whit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966626" y="0"/>
            <a:ext cx="4177374" cy="5144400"/>
          </a:xfrm>
          <a:prstGeom prst="rect">
            <a:avLst/>
          </a:prstGeom>
        </p:spPr>
      </p:pic>
      <p:sp>
        <p:nvSpPr>
          <p:cNvPr id="17" name="Title 4">
            <a:extLst>
              <a:ext uri="{FF2B5EF4-FFF2-40B4-BE49-F238E27FC236}">
                <a16:creationId xmlns:a16="http://schemas.microsoft.com/office/drawing/2014/main" id="{EB5A7CA1-8E09-1FEE-5143-08105708AE59}"/>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F6FE26B-E8FF-4ACF-48A7-542E2FB4B861}"/>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57ADD6F0-8A1D-2465-892B-42BFF999186F}"/>
              </a:ext>
            </a:extLst>
          </p:cNvPr>
          <p:cNvGrpSpPr/>
          <p:nvPr userDrawn="1"/>
        </p:nvGrpSpPr>
        <p:grpSpPr>
          <a:xfrm>
            <a:off x="7055828" y="2418218"/>
            <a:ext cx="1363492" cy="307063"/>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19" name="TextBox 18">
            <a:extLst>
              <a:ext uri="{FF2B5EF4-FFF2-40B4-BE49-F238E27FC236}">
                <a16:creationId xmlns:a16="http://schemas.microsoft.com/office/drawing/2014/main" id="{685118FE-3A69-7878-D9BB-1A3313720C8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0" name="Slide Number Placeholder 5">
            <a:extLst>
              <a:ext uri="{FF2B5EF4-FFF2-40B4-BE49-F238E27FC236}">
                <a16:creationId xmlns:a16="http://schemas.microsoft.com/office/drawing/2014/main" id="{0F609D8D-5CB0-9FB7-12C3-CB2F81E54A6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1" name="Footer Placeholder 2">
            <a:extLst>
              <a:ext uri="{FF2B5EF4-FFF2-40B4-BE49-F238E27FC236}">
                <a16:creationId xmlns:a16="http://schemas.microsoft.com/office/drawing/2014/main" id="{A6A581A3-9568-ADAA-C577-D08AD5F1385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0E53593B-A7AE-9963-B6BC-8C94C8F0B46B}"/>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59290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7.1 - Divider BlueGreen2">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3" name="TextBox 12">
            <a:extLst>
              <a:ext uri="{FF2B5EF4-FFF2-40B4-BE49-F238E27FC236}">
                <a16:creationId xmlns:a16="http://schemas.microsoft.com/office/drawing/2014/main" id="{A3AA9E6A-3B54-EBA8-25AB-52211D52F5E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0FC82D3C-5CAB-DDEA-5BAD-0CE49311B44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DF275CFF-10A6-01B8-606D-73D7A5642263}"/>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sp>
        <p:nvSpPr>
          <p:cNvPr id="5" name="Text Placeholder 42">
            <a:extLst>
              <a:ext uri="{FF2B5EF4-FFF2-40B4-BE49-F238E27FC236}">
                <a16:creationId xmlns:a16="http://schemas.microsoft.com/office/drawing/2014/main" id="{56D07526-2E9D-2AAD-EE94-167EEE1536FF}"/>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cxnSp>
        <p:nvCxnSpPr>
          <p:cNvPr id="4" name="Straight Connector 3">
            <a:extLst>
              <a:ext uri="{FF2B5EF4-FFF2-40B4-BE49-F238E27FC236}">
                <a16:creationId xmlns:a16="http://schemas.microsoft.com/office/drawing/2014/main" id="{8B78E584-630B-6BB7-31DB-22945E35D16E}"/>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10216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7.2 - Divider BlueGreen3">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8" name="Text Placeholder 42">
            <a:extLst>
              <a:ext uri="{FF2B5EF4-FFF2-40B4-BE49-F238E27FC236}">
                <a16:creationId xmlns:a16="http://schemas.microsoft.com/office/drawing/2014/main" id="{BE7F6530-2B80-C2AA-C92D-861D7E8FD530}"/>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3" name="TextBox 12">
            <a:extLst>
              <a:ext uri="{FF2B5EF4-FFF2-40B4-BE49-F238E27FC236}">
                <a16:creationId xmlns:a16="http://schemas.microsoft.com/office/drawing/2014/main" id="{4FBBDEB0-7315-4214-F9C8-48DBCC502C8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3976F6A6-5835-91B8-5B94-A197DCCF65D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146445DD-AC0A-C4BA-03CB-A346CF3E927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sp>
        <p:nvSpPr>
          <p:cNvPr id="3" name="Text Placeholder 42">
            <a:extLst>
              <a:ext uri="{FF2B5EF4-FFF2-40B4-BE49-F238E27FC236}">
                <a16:creationId xmlns:a16="http://schemas.microsoft.com/office/drawing/2014/main" id="{5ED3C240-0F31-AD4B-E3D6-E9E2DFC4EB67}"/>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cxnSp>
        <p:nvCxnSpPr>
          <p:cNvPr id="4" name="Straight Connector 3">
            <a:extLst>
              <a:ext uri="{FF2B5EF4-FFF2-40B4-BE49-F238E27FC236}">
                <a16:creationId xmlns:a16="http://schemas.microsoft.com/office/drawing/2014/main" id="{C935493C-0314-59F4-3E99-CA50A71C90CC}"/>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1575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1.4 - 1xBulle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D5C5286A-148E-6CAC-4953-28CEC8A7AC6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8C09A251-3EA9-3813-C32A-42674B11B3B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Footer Placeholder 2">
            <a:extLst>
              <a:ext uri="{FF2B5EF4-FFF2-40B4-BE49-F238E27FC236}">
                <a16:creationId xmlns:a16="http://schemas.microsoft.com/office/drawing/2014/main" id="{4DDBC5E9-DF95-1530-C94F-AC94C8FDD7B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6F6E148E-AE32-EC04-55CF-5022F79ADEBA}"/>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10542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7.3 - Divider BlueGreen5">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3" name="TextBox 12">
            <a:extLst>
              <a:ext uri="{FF2B5EF4-FFF2-40B4-BE49-F238E27FC236}">
                <a16:creationId xmlns:a16="http://schemas.microsoft.com/office/drawing/2014/main" id="{BC0FACD4-71CC-9E35-CDCC-22C146E52E9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823572DF-299F-8B6C-1E42-1A659F39324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F374EA10-DD32-7823-1E8C-8A5B6454CCCB}"/>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sp>
        <p:nvSpPr>
          <p:cNvPr id="4" name="Text Placeholder 42">
            <a:extLst>
              <a:ext uri="{FF2B5EF4-FFF2-40B4-BE49-F238E27FC236}">
                <a16:creationId xmlns:a16="http://schemas.microsoft.com/office/drawing/2014/main" id="{B4CCFE40-D40E-A7E0-E99F-0E9E3E7CA3B1}"/>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793B8AC4-F4BB-1C6B-E9E1-81AAE91353AA}"/>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38688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7.4 - Divider PurpleBlue2">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0DABAD96-0284-76FF-D804-48E7FFCA08F5}"/>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3" name="TextBox 12">
            <a:extLst>
              <a:ext uri="{FF2B5EF4-FFF2-40B4-BE49-F238E27FC236}">
                <a16:creationId xmlns:a16="http://schemas.microsoft.com/office/drawing/2014/main" id="{06758511-3EE8-4852-763C-F4F1187FA97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4486F512-1927-A0E0-A1C2-79941992D99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38DEF3F3-5CAD-FC0C-F7DD-4A913E71BD35}"/>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sp>
        <p:nvSpPr>
          <p:cNvPr id="4" name="Text Placeholder 42">
            <a:extLst>
              <a:ext uri="{FF2B5EF4-FFF2-40B4-BE49-F238E27FC236}">
                <a16:creationId xmlns:a16="http://schemas.microsoft.com/office/drawing/2014/main" id="{E790325F-8E1D-1D8F-9BC9-63324BDA4002}"/>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15CA3B95-CC6F-4FEB-6208-838206331854}"/>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5608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7.5 - Divider BluePink1">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5" name="Text Placeholder 42">
            <a:extLst>
              <a:ext uri="{FF2B5EF4-FFF2-40B4-BE49-F238E27FC236}">
                <a16:creationId xmlns:a16="http://schemas.microsoft.com/office/drawing/2014/main" id="{513AFDC9-7EA7-195A-AC21-49A03E74AF4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3" name="TextBox 12">
            <a:extLst>
              <a:ext uri="{FF2B5EF4-FFF2-40B4-BE49-F238E27FC236}">
                <a16:creationId xmlns:a16="http://schemas.microsoft.com/office/drawing/2014/main" id="{35665458-1735-3CFE-DB60-E654932058A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B8EAC92C-19BC-5473-42AE-69A4371F286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9E2C85D8-A3A9-A261-1BCF-70106685644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sp>
        <p:nvSpPr>
          <p:cNvPr id="3" name="Text Placeholder 42">
            <a:extLst>
              <a:ext uri="{FF2B5EF4-FFF2-40B4-BE49-F238E27FC236}">
                <a16:creationId xmlns:a16="http://schemas.microsoft.com/office/drawing/2014/main" id="{521CF4E5-14D0-7A0E-3B20-BC1F539D9BFE}"/>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cxnSp>
        <p:nvCxnSpPr>
          <p:cNvPr id="4" name="Straight Connector 3">
            <a:extLst>
              <a:ext uri="{FF2B5EF4-FFF2-40B4-BE49-F238E27FC236}">
                <a16:creationId xmlns:a16="http://schemas.microsoft.com/office/drawing/2014/main" id="{95A401B5-C192-1C5E-DEC6-0208970D3606}"/>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5720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7.6 - Divider Pink1">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522A1BAB-7805-96E3-BA5B-3E8B26D8AA37}"/>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3" name="TextBox 12">
            <a:extLst>
              <a:ext uri="{FF2B5EF4-FFF2-40B4-BE49-F238E27FC236}">
                <a16:creationId xmlns:a16="http://schemas.microsoft.com/office/drawing/2014/main" id="{C4C0B05D-F0F7-15F3-4C17-EED0899C7AF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49857B24-CF63-C1F9-6FBA-114618B4AAB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39CB5136-AC36-0B5E-A3A9-2D5B7B13CF9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sp>
        <p:nvSpPr>
          <p:cNvPr id="4" name="Text Placeholder 42">
            <a:extLst>
              <a:ext uri="{FF2B5EF4-FFF2-40B4-BE49-F238E27FC236}">
                <a16:creationId xmlns:a16="http://schemas.microsoft.com/office/drawing/2014/main" id="{45165F11-ACDF-2F83-0960-B38B3A16DAD5}"/>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07706451-60D5-D91A-8F02-C9976F1594E7}"/>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09798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7.7 - Divider Orange1">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4" name="Text Placeholder 42">
            <a:extLst>
              <a:ext uri="{FF2B5EF4-FFF2-40B4-BE49-F238E27FC236}">
                <a16:creationId xmlns:a16="http://schemas.microsoft.com/office/drawing/2014/main" id="{915CB6A6-17E7-3E33-E841-80BBD7036B36}"/>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3" name="TextBox 12">
            <a:extLst>
              <a:ext uri="{FF2B5EF4-FFF2-40B4-BE49-F238E27FC236}">
                <a16:creationId xmlns:a16="http://schemas.microsoft.com/office/drawing/2014/main" id="{849B4D71-50D7-0502-EF7E-5AAF38E8659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4256B84B-A641-FF3B-04A5-7875DE216F3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DB5AF0F0-B002-CB3B-6A1E-945904E802D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sp>
        <p:nvSpPr>
          <p:cNvPr id="3" name="Text Placeholder 42">
            <a:extLst>
              <a:ext uri="{FF2B5EF4-FFF2-40B4-BE49-F238E27FC236}">
                <a16:creationId xmlns:a16="http://schemas.microsoft.com/office/drawing/2014/main" id="{BFB53FB7-1753-80D0-CDCE-10664D914FBD}"/>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AC6A19A-B08A-3B13-3757-298A0EA8C9AD}"/>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29169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8.1 - End BlueGreen2">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3A71822B-C712-A4E6-919B-405BA7F21A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113608E-22FD-657F-8D07-CD39EC97958A}"/>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DA917A93-F7DB-3A50-D98B-8185FF15DE00}"/>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08D8095F-7FCC-5669-F881-F6661924222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A8F3D3FE-D0C9-59C1-F189-DA228D51A05B}"/>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7F167DEA-E276-FD24-54AA-B4A09328CCE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5BDAA131-A001-A420-C695-237DBC40265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1289778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8.2 - End BlueGreen3">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EF89375-E21D-F63F-06A8-C59355F125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EBD7979C-B9C6-8A09-B241-FD1FED4BAC89}"/>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7B0CAF0-3BC0-2F0C-A2D6-BD2777136ABD}"/>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DFE11313-A28D-C9D5-388D-F3DCE472D73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5423B194-3C18-4ED2-C954-ADB91F99CDD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3A46B4C4-EAE8-DC64-8EE7-085376B9F0C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68AEA7C-4869-2294-8EAF-A87420CD474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1849010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8.3 - End BlueGreen5">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08FFEE3-9429-FB20-94DA-036B3BA28A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F97AAA9-D469-5AE4-F90F-9020A3DDBE0A}"/>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C2E78338-BF1F-47F8-574E-5A79325DD1F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BEABEE7F-B8A9-CDE0-CB0E-B91BA834B8F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42EAFBE4-3E55-88EC-6263-AA83BE68E7C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55877F46-FE15-EE6B-7255-F5187038A7A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F62DDA2E-E23F-3C1F-FBA8-13E4AE5F3526}"/>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380662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8.4 - End PurpleBlue2">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3465075C-3A04-8F21-2D96-F11146239A8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A77D7537-AB6E-150C-8EAC-2488703A5501}"/>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6DD48B6-4C1B-73D2-03B9-15D30FCE5E9E}"/>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64D70B58-DDCB-C449-2352-59773ED88AE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609F40CE-5FD9-0148-24E8-B471F0E808B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921AF8C9-7D93-7437-46E4-70C04BC1FCD9}"/>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4086F6C-E115-654F-39E3-04AE3FA5602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7527178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8.5 - End BluePink1">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39F40A4-C4FE-CE81-4DDE-1096BF05B17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04350EF6-70D2-8CA6-C8B4-23AD48C51B92}"/>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E3C5F24B-DEBE-91F4-60EF-98DB9598FC4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0430F02E-A1F8-79E9-1749-B79A96144ED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FABBDCAD-55AC-A504-7AB9-9EA8B4E0982A}"/>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3870B6CA-17E5-8094-AABA-A4EB4CF4DD7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B471460-440F-63D0-B43A-D4E98094F4B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536942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5 - 2xBulle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6" name="TextBox 15">
            <a:extLst>
              <a:ext uri="{FF2B5EF4-FFF2-40B4-BE49-F238E27FC236}">
                <a16:creationId xmlns:a16="http://schemas.microsoft.com/office/drawing/2014/main" id="{76D7398D-CEE7-3079-FB86-A89C992F31A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3654D0DC-83E2-3257-B441-08F7D9D9447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E47C68A9-7989-FB66-D55B-D66D6874D99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915E90F7-1D56-9D4E-EEB3-850E3973D909}"/>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36354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8.6 - End Pink1">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1011232-FEC1-556E-5D81-2627C46F6D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E305D3B8-631A-ECF6-F436-B2BCDEC1D146}"/>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A5AA4292-461B-4E6C-D0DF-22D79FF5659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E83B83EF-F13E-0C9F-A72E-1028FFB5C1A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7583F4ED-E4FB-BC79-63D6-917602298C36}"/>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D7AF8DF3-63F0-80CE-4E26-5256A0E0248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D0AD8F7-2131-0B88-1728-D3CA421A2D2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8426698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8.7 - Divider Orange1">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AC7C13A4-489B-3211-82FF-868A0A256E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7490672C-BECC-A8CE-2FB2-AF9FB16315DB}"/>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A3EA2D57-26D4-3FE7-0AD1-EEED4BE8BED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3244009B-B9FA-D5C6-D5E3-5563DC7638F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2FD42FBA-921E-BB93-CEB5-51CAED5F599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DADC54FF-C0E3-D235-2C4E-2FB66C6E9ED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E3A682F-0F88-48F0-97B1-60B5B2477F9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5115654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8 - Divider White">
    <p:bg>
      <p:bgPr>
        <a:solidFill>
          <a:schemeClr val="bg1"/>
        </a:solidFill>
        <a:effectLst/>
      </p:bgPr>
    </p:bg>
    <p:spTree>
      <p:nvGrpSpPr>
        <p:cNvPr id="1" name=""/>
        <p:cNvGrpSpPr/>
        <p:nvPr/>
      </p:nvGrpSpPr>
      <p:grpSpPr>
        <a:xfrm>
          <a:off x="0" y="0"/>
          <a:ext cx="0" cy="0"/>
          <a:chOff x="0" y="0"/>
          <a:chExt cx="0" cy="0"/>
        </a:xfrm>
      </p:grpSpPr>
      <p:grpSp>
        <p:nvGrpSpPr>
          <p:cNvPr id="2" name="Graphic 3">
            <a:extLst>
              <a:ext uri="{FF2B5EF4-FFF2-40B4-BE49-F238E27FC236}">
                <a16:creationId xmlns:a16="http://schemas.microsoft.com/office/drawing/2014/main" id="{46DC4F6B-8D28-1514-E83F-9C8BC35CC881}"/>
              </a:ext>
            </a:extLst>
          </p:cNvPr>
          <p:cNvGrpSpPr/>
          <p:nvPr userDrawn="1"/>
        </p:nvGrpSpPr>
        <p:grpSpPr>
          <a:xfrm>
            <a:off x="1833317" y="1954988"/>
            <a:ext cx="5477366" cy="1233523"/>
            <a:chOff x="469958" y="1647414"/>
            <a:chExt cx="8205029" cy="1847802"/>
          </a:xfrm>
          <a:solidFill>
            <a:schemeClr val="accent1"/>
          </a:solidFill>
        </p:grpSpPr>
        <p:sp>
          <p:nvSpPr>
            <p:cNvPr id="3" name="Freeform 10">
              <a:extLst>
                <a:ext uri="{FF2B5EF4-FFF2-40B4-BE49-F238E27FC236}">
                  <a16:creationId xmlns:a16="http://schemas.microsoft.com/office/drawing/2014/main" id="{528AAC0C-F8F7-997C-49C5-2DDCFFEF4C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4" name="Freeform 11">
              <a:extLst>
                <a:ext uri="{FF2B5EF4-FFF2-40B4-BE49-F238E27FC236}">
                  <a16:creationId xmlns:a16="http://schemas.microsoft.com/office/drawing/2014/main" id="{709A296F-6430-7EEE-74D0-2B39CDE8E8C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5" name="Freeform 12">
              <a:extLst>
                <a:ext uri="{FF2B5EF4-FFF2-40B4-BE49-F238E27FC236}">
                  <a16:creationId xmlns:a16="http://schemas.microsoft.com/office/drawing/2014/main" id="{98732BD3-7687-3964-C382-BE79A166885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6" name="Freeform 13">
              <a:extLst>
                <a:ext uri="{FF2B5EF4-FFF2-40B4-BE49-F238E27FC236}">
                  <a16:creationId xmlns:a16="http://schemas.microsoft.com/office/drawing/2014/main" id="{9F629670-5E2F-8BFA-0D73-6127F5336BE0}"/>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9B99146A-4055-2125-3098-1EF0E51C585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5239167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1.2_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0BF7A45-A565-4F4F-A19F-CF82D13EE2BE}"/>
              </a:ext>
            </a:extLst>
          </p:cNvPr>
          <p:cNvGraphicFramePr>
            <a:graphicFrameLocks noChangeAspect="1"/>
          </p:cNvGraphicFramePr>
          <p:nvPr userDrawn="1">
            <p:custDataLst>
              <p:tags r:id="rId1"/>
            </p:custDataLst>
            <p:extLst>
              <p:ext uri="{D42A27DB-BD31-4B8C-83A1-F6EECF244321}">
                <p14:modId xmlns:p14="http://schemas.microsoft.com/office/powerpoint/2010/main" val="2214331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90BF7A45-A565-4F4F-A19F-CF82D13EE2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3A1D69DC-9F16-4CA4-A0E0-1872B8AD5DBC}"/>
              </a:ext>
            </a:extLst>
          </p:cNvPr>
          <p:cNvSpPr>
            <a:spLocks noGrp="1"/>
          </p:cNvSpPr>
          <p:nvPr>
            <p:ph type="ftr" sz="quarter" idx="10"/>
          </p:nvPr>
        </p:nvSpPr>
        <p:spPr/>
        <p:txBody>
          <a:bodyPr/>
          <a:lstStyle>
            <a:lvl1pPr rtl="0">
              <a:defRPr/>
            </a:lvl1pPr>
          </a:lstStyle>
          <a:p>
            <a:r>
              <a:rPr lang="en-GB"/>
              <a:t>Nokia internal use</a:t>
            </a:r>
          </a:p>
        </p:txBody>
      </p:sp>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rtl="0">
              <a:lnSpc>
                <a:spcPct val="100000"/>
              </a:lnSpc>
              <a:spcBef>
                <a:spcPts val="0"/>
              </a:spcBef>
              <a:buNone/>
              <a:defRPr sz="2400" baseline="0">
                <a:solidFill>
                  <a:schemeClr val="tx1"/>
                </a:solidFill>
                <a:latin typeface="Nokia Pure Headline Ultra Light" panose="020B0204020202020204" pitchFamily="34" charset="0"/>
              </a:defRPr>
            </a:lvl1pPr>
          </a:lstStyle>
          <a:p>
            <a:pPr lvl="0"/>
            <a:r>
              <a:rPr lang="en-GB"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rtl="0">
              <a:lnSpc>
                <a:spcPct val="100000"/>
              </a:lnSpc>
              <a:spcBef>
                <a:spcPts val="0"/>
              </a:spcBef>
              <a:buNone/>
              <a:defRPr sz="1800" baseline="0">
                <a:solidFill>
                  <a:schemeClr val="bg2"/>
                </a:solidFill>
                <a:latin typeface="Nokia Pure Headline Ultra Light" panose="020B0204020202020204" pitchFamily="34" charset="0"/>
              </a:defRPr>
            </a:lvl1pPr>
          </a:lstStyle>
          <a:p>
            <a:pPr lvl="0"/>
            <a:r>
              <a:rPr lang="en-GB" noProof="0"/>
              <a:t>Click to edit headline</a:t>
            </a:r>
          </a:p>
        </p:txBody>
      </p:sp>
      <p:sp>
        <p:nvSpPr>
          <p:cNvPr id="5" name="Text Placeholder 3">
            <a:extLst>
              <a:ext uri="{FF2B5EF4-FFF2-40B4-BE49-F238E27FC236}">
                <a16:creationId xmlns:a16="http://schemas.microsoft.com/office/drawing/2014/main" id="{6B3FE214-5976-44EB-8D69-829839140B4A}"/>
              </a:ext>
            </a:extLst>
          </p:cNvPr>
          <p:cNvSpPr>
            <a:spLocks noGrp="1"/>
          </p:cNvSpPr>
          <p:nvPr>
            <p:ph type="body" sz="quarter" idx="14"/>
          </p:nvPr>
        </p:nvSpPr>
        <p:spPr>
          <a:xfrm>
            <a:off x="417600" y="1260000"/>
            <a:ext cx="8308800" cy="3348000"/>
          </a:xfrm>
          <a:prstGeom prst="rect">
            <a:avLst/>
          </a:prstGeom>
        </p:spPr>
        <p:txBody>
          <a:bodyPr lIns="0" tIns="0" rIns="0" bIns="0">
            <a:noAutofit/>
          </a:bodyPr>
          <a:lstStyle>
            <a:lvl1pPr marL="0" indent="0" rtl="0">
              <a:lnSpc>
                <a:spcPct val="100000"/>
              </a:lnSpc>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1pPr>
            <a:lvl2pPr marL="230400" indent="0" rtl="0">
              <a:lnSpc>
                <a:spcPct val="100000"/>
              </a:lnSpc>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2pPr>
            <a:lvl3pPr marL="462600" indent="0" rtl="0">
              <a:lnSpc>
                <a:spcPct val="100000"/>
              </a:lnSpc>
              <a:spcBef>
                <a:spcPts val="0"/>
              </a:spcBef>
              <a:spcAft>
                <a:spcPts val="600"/>
              </a:spcAft>
              <a:buNone/>
              <a:defRPr sz="1100">
                <a:solidFill>
                  <a:schemeClr val="tx2"/>
                </a:solidFill>
                <a:latin typeface="Nokia Pure Text Light" panose="020B0403020202020204" pitchFamily="34" charset="0"/>
                <a:ea typeface="Nokia Pure Text Light" panose="020B0403020202020204" pitchFamily="34" charset="0"/>
              </a:defRPr>
            </a:lvl3pPr>
            <a:lvl4pPr marL="693000" indent="0" rtl="0">
              <a:lnSpc>
                <a:spcPct val="100000"/>
              </a:lnSpc>
              <a:spcBef>
                <a:spcPts val="0"/>
              </a:spcBef>
              <a:spcAft>
                <a:spcPts val="600"/>
              </a:spcAft>
              <a:buNone/>
              <a:defRPr sz="900">
                <a:solidFill>
                  <a:schemeClr val="tx2"/>
                </a:solidFill>
                <a:latin typeface="Nokia Pure Text Light" panose="020B0403020202020204" pitchFamily="34" charset="0"/>
                <a:ea typeface="Nokia Pure Text Light" panose="020B0403020202020204" pitchFamily="34" charset="0"/>
              </a:defRPr>
            </a:lvl4pPr>
            <a:lvl5pPr marL="923400" indent="0" rtl="0">
              <a:lnSpc>
                <a:spcPct val="100000"/>
              </a:lnSpc>
              <a:spcBef>
                <a:spcPts val="0"/>
              </a:spcBef>
              <a:spcAft>
                <a:spcPts val="600"/>
              </a:spcAft>
              <a:buFont typeface="Arial" panose="020B0604020202020204" pitchFamily="34" charset="0"/>
              <a:buNone/>
              <a:defRPr sz="700">
                <a:solidFill>
                  <a:schemeClr val="tx2"/>
                </a:solidFill>
                <a:latin typeface="Nokia Pure Text Light" panose="020B0403020202020204" pitchFamily="34" charset="0"/>
                <a:ea typeface="Nokia Pure Text Light" panose="020B0403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1792127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1.2_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06F6B7-5C7D-4F3A-94B6-A7C99A64A173}"/>
              </a:ext>
            </a:extLst>
          </p:cNvPr>
          <p:cNvGraphicFramePr>
            <a:graphicFrameLocks noChangeAspect="1"/>
          </p:cNvGraphicFramePr>
          <p:nvPr userDrawn="1">
            <p:custDataLst>
              <p:tags r:id="rId1"/>
            </p:custDataLst>
            <p:extLst>
              <p:ext uri="{D42A27DB-BD31-4B8C-83A1-F6EECF244321}">
                <p14:modId xmlns:p14="http://schemas.microsoft.com/office/powerpoint/2010/main" val="406394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AF06F6B7-5C7D-4F3A-94B6-A7C99A64A1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3A1D69DC-9F16-4CA4-A0E0-1872B8AD5DBC}"/>
              </a:ext>
            </a:extLst>
          </p:cNvPr>
          <p:cNvSpPr>
            <a:spLocks noGrp="1"/>
          </p:cNvSpPr>
          <p:nvPr>
            <p:ph type="ftr" sz="quarter" idx="10"/>
          </p:nvPr>
        </p:nvSpPr>
        <p:spPr/>
        <p:txBody>
          <a:bodyPr/>
          <a:lstStyle>
            <a:lvl1pPr rtl="0">
              <a:defRPr/>
            </a:lvl1pPr>
          </a:lstStyle>
          <a:p>
            <a:r>
              <a:rPr lang="en-GB"/>
              <a:t>Nokia internal use</a:t>
            </a:r>
          </a:p>
        </p:txBody>
      </p:sp>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rtl="0">
              <a:lnSpc>
                <a:spcPct val="100000"/>
              </a:lnSpc>
              <a:spcBef>
                <a:spcPts val="0"/>
              </a:spcBef>
              <a:buNone/>
              <a:defRPr sz="2400" baseline="0">
                <a:solidFill>
                  <a:schemeClr val="tx1"/>
                </a:solidFill>
                <a:latin typeface="Nokia Pure Headline Ultra Light" panose="020B0204020202020204" pitchFamily="34" charset="0"/>
              </a:defRPr>
            </a:lvl1pPr>
          </a:lstStyle>
          <a:p>
            <a:pPr lvl="0"/>
            <a:r>
              <a:rPr lang="en-GB"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rtl="0">
              <a:lnSpc>
                <a:spcPct val="100000"/>
              </a:lnSpc>
              <a:spcBef>
                <a:spcPts val="0"/>
              </a:spcBef>
              <a:buNone/>
              <a:defRPr sz="1800" baseline="0">
                <a:solidFill>
                  <a:schemeClr val="bg2"/>
                </a:solidFill>
                <a:latin typeface="Nokia Pure Headline Ultra Light" panose="020B0204020202020204" pitchFamily="34" charset="0"/>
              </a:defRPr>
            </a:lvl1pPr>
          </a:lstStyle>
          <a:p>
            <a:pPr lvl="0"/>
            <a:r>
              <a:rPr lang="en-GB" noProof="0"/>
              <a:t>Click to edit headline</a:t>
            </a:r>
          </a:p>
        </p:txBody>
      </p:sp>
    </p:spTree>
    <p:extLst>
      <p:ext uri="{BB962C8B-B14F-4D97-AF65-F5344CB8AC3E}">
        <p14:creationId xmlns:p14="http://schemas.microsoft.com/office/powerpoint/2010/main" val="40575517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1 Blan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A2CC8E39-9A4E-A4DF-F50E-11E2BDCAFF74}"/>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54684DA7-0D8A-B949-344B-2DA84CB93D5D}"/>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3FF67EED-9146-FEFB-B660-62A252EB5D85}"/>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6E4F0CF6-F16F-8670-1980-E9ED719A0C6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7" name="Graphic 6">
            <a:extLst>
              <a:ext uri="{FF2B5EF4-FFF2-40B4-BE49-F238E27FC236}">
                <a16:creationId xmlns:a16="http://schemas.microsoft.com/office/drawing/2014/main" id="{B08A20F3-D81B-4E7B-B263-E0A94E21A0E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Box 7">
            <a:extLst>
              <a:ext uri="{FF2B5EF4-FFF2-40B4-BE49-F238E27FC236}">
                <a16:creationId xmlns:a16="http://schemas.microsoft.com/office/drawing/2014/main" id="{B6FD18D8-8A02-40CB-9E49-A206DA8D256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D7CAC1F3-6BA2-4B02-847B-2702B2128942}"/>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8F6B3279-691F-4FBE-B89D-9FDCC13CF7A0}"/>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09799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2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55C1BFCD-6D0E-9392-8AF1-AA5AC554C5C9}"/>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660ADFB8-3432-B307-E345-E3F3BD40FB23}"/>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4E8B6B60-CBCC-891E-2583-9E8CD3C9950B}"/>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CBFB85A3-5CE3-2927-6461-99DEDFB9D5F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3" name="Graphic 12">
            <a:extLst>
              <a:ext uri="{FF2B5EF4-FFF2-40B4-BE49-F238E27FC236}">
                <a16:creationId xmlns:a16="http://schemas.microsoft.com/office/drawing/2014/main" id="{0E86827E-2A1D-4304-88AE-6F4094FDD7D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4" name="TextBox 13">
            <a:extLst>
              <a:ext uri="{FF2B5EF4-FFF2-40B4-BE49-F238E27FC236}">
                <a16:creationId xmlns:a16="http://schemas.microsoft.com/office/drawing/2014/main" id="{631356BE-86C3-4135-9920-38DB5FC9ACD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3CCC3E10-8B55-480A-A7A2-4D336A252C9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6" name="Straight Connector 15">
            <a:extLst>
              <a:ext uri="{FF2B5EF4-FFF2-40B4-BE49-F238E27FC236}">
                <a16:creationId xmlns:a16="http://schemas.microsoft.com/office/drawing/2014/main" id="{AB473247-C4E5-4832-B28B-212F02023C89}"/>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52841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tx2"/>
                </a:solidFill>
              </a:defRPr>
            </a:lvl1pPr>
            <a:lvl2pPr marL="180000" indent="0">
              <a:lnSpc>
                <a:spcPct val="100000"/>
              </a:lnSpc>
              <a:spcBef>
                <a:spcPts val="0"/>
              </a:spcBef>
              <a:spcAft>
                <a:spcPts val="600"/>
              </a:spcAft>
              <a:buSzPct val="70000"/>
              <a:buNone/>
              <a:defRPr sz="1200">
                <a:solidFill>
                  <a:schemeClr val="tx2"/>
                </a:solidFill>
              </a:defRPr>
            </a:lvl2pPr>
            <a:lvl3pPr marL="360000" indent="0">
              <a:lnSpc>
                <a:spcPct val="100000"/>
              </a:lnSpc>
              <a:spcBef>
                <a:spcPts val="0"/>
              </a:spcBef>
              <a:spcAft>
                <a:spcPts val="600"/>
              </a:spcAft>
              <a:buSzPct val="70000"/>
              <a:buNone/>
              <a:defRPr sz="1200">
                <a:solidFill>
                  <a:schemeClr val="tx2"/>
                </a:solidFill>
              </a:defRPr>
            </a:lvl3pPr>
            <a:lvl4pPr marL="540000" indent="0">
              <a:lnSpc>
                <a:spcPct val="100000"/>
              </a:lnSpc>
              <a:spcBef>
                <a:spcPts val="0"/>
              </a:spcBef>
              <a:spcAft>
                <a:spcPts val="600"/>
              </a:spcAft>
              <a:buSzPct val="70000"/>
              <a:buNone/>
              <a:defRPr sz="1200">
                <a:solidFill>
                  <a:schemeClr val="tx2"/>
                </a:solidFill>
              </a:defRPr>
            </a:lvl4pPr>
            <a:lvl5pPr marL="720000" indent="0">
              <a:lnSpc>
                <a:spcPct val="100000"/>
              </a:lnSpc>
              <a:spcBef>
                <a:spcPts val="0"/>
              </a:spcBef>
              <a:spcAft>
                <a:spcPts val="600"/>
              </a:spcAft>
              <a:buSzPct val="70000"/>
              <a:buNone/>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752AD69E-8972-FFEB-3CDF-810FC2C15BE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56FD5FAA-4E42-2A01-7A0D-9D47214A39C8}"/>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43C41B3-444A-B935-7F1C-44CC756EF997}"/>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DFE4EE1-1B23-D0EA-39ED-CDDC6ECFE4B2}"/>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C726386B-D9AC-0FCA-9F12-0FA32276F2A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4" name="Graphic 13">
            <a:extLst>
              <a:ext uri="{FF2B5EF4-FFF2-40B4-BE49-F238E27FC236}">
                <a16:creationId xmlns:a16="http://schemas.microsoft.com/office/drawing/2014/main" id="{9201DD6E-1CD7-4179-A911-98D8BFF77CD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26A8B5C9-2285-4700-9AD0-944804F1F35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AAD4F585-1658-44D8-B29A-34D1F302487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071EC1F8-77D2-46C1-95D1-2D433A8815DE}"/>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37963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3772E5D1-F4A4-5034-E057-717754E3543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86B13C58-337C-7F31-E842-1040B36F0D22}"/>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50257226-AE3E-3B65-71BB-8A656558547F}"/>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6FC74384-DD2A-533D-796C-EFFF39625FF5}"/>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ACB227E-CF72-2719-133F-6CBEB353488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4" name="Graphic 13">
            <a:extLst>
              <a:ext uri="{FF2B5EF4-FFF2-40B4-BE49-F238E27FC236}">
                <a16:creationId xmlns:a16="http://schemas.microsoft.com/office/drawing/2014/main" id="{D2028EF4-A9D8-465E-B327-489E89406E0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4E483C78-C3F4-4D99-A860-9E3E14CC759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B1EE4052-A58A-451B-8C2B-5587DC54F99B}"/>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60AA5453-AA65-430E-B664-2C66FA84318D}"/>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75524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CAA37820-182D-1EB7-AF8B-A6B34F63F68F}"/>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CE2E5BE2-B331-A0C0-8C3D-3B644FF16CAA}"/>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C4471E01-4B5D-597C-1AAD-279941B82E1C}"/>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177C34D5-50E3-692A-4113-A20C2953002C}"/>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5" name="Graphic 14">
            <a:extLst>
              <a:ext uri="{FF2B5EF4-FFF2-40B4-BE49-F238E27FC236}">
                <a16:creationId xmlns:a16="http://schemas.microsoft.com/office/drawing/2014/main" id="{248FCF31-C0BC-4D58-9A7C-E0F75D2CE54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6" name="TextBox 15">
            <a:extLst>
              <a:ext uri="{FF2B5EF4-FFF2-40B4-BE49-F238E27FC236}">
                <a16:creationId xmlns:a16="http://schemas.microsoft.com/office/drawing/2014/main" id="{B50C0932-61F7-4B35-9A8A-5614DBF6A4A9}"/>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1014F371-7DD1-48B5-8F1A-EF89DF4F639B}"/>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8" name="Straight Connector 17">
            <a:extLst>
              <a:ext uri="{FF2B5EF4-FFF2-40B4-BE49-F238E27FC236}">
                <a16:creationId xmlns:a16="http://schemas.microsoft.com/office/drawing/2014/main" id="{535F050E-3444-479A-9309-9BCBD982D6D7}"/>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6543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6 - 3xBulle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B3C89AA2-17C4-2311-08AF-1321E11749F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8" name="Slide Number Placeholder 5">
            <a:extLst>
              <a:ext uri="{FF2B5EF4-FFF2-40B4-BE49-F238E27FC236}">
                <a16:creationId xmlns:a16="http://schemas.microsoft.com/office/drawing/2014/main" id="{2713EB45-843B-9A1C-345B-468536A7E05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9" name="Footer Placeholder 2">
            <a:extLst>
              <a:ext uri="{FF2B5EF4-FFF2-40B4-BE49-F238E27FC236}">
                <a16:creationId xmlns:a16="http://schemas.microsoft.com/office/drawing/2014/main" id="{C77A4B8F-49F4-2929-427A-DF7B92A561E5}"/>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5B2E0291-902D-01E0-6FC4-89B560E81BFC}"/>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96995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4095FB67-347C-9744-DDEC-EB9F26AE1E3A}"/>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68A08A66-7F86-F362-AA5F-FEC2F95CF47F}"/>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11E32FE7-F16C-F5A2-7976-C8AE67A2B607}"/>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A1B4CAA9-38F1-6F57-641C-B296225D4BB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2" name="Graphic 11">
            <a:extLst>
              <a:ext uri="{FF2B5EF4-FFF2-40B4-BE49-F238E27FC236}">
                <a16:creationId xmlns:a16="http://schemas.microsoft.com/office/drawing/2014/main" id="{C21B468E-4DE2-4215-9A05-4FF0E671218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7" name="TextBox 16">
            <a:extLst>
              <a:ext uri="{FF2B5EF4-FFF2-40B4-BE49-F238E27FC236}">
                <a16:creationId xmlns:a16="http://schemas.microsoft.com/office/drawing/2014/main" id="{D1CC8E47-6266-416C-9E83-9364B88A8DA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8" name="Slide Number Placeholder 5">
            <a:extLst>
              <a:ext uri="{FF2B5EF4-FFF2-40B4-BE49-F238E27FC236}">
                <a16:creationId xmlns:a16="http://schemas.microsoft.com/office/drawing/2014/main" id="{CA6B3256-3CD2-4D6F-A968-62D63560CA4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9" name="Straight Connector 18">
            <a:extLst>
              <a:ext uri="{FF2B5EF4-FFF2-40B4-BE49-F238E27FC236}">
                <a16:creationId xmlns:a16="http://schemas.microsoft.com/office/drawing/2014/main" id="{D28033D7-87D6-4EE3-BB28-3E2679B45D79}"/>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3163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3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27239245-EC69-0915-96DF-689D05839B68}"/>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11E7D37B-C01D-8FDC-39D7-B6613DBAB486}"/>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12D8ACCE-D657-1865-39B4-712A9F5DDA4A}"/>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CD2F1279-1655-0D51-01CE-FA8A8342117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7" name="Graphic 16">
            <a:extLst>
              <a:ext uri="{FF2B5EF4-FFF2-40B4-BE49-F238E27FC236}">
                <a16:creationId xmlns:a16="http://schemas.microsoft.com/office/drawing/2014/main" id="{78A3A02F-4769-4567-B06B-88A356D0FD4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8" name="TextBox 17">
            <a:extLst>
              <a:ext uri="{FF2B5EF4-FFF2-40B4-BE49-F238E27FC236}">
                <a16:creationId xmlns:a16="http://schemas.microsoft.com/office/drawing/2014/main" id="{8A3716A8-3B27-4362-9CF1-C18ED8C276D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129B1CD0-A60E-4140-AC9B-02E41F840A6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0" name="Straight Connector 19">
            <a:extLst>
              <a:ext uri="{FF2B5EF4-FFF2-40B4-BE49-F238E27FC236}">
                <a16:creationId xmlns:a16="http://schemas.microsoft.com/office/drawing/2014/main" id="{DFC02C4A-3CAF-4DB2-A6F0-B8936A0133CF}"/>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62618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5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tx2"/>
                </a:solidFill>
              </a:defRPr>
            </a:lvl1pPr>
            <a:lvl2pPr marL="408600" indent="-228600">
              <a:lnSpc>
                <a:spcPct val="100000"/>
              </a:lnSpc>
              <a:spcBef>
                <a:spcPts val="0"/>
              </a:spcBef>
              <a:spcAft>
                <a:spcPts val="600"/>
              </a:spcAft>
              <a:buFont typeface="+mj-lt"/>
              <a:buAutoNum type="arabicPeriod" startAt="2"/>
              <a:defRPr sz="1200">
                <a:solidFill>
                  <a:schemeClr val="tx2"/>
                </a:solidFill>
              </a:defRPr>
            </a:lvl2pPr>
            <a:lvl3pPr marL="588600" indent="-228600">
              <a:lnSpc>
                <a:spcPct val="100000"/>
              </a:lnSpc>
              <a:spcBef>
                <a:spcPts val="0"/>
              </a:spcBef>
              <a:spcAft>
                <a:spcPts val="600"/>
              </a:spcAft>
              <a:buFont typeface="+mj-lt"/>
              <a:buAutoNum type="arabicPeriod" startAt="3"/>
              <a:defRPr sz="1200">
                <a:solidFill>
                  <a:schemeClr val="tx2"/>
                </a:solidFill>
              </a:defRPr>
            </a:lvl3pPr>
            <a:lvl4pPr marL="768600" indent="-228600">
              <a:lnSpc>
                <a:spcPct val="100000"/>
              </a:lnSpc>
              <a:spcBef>
                <a:spcPts val="0"/>
              </a:spcBef>
              <a:spcAft>
                <a:spcPts val="600"/>
              </a:spcAft>
              <a:buFont typeface="+mj-lt"/>
              <a:buAutoNum type="arabicPeriod" startAt="4"/>
              <a:defRPr sz="1200">
                <a:solidFill>
                  <a:schemeClr val="tx2"/>
                </a:solidFill>
              </a:defRPr>
            </a:lvl4pPr>
            <a:lvl5pPr marL="957150" indent="-228600">
              <a:lnSpc>
                <a:spcPct val="100000"/>
              </a:lnSpc>
              <a:spcBef>
                <a:spcPts val="0"/>
              </a:spcBef>
              <a:spcAft>
                <a:spcPts val="600"/>
              </a:spcAft>
              <a:buFont typeface="+mj-lt"/>
              <a:buAutoNum type="arabicPeriod" startAt="5"/>
              <a:defRPr sz="1200">
                <a:solidFill>
                  <a:schemeClr val="tx2"/>
                </a:solidFill>
              </a:defRPr>
            </a:lvl5pPr>
          </a:lstStyle>
          <a:p>
            <a:pPr lvl="0"/>
            <a:r>
              <a:rPr lang="en-US" dirty="0"/>
              <a:t>Text here</a:t>
            </a:r>
          </a:p>
          <a:p>
            <a:pPr lvl="1"/>
            <a:r>
              <a:rPr lang="en-US" dirty="0"/>
              <a:t>Text here</a:t>
            </a:r>
          </a:p>
          <a:p>
            <a:pPr lvl="2"/>
            <a:r>
              <a:rPr lang="en-US" dirty="0"/>
              <a:t>Text here</a:t>
            </a:r>
          </a:p>
          <a:p>
            <a:pPr lvl="3"/>
            <a:r>
              <a:rPr lang="en-US" dirty="0"/>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dirty="0"/>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5D6B4C56-703F-C230-A142-8BA0A116DEDB}"/>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1F6435CA-6601-0B80-DBC4-827F05548E98}"/>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6DD1AEB7-7A91-F37A-8098-1A01C413E0CA}"/>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1F0A7CA-1E30-E2BF-7969-46EE62F47BE6}"/>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4" name="Graphic 13">
            <a:extLst>
              <a:ext uri="{FF2B5EF4-FFF2-40B4-BE49-F238E27FC236}">
                <a16:creationId xmlns:a16="http://schemas.microsoft.com/office/drawing/2014/main" id="{CA3A0D1F-7C52-4231-8246-563251906F0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47135843-8E3E-4422-944E-92444D5CDDC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75A11B01-313D-461C-A541-A0A75D60CB0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3FBA38AF-1904-451E-94CB-3479A2724730}"/>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13124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1.2 Titl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accent1"/>
                </a:solidFill>
                <a:latin typeface="Nokia Pure Headline Ultra Light" panose="020B0204020202020204" pitchFamily="34" charset="0"/>
              </a:defRPr>
            </a:lvl1pPr>
          </a:lstStyle>
          <a:p>
            <a:pPr lvl="0"/>
            <a:r>
              <a:rPr lang="en-US" dirty="0"/>
              <a:t>Click to edit headline</a:t>
            </a:r>
          </a:p>
        </p:txBody>
      </p:sp>
      <p:sp>
        <p:nvSpPr>
          <p:cNvPr id="10" name="TextBox 9">
            <a:extLst>
              <a:ext uri="{FF2B5EF4-FFF2-40B4-BE49-F238E27FC236}">
                <a16:creationId xmlns:a16="http://schemas.microsoft.com/office/drawing/2014/main" id="{2F47F401-BF7E-355C-C976-B4494F0FF7C0}"/>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330667D5-1EF4-ED72-580D-4CC841A8EFE5}"/>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2C2BFC7-9CB5-7F26-76B9-912A813A2A55}"/>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6CA1EE-0942-8B45-95D0-3E2681D73D5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8" name="Graphic 7">
            <a:extLst>
              <a:ext uri="{FF2B5EF4-FFF2-40B4-BE49-F238E27FC236}">
                <a16:creationId xmlns:a16="http://schemas.microsoft.com/office/drawing/2014/main" id="{B3F11EB2-D2A8-4A07-B2D4-D66EE248BB7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A4BA6908-B581-4A17-9E03-B9B99115A33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A3D50C94-4FA5-4E1C-A81E-468DBB50E12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D9D5947C-BFAA-40C5-96CA-6611C3D6990E}"/>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78350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_1.2 Title">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9144000" cy="5143500"/>
          </a:xfrm>
          <a:prstGeom prst="rect">
            <a:avLst/>
          </a:prstGeom>
        </p:spPr>
        <p:txBody>
          <a:bodyPr/>
          <a:lstStyle>
            <a:lvl1pPr marL="0" indent="0">
              <a:buNone/>
              <a:defRPr>
                <a:solidFill>
                  <a:schemeClr val="accent4"/>
                </a:solidFill>
              </a:defRPr>
            </a:lvl1pPr>
          </a:lstStyle>
          <a:p>
            <a:r>
              <a:rPr lang="en-US"/>
              <a:t>Click icon to add media</a:t>
            </a:r>
            <a:endParaRPr lang="en-US" dirty="0"/>
          </a:p>
        </p:txBody>
      </p:sp>
      <p:pic>
        <p:nvPicPr>
          <p:cNvPr id="2" name="Graphic 1">
            <a:extLst>
              <a:ext uri="{FF2B5EF4-FFF2-40B4-BE49-F238E27FC236}">
                <a16:creationId xmlns:a16="http://schemas.microsoft.com/office/drawing/2014/main" id="{60A88A15-3ABC-3274-AAF4-8A412DDB8F1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accent1"/>
                </a:solidFill>
                <a:latin typeface="Nokia Pure Headline Ultra Light" panose="020B0204020202020204" pitchFamily="34" charset="0"/>
              </a:defRPr>
            </a:lvl1pPr>
          </a:lstStyle>
          <a:p>
            <a:pPr lvl="0"/>
            <a:r>
              <a:rPr lang="en-US" dirty="0"/>
              <a:t>Click to edit headline</a:t>
            </a:r>
          </a:p>
        </p:txBody>
      </p:sp>
      <p:sp>
        <p:nvSpPr>
          <p:cNvPr id="10" name="TextBox 9">
            <a:extLst>
              <a:ext uri="{FF2B5EF4-FFF2-40B4-BE49-F238E27FC236}">
                <a16:creationId xmlns:a16="http://schemas.microsoft.com/office/drawing/2014/main" id="{2F47F401-BF7E-355C-C976-B4494F0FF7C0}"/>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330667D5-1EF4-ED72-580D-4CC841A8EFE5}"/>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2C2BFC7-9CB5-7F26-76B9-912A813A2A55}"/>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6CA1EE-0942-8B45-95D0-3E2681D73D5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9" name="Graphic 8">
            <a:extLst>
              <a:ext uri="{FF2B5EF4-FFF2-40B4-BE49-F238E27FC236}">
                <a16:creationId xmlns:a16="http://schemas.microsoft.com/office/drawing/2014/main" id="{76717479-FC3D-4EE0-85CF-BD0123C6399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4" name="TextBox 13">
            <a:extLst>
              <a:ext uri="{FF2B5EF4-FFF2-40B4-BE49-F238E27FC236}">
                <a16:creationId xmlns:a16="http://schemas.microsoft.com/office/drawing/2014/main" id="{C2BC80F1-8E75-488B-AD73-EE03DF5542F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4005D0A9-257B-4F23-AE23-28B3F17EF4E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6" name="Straight Connector 15">
            <a:extLst>
              <a:ext uri="{FF2B5EF4-FFF2-40B4-BE49-F238E27FC236}">
                <a16:creationId xmlns:a16="http://schemas.microsoft.com/office/drawing/2014/main" id="{E0B32248-A29A-4730-A941-A75173710111}"/>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7148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6 Half imag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4572000" y="0"/>
            <a:ext cx="4572001" cy="5143500"/>
          </a:xfrm>
          <a:prstGeom prst="rect">
            <a:avLst/>
          </a:prstGeom>
          <a:solidFill>
            <a:schemeClr val="tx2"/>
          </a:solidFill>
        </p:spPr>
        <p:txBody>
          <a:bodyPr/>
          <a:lstStyle>
            <a:lvl1pPr marL="0" indent="0">
              <a:buNone/>
              <a:defRPr sz="1000">
                <a:solidFill>
                  <a:schemeClr val="bg1"/>
                </a:solidFill>
              </a:defRPr>
            </a:lvl1pPr>
          </a:lstStyle>
          <a:p>
            <a:r>
              <a:rPr lang="en-US" dirty="0"/>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459A0509-67CF-F982-C358-C433F16CD83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C853DDBC-443E-D2EE-AA09-F815D5BE49A4}"/>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2828423F-10A4-D452-0424-8A3CAC2408D7}"/>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33D91186-F39A-461C-3CC9-A6507EE465FF}"/>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B5F4FFD2-D5D2-2F5A-BE1E-C1FC6519294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5" name="Graphic 14">
            <a:extLst>
              <a:ext uri="{FF2B5EF4-FFF2-40B4-BE49-F238E27FC236}">
                <a16:creationId xmlns:a16="http://schemas.microsoft.com/office/drawing/2014/main" id="{8E791D0F-C546-412A-A1CA-9287234306D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6" name="TextBox 15">
            <a:extLst>
              <a:ext uri="{FF2B5EF4-FFF2-40B4-BE49-F238E27FC236}">
                <a16:creationId xmlns:a16="http://schemas.microsoft.com/office/drawing/2014/main" id="{B8CE8AE4-FB33-44B4-914A-F63778F6CF4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FDD09A2D-5856-4DA7-A8E9-5B7926296D1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8" name="Straight Connector 17">
            <a:extLst>
              <a:ext uri="{FF2B5EF4-FFF2-40B4-BE49-F238E27FC236}">
                <a16:creationId xmlns:a16="http://schemas.microsoft.com/office/drawing/2014/main" id="{FA9FA96D-DB7A-4B99-9FA3-2633FE267B3C}"/>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95188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7 Half Blue-bl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p:nvSpPr>
        <p:spPr>
          <a:xfrm>
            <a:off x="4572000" y="0"/>
            <a:ext cx="4571999"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F51C177B-3FC8-584E-049C-6A9FE0A186D5}"/>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1C285EB0-637E-9CAE-CF2D-FD5A572F5578}"/>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6" name="Straight Connector 15">
            <a:extLst>
              <a:ext uri="{FF2B5EF4-FFF2-40B4-BE49-F238E27FC236}">
                <a16:creationId xmlns:a16="http://schemas.microsoft.com/office/drawing/2014/main" id="{F69C3BFD-65A3-382D-EA4E-2A6602A965B2}"/>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Footer Placeholder 2">
            <a:extLst>
              <a:ext uri="{FF2B5EF4-FFF2-40B4-BE49-F238E27FC236}">
                <a16:creationId xmlns:a16="http://schemas.microsoft.com/office/drawing/2014/main" id="{ADBADA14-4C6E-3591-235D-3AE34227961E}"/>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
        <p:nvSpPr>
          <p:cNvPr id="11" name="Rectangle 10">
            <a:extLst>
              <a:ext uri="{FF2B5EF4-FFF2-40B4-BE49-F238E27FC236}">
                <a16:creationId xmlns:a16="http://schemas.microsoft.com/office/drawing/2014/main" id="{A3390C99-0508-4ACF-B900-69DCD32E56A9}"/>
              </a:ext>
            </a:extLst>
          </p:cNvPr>
          <p:cNvSpPr/>
          <p:nvPr userDrawn="1"/>
        </p:nvSpPr>
        <p:spPr>
          <a:xfrm>
            <a:off x="4572000" y="0"/>
            <a:ext cx="4571999"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12" name="Graphic 11">
            <a:extLst>
              <a:ext uri="{FF2B5EF4-FFF2-40B4-BE49-F238E27FC236}">
                <a16:creationId xmlns:a16="http://schemas.microsoft.com/office/drawing/2014/main" id="{D0BB90DC-699D-4D4A-8E4F-0F50CB651EC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3" name="TextBox 12">
            <a:extLst>
              <a:ext uri="{FF2B5EF4-FFF2-40B4-BE49-F238E27FC236}">
                <a16:creationId xmlns:a16="http://schemas.microsoft.com/office/drawing/2014/main" id="{0FD70A7F-A334-4CCE-83B7-B341C80CBD3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8" name="Slide Number Placeholder 5">
            <a:extLst>
              <a:ext uri="{FF2B5EF4-FFF2-40B4-BE49-F238E27FC236}">
                <a16:creationId xmlns:a16="http://schemas.microsoft.com/office/drawing/2014/main" id="{EBDD7473-D612-4444-AD15-D2C377DBD23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9" name="Straight Connector 18">
            <a:extLst>
              <a:ext uri="{FF2B5EF4-FFF2-40B4-BE49-F238E27FC236}">
                <a16:creationId xmlns:a16="http://schemas.microsoft.com/office/drawing/2014/main" id="{652BBE4D-CF93-46A8-BE80-CE1D37DA610A}"/>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02875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1.6 Half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3096000" y="0"/>
            <a:ext cx="6048000" cy="5143500"/>
          </a:xfrm>
          <a:prstGeom prst="rect">
            <a:avLst/>
          </a:prstGeom>
          <a:solidFill>
            <a:schemeClr val="tx2"/>
          </a:solidFill>
        </p:spPr>
        <p:txBody>
          <a:bodyPr/>
          <a:lstStyle>
            <a:lvl1pPr marL="0" indent="0">
              <a:buNone/>
              <a:defRPr sz="1000">
                <a:solidFill>
                  <a:schemeClr val="bg1"/>
                </a:solidFill>
              </a:defRPr>
            </a:lvl1pPr>
          </a:lstStyle>
          <a:p>
            <a:r>
              <a:rPr lang="en-US" dirty="0"/>
              <a:t>Click to add picture</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C629DB26-11E5-ACF0-2010-650C54042802}"/>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48CDC4FF-5FCD-6139-0116-3D836D14605C}"/>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6" name="Straight Connector 15">
            <a:extLst>
              <a:ext uri="{FF2B5EF4-FFF2-40B4-BE49-F238E27FC236}">
                <a16:creationId xmlns:a16="http://schemas.microsoft.com/office/drawing/2014/main" id="{E0338BE9-E41F-8369-F9D3-6CF495630322}"/>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Footer Placeholder 2">
            <a:extLst>
              <a:ext uri="{FF2B5EF4-FFF2-40B4-BE49-F238E27FC236}">
                <a16:creationId xmlns:a16="http://schemas.microsoft.com/office/drawing/2014/main" id="{20839AE3-23F8-8E55-3FA3-1B4150432C0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1" name="Graphic 10">
            <a:extLst>
              <a:ext uri="{FF2B5EF4-FFF2-40B4-BE49-F238E27FC236}">
                <a16:creationId xmlns:a16="http://schemas.microsoft.com/office/drawing/2014/main" id="{57BB35BD-F944-4A67-A21D-F06C2389F09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2" name="TextBox 11">
            <a:extLst>
              <a:ext uri="{FF2B5EF4-FFF2-40B4-BE49-F238E27FC236}">
                <a16:creationId xmlns:a16="http://schemas.microsoft.com/office/drawing/2014/main" id="{189C588A-3AE0-45E1-AF86-8E1DC5C50CB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F17300EA-91F8-4960-BFC5-1F164148DBD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8" name="Straight Connector 17">
            <a:extLst>
              <a:ext uri="{FF2B5EF4-FFF2-40B4-BE49-F238E27FC236}">
                <a16:creationId xmlns:a16="http://schemas.microsoft.com/office/drawing/2014/main" id="{F7722F97-C0FE-45D7-89AB-535194896E38}"/>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2600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1.7 Half Blue-bl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p:nvSpPr>
        <p:spPr>
          <a:xfrm>
            <a:off x="3096000" y="0"/>
            <a:ext cx="604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A17DAC68-7FA5-283E-0003-FC78D893CBCB}"/>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7A5133E-5A19-2135-6AC8-95A70D3E4589}"/>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56AF0067-8CB1-581C-E8B3-761B8AA85710}"/>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39B62371-B8A4-2689-1BCB-5F7AC2C2FF1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
        <p:nvSpPr>
          <p:cNvPr id="15" name="Rectangle 14">
            <a:extLst>
              <a:ext uri="{FF2B5EF4-FFF2-40B4-BE49-F238E27FC236}">
                <a16:creationId xmlns:a16="http://schemas.microsoft.com/office/drawing/2014/main" id="{D6628FAE-8459-4477-B3C6-0CD5187A7C50}"/>
              </a:ext>
            </a:extLst>
          </p:cNvPr>
          <p:cNvSpPr/>
          <p:nvPr userDrawn="1"/>
        </p:nvSpPr>
        <p:spPr>
          <a:xfrm>
            <a:off x="3096000" y="0"/>
            <a:ext cx="604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16" name="Graphic 15">
            <a:extLst>
              <a:ext uri="{FF2B5EF4-FFF2-40B4-BE49-F238E27FC236}">
                <a16:creationId xmlns:a16="http://schemas.microsoft.com/office/drawing/2014/main" id="{771B26DC-5984-4640-BFDD-17E03AD0523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7" name="TextBox 16">
            <a:extLst>
              <a:ext uri="{FF2B5EF4-FFF2-40B4-BE49-F238E27FC236}">
                <a16:creationId xmlns:a16="http://schemas.microsoft.com/office/drawing/2014/main" id="{4553BA75-B710-4B9B-9591-D2D90B27656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8" name="Slide Number Placeholder 5">
            <a:extLst>
              <a:ext uri="{FF2B5EF4-FFF2-40B4-BE49-F238E27FC236}">
                <a16:creationId xmlns:a16="http://schemas.microsoft.com/office/drawing/2014/main" id="{178D17B7-7C8E-4643-B7BE-94EA383947C4}"/>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9" name="Straight Connector 18">
            <a:extLst>
              <a:ext uri="{FF2B5EF4-FFF2-40B4-BE49-F238E27FC236}">
                <a16:creationId xmlns:a16="http://schemas.microsoft.com/office/drawing/2014/main" id="{D354B391-5763-4118-8DA1-73AABB57D9B0}"/>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26911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1.1 Blank">
    <p:bg>
      <p:bgPr>
        <a:solidFill>
          <a:schemeClr val="tx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A39A41EB-58FB-922A-AD7C-3AE3F195AE90}"/>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A76F728-DC69-4AD8-9AEF-5B486F400969}"/>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E9B1CC16-8142-C9B4-AA53-7C6F5EB64956}"/>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22520D9A-9611-C82A-E40B-BC50B9BE663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7" name="Graphic 6">
            <a:extLst>
              <a:ext uri="{FF2B5EF4-FFF2-40B4-BE49-F238E27FC236}">
                <a16:creationId xmlns:a16="http://schemas.microsoft.com/office/drawing/2014/main" id="{315F5DFB-3647-4167-819C-A29B9EC0D86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Box 7">
            <a:extLst>
              <a:ext uri="{FF2B5EF4-FFF2-40B4-BE49-F238E27FC236}">
                <a16:creationId xmlns:a16="http://schemas.microsoft.com/office/drawing/2014/main" id="{847696D4-CCE6-4282-AD09-3CDA7F5EA71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D6983DCE-8D19-4A30-B9C8-EEA761425B0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0B02F189-6AC2-4251-84D0-582CB4B1E847}"/>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24324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7 - 4xBulle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Box 17">
            <a:extLst>
              <a:ext uri="{FF2B5EF4-FFF2-40B4-BE49-F238E27FC236}">
                <a16:creationId xmlns:a16="http://schemas.microsoft.com/office/drawing/2014/main" id="{77523A0E-155F-824D-4618-C556416C4BC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3DCBE36C-4C66-1188-03D3-624F2E47A38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0" name="Footer Placeholder 2">
            <a:extLst>
              <a:ext uri="{FF2B5EF4-FFF2-40B4-BE49-F238E27FC236}">
                <a16:creationId xmlns:a16="http://schemas.microsoft.com/office/drawing/2014/main" id="{45644240-BAFF-42B5-1A7E-4A3EC1F84D9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E87E5C0D-10A2-12FD-CA5E-E2BDF720F8DF}"/>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785195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1.2 Title">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AE26DEAE-F305-C645-6B32-DF908A237FC6}"/>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761FD5D9-C8CE-C240-0A2D-0C2075105609}"/>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41AC439E-0DDA-84C5-68C7-53D323ED0EC1}"/>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09A6CDBE-EDE4-1381-C4AF-F7D0ED869487}"/>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3" name="Graphic 12">
            <a:extLst>
              <a:ext uri="{FF2B5EF4-FFF2-40B4-BE49-F238E27FC236}">
                <a16:creationId xmlns:a16="http://schemas.microsoft.com/office/drawing/2014/main" id="{E665E0C3-B9A1-4504-969C-FAE771BAE45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4" name="TextBox 13">
            <a:extLst>
              <a:ext uri="{FF2B5EF4-FFF2-40B4-BE49-F238E27FC236}">
                <a16:creationId xmlns:a16="http://schemas.microsoft.com/office/drawing/2014/main" id="{38CBA3CD-60FF-493F-B47F-B15408A0F2A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F3EE722E-90C2-4D45-9573-7078DBECC13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6" name="Straight Connector 15">
            <a:extLst>
              <a:ext uri="{FF2B5EF4-FFF2-40B4-BE49-F238E27FC236}">
                <a16:creationId xmlns:a16="http://schemas.microsoft.com/office/drawing/2014/main" id="{3B4FA6FB-A241-46A0-BBEE-C09F6DB97430}"/>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15862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1.3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bg1"/>
                </a:solidFill>
              </a:defRPr>
            </a:lvl1pPr>
            <a:lvl2pPr marL="180000" indent="0">
              <a:lnSpc>
                <a:spcPct val="100000"/>
              </a:lnSpc>
              <a:spcBef>
                <a:spcPts val="0"/>
              </a:spcBef>
              <a:spcAft>
                <a:spcPts val="600"/>
              </a:spcAft>
              <a:buSzPct val="70000"/>
              <a:buNone/>
              <a:defRPr sz="1200">
                <a:solidFill>
                  <a:schemeClr val="bg1"/>
                </a:solidFill>
              </a:defRPr>
            </a:lvl2pPr>
            <a:lvl3pPr marL="360000" indent="0">
              <a:lnSpc>
                <a:spcPct val="100000"/>
              </a:lnSpc>
              <a:spcBef>
                <a:spcPts val="0"/>
              </a:spcBef>
              <a:spcAft>
                <a:spcPts val="600"/>
              </a:spcAft>
              <a:buSzPct val="70000"/>
              <a:buNone/>
              <a:defRPr sz="1200">
                <a:solidFill>
                  <a:schemeClr val="bg1"/>
                </a:solidFill>
              </a:defRPr>
            </a:lvl3pPr>
            <a:lvl4pPr marL="540000" indent="0">
              <a:lnSpc>
                <a:spcPct val="100000"/>
              </a:lnSpc>
              <a:spcBef>
                <a:spcPts val="0"/>
              </a:spcBef>
              <a:spcAft>
                <a:spcPts val="600"/>
              </a:spcAft>
              <a:buSzPct val="70000"/>
              <a:buNone/>
              <a:defRPr sz="1200">
                <a:solidFill>
                  <a:schemeClr val="bg1"/>
                </a:solidFill>
              </a:defRPr>
            </a:lvl4pPr>
            <a:lvl5pPr marL="720000" indent="0">
              <a:lnSpc>
                <a:spcPct val="100000"/>
              </a:lnSpc>
              <a:spcBef>
                <a:spcPts val="0"/>
              </a:spcBef>
              <a:spcAft>
                <a:spcPts val="600"/>
              </a:spcAft>
              <a:buSzPct val="70000"/>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752AD69E-8972-FFEB-3CDF-810FC2C15BE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37B7B596-4152-517C-5C30-64F14F1B9A2E}"/>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8C58317-1366-95A8-E74C-B47D5FE79D6E}"/>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30F4086A-EEE4-7238-CF78-1C3E853BE875}"/>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00D26E4F-5A2F-75BE-4956-4C895F30A9F7}"/>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4" name="Graphic 13">
            <a:extLst>
              <a:ext uri="{FF2B5EF4-FFF2-40B4-BE49-F238E27FC236}">
                <a16:creationId xmlns:a16="http://schemas.microsoft.com/office/drawing/2014/main" id="{0D97D9FB-71B1-47D7-989B-4BCDD7C860D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141988E0-B94E-4B97-9DFF-FE82236C20C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D7692908-5B3B-4416-B34E-135FA0857DF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34712C0D-F978-4AB0-A40F-08A036E0E2FE}"/>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8225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3772E5D1-F4A4-5034-E057-717754E3543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88EED543-A0D2-4B1E-84AB-35BA8760AB4B}"/>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E1B1C6CE-73A8-5D3B-7402-E61E80018DF8}"/>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0AF05F9E-C966-5628-2820-8F1395BF81EA}"/>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0B9B0982-1098-65B6-0BE1-70000891D5B5}"/>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4" name="Graphic 13">
            <a:extLst>
              <a:ext uri="{FF2B5EF4-FFF2-40B4-BE49-F238E27FC236}">
                <a16:creationId xmlns:a16="http://schemas.microsoft.com/office/drawing/2014/main" id="{7504DE3F-8AE7-4225-9AF1-FF71E29126C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AF0C3DC5-C5A8-484E-BBD8-F8A5FF67D15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DC0A33C4-6B84-422B-95F3-CD6F11A2BAA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B822B7D3-9914-4E1D-8D71-4B562FDE5444}"/>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737011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5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9C7DDDB1-93FF-2E9E-1523-25C0AAD59DF2}"/>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68F1AEE4-E0F5-CB51-2839-A6829D6302CC}"/>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F02EAA2F-400B-986E-5A5D-4153560C0C71}"/>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D1B7E901-0A28-DA54-D8A7-5F7C60E94EE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5" name="Graphic 14">
            <a:extLst>
              <a:ext uri="{FF2B5EF4-FFF2-40B4-BE49-F238E27FC236}">
                <a16:creationId xmlns:a16="http://schemas.microsoft.com/office/drawing/2014/main" id="{217CB0C3-E8FA-4233-AABC-02A49F11FB4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6" name="TextBox 15">
            <a:extLst>
              <a:ext uri="{FF2B5EF4-FFF2-40B4-BE49-F238E27FC236}">
                <a16:creationId xmlns:a16="http://schemas.microsoft.com/office/drawing/2014/main" id="{2D185415-7ACC-4689-9883-4A0532E883D9}"/>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1793A584-5965-4F09-ACF7-AD82E2AD420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8" name="Straight Connector 17">
            <a:extLst>
              <a:ext uri="{FF2B5EF4-FFF2-40B4-BE49-F238E27FC236}">
                <a16:creationId xmlns:a16="http://schemas.microsoft.com/office/drawing/2014/main" id="{E8EFF81B-37D7-41E6-BF8C-17AEC444C4A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3329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6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Box 2">
            <a:extLst>
              <a:ext uri="{FF2B5EF4-FFF2-40B4-BE49-F238E27FC236}">
                <a16:creationId xmlns:a16="http://schemas.microsoft.com/office/drawing/2014/main" id="{36385816-6569-35D3-5A7C-C29AD01DAA6F}"/>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8C37985A-D671-5872-8D8B-469FEF283996}"/>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90B45F8-CBC4-7A3B-7C6A-F7367BB24795}"/>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FF8E67C-8567-FFCB-4C89-6BEA15B27033}"/>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2" name="Graphic 11">
            <a:extLst>
              <a:ext uri="{FF2B5EF4-FFF2-40B4-BE49-F238E27FC236}">
                <a16:creationId xmlns:a16="http://schemas.microsoft.com/office/drawing/2014/main" id="{9F2C3570-B658-47AF-810A-1893516798E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6" name="TextBox 15">
            <a:extLst>
              <a:ext uri="{FF2B5EF4-FFF2-40B4-BE49-F238E27FC236}">
                <a16:creationId xmlns:a16="http://schemas.microsoft.com/office/drawing/2014/main" id="{1337102B-230F-4693-B1BF-E368260FECA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10C007B6-E7CD-4AA2-8979-BA77319BA94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8" name="Straight Connector 17">
            <a:extLst>
              <a:ext uri="{FF2B5EF4-FFF2-40B4-BE49-F238E27FC236}">
                <a16:creationId xmlns:a16="http://schemas.microsoft.com/office/drawing/2014/main" id="{2F4A3C23-370E-4525-B833-4A3909B9DAF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51289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7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1F0ADB73-9C9A-832B-D8BF-9AF20DAA1064}"/>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65BF0B68-A9EA-223F-2B7F-9D6F0EEB645C}"/>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64673BBF-80EC-695B-A9CC-59A70D3443DD}"/>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ACAC8A9F-15DB-739A-7B06-E325184316B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7" name="Graphic 16">
            <a:extLst>
              <a:ext uri="{FF2B5EF4-FFF2-40B4-BE49-F238E27FC236}">
                <a16:creationId xmlns:a16="http://schemas.microsoft.com/office/drawing/2014/main" id="{5DA0EEA2-94E4-4190-AA99-B244297F426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8" name="TextBox 17">
            <a:extLst>
              <a:ext uri="{FF2B5EF4-FFF2-40B4-BE49-F238E27FC236}">
                <a16:creationId xmlns:a16="http://schemas.microsoft.com/office/drawing/2014/main" id="{4D26AD7D-874D-4293-866C-C98C01BE691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524AEADD-1C8B-4E45-A9FE-D7AA327FC1A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0" name="Straight Connector 19">
            <a:extLst>
              <a:ext uri="{FF2B5EF4-FFF2-40B4-BE49-F238E27FC236}">
                <a16:creationId xmlns:a16="http://schemas.microsoft.com/office/drawing/2014/main" id="{80786584-A79B-4643-987D-38A68AF08F7C}"/>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39648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1.5 Numbered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bg1"/>
                </a:solidFill>
              </a:defRPr>
            </a:lvl1pPr>
            <a:lvl2pPr marL="408600" indent="-228600">
              <a:lnSpc>
                <a:spcPct val="100000"/>
              </a:lnSpc>
              <a:spcBef>
                <a:spcPts val="0"/>
              </a:spcBef>
              <a:spcAft>
                <a:spcPts val="600"/>
              </a:spcAft>
              <a:buFont typeface="+mj-lt"/>
              <a:buAutoNum type="arabicPeriod" startAt="2"/>
              <a:defRPr sz="1200">
                <a:solidFill>
                  <a:schemeClr val="bg1"/>
                </a:solidFill>
              </a:defRPr>
            </a:lvl2pPr>
            <a:lvl3pPr marL="588600" indent="-228600">
              <a:lnSpc>
                <a:spcPct val="100000"/>
              </a:lnSpc>
              <a:spcBef>
                <a:spcPts val="0"/>
              </a:spcBef>
              <a:spcAft>
                <a:spcPts val="600"/>
              </a:spcAft>
              <a:buFont typeface="+mj-lt"/>
              <a:buAutoNum type="arabicPeriod" startAt="3"/>
              <a:defRPr sz="1200">
                <a:solidFill>
                  <a:schemeClr val="bg1"/>
                </a:solidFill>
              </a:defRPr>
            </a:lvl3pPr>
            <a:lvl4pPr marL="768600" indent="-228600">
              <a:lnSpc>
                <a:spcPct val="100000"/>
              </a:lnSpc>
              <a:spcBef>
                <a:spcPts val="0"/>
              </a:spcBef>
              <a:spcAft>
                <a:spcPts val="600"/>
              </a:spcAft>
              <a:buFont typeface="+mj-lt"/>
              <a:buAutoNum type="arabicPeriod" startAt="4"/>
              <a:defRPr sz="1200">
                <a:solidFill>
                  <a:schemeClr val="bg1"/>
                </a:solidFill>
              </a:defRPr>
            </a:lvl4pPr>
            <a:lvl5pPr marL="957150" indent="-228600">
              <a:lnSpc>
                <a:spcPct val="100000"/>
              </a:lnSpc>
              <a:spcBef>
                <a:spcPts val="0"/>
              </a:spcBef>
              <a:spcAft>
                <a:spcPts val="600"/>
              </a:spcAft>
              <a:buFont typeface="+mj-lt"/>
              <a:buAutoNum type="arabicPeriod" startAt="5"/>
              <a:defRPr sz="1200">
                <a:solidFill>
                  <a:schemeClr val="bg1"/>
                </a:solidFill>
              </a:defRPr>
            </a:lvl5pPr>
          </a:lstStyle>
          <a:p>
            <a:pPr lvl="0"/>
            <a:r>
              <a:rPr lang="en-US" dirty="0"/>
              <a:t>Text here</a:t>
            </a:r>
          </a:p>
          <a:p>
            <a:pPr lvl="1"/>
            <a:r>
              <a:rPr lang="en-US" dirty="0"/>
              <a:t>Text here</a:t>
            </a:r>
          </a:p>
          <a:p>
            <a:pPr lvl="2"/>
            <a:r>
              <a:rPr lang="en-US" dirty="0"/>
              <a:t>Text here</a:t>
            </a:r>
          </a:p>
          <a:p>
            <a:pPr lvl="3"/>
            <a:r>
              <a:rPr lang="en-US" dirty="0"/>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dirty="0"/>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F8516E12-24DD-827E-B42A-FEADBBD6DA70}"/>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713F659-CB75-ECA4-9103-AA521D00BDB0}"/>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B0A1277-1BCA-C1CE-6430-E1E6743CC5FF}"/>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E0B17C7F-E98A-8FDB-6CD3-CC1B3B501776}"/>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4" name="Graphic 13">
            <a:extLst>
              <a:ext uri="{FF2B5EF4-FFF2-40B4-BE49-F238E27FC236}">
                <a16:creationId xmlns:a16="http://schemas.microsoft.com/office/drawing/2014/main" id="{23ED8A28-0099-43C9-8AB9-EF966319EC6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305DDA54-CE6F-4923-9717-A91BEF37F99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9A8D6F0D-DAA1-4E88-AB6E-A49E6CE0E10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4975ABA8-9DC8-45B4-B220-055AA1FB59B9}"/>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54205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1.2 Title">
    <p:bg>
      <p:bgPr>
        <a:solidFill>
          <a:schemeClr val="tx2"/>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4" name="TextBox 3">
            <a:extLst>
              <a:ext uri="{FF2B5EF4-FFF2-40B4-BE49-F238E27FC236}">
                <a16:creationId xmlns:a16="http://schemas.microsoft.com/office/drawing/2014/main" id="{384EEC12-342F-20C4-7110-A4D3E49D8108}"/>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8B34894-7D04-B556-71DC-63B1F0B80E51}"/>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659BBD8A-CCCC-D36F-0927-C874A9F182C4}"/>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457AC74E-913E-18AF-F13F-D6868891C99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8" name="Graphic 7">
            <a:extLst>
              <a:ext uri="{FF2B5EF4-FFF2-40B4-BE49-F238E27FC236}">
                <a16:creationId xmlns:a16="http://schemas.microsoft.com/office/drawing/2014/main" id="{3CF6B380-627C-4D0B-B482-71B674ADC24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6DFD9A67-B992-436B-99A5-977C7E79031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9CAA356C-C783-445E-BAD4-3CF6ABC0762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5CD502EF-F542-4E71-A0EB-F7E96D539F40}"/>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66287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4_1.2 Title">
    <p:bg>
      <p:bgPr>
        <a:solidFill>
          <a:schemeClr val="tx2"/>
        </a:solidFill>
        <a:effectLst/>
      </p:bgPr>
    </p:bg>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BA013C72-05A6-BC67-924F-AD55DE815D0C}"/>
              </a:ext>
            </a:extLst>
          </p:cNvPr>
          <p:cNvSpPr>
            <a:spLocks noGrp="1"/>
          </p:cNvSpPr>
          <p:nvPr>
            <p:ph type="media" sz="quarter" idx="12"/>
          </p:nvPr>
        </p:nvSpPr>
        <p:spPr>
          <a:xfrm>
            <a:off x="0" y="0"/>
            <a:ext cx="9144000" cy="5143500"/>
          </a:xfrm>
          <a:prstGeom prst="rect">
            <a:avLst/>
          </a:prstGeom>
        </p:spPr>
        <p:txBody>
          <a:bodyPr/>
          <a:lstStyle>
            <a:lvl1pPr marL="0" indent="0">
              <a:buNone/>
              <a:defRPr>
                <a:solidFill>
                  <a:schemeClr val="accent4"/>
                </a:solidFill>
              </a:defRPr>
            </a:lvl1pPr>
          </a:lstStyle>
          <a:p>
            <a:r>
              <a:rPr lang="en-US"/>
              <a:t>Click icon to add media</a:t>
            </a:r>
            <a:endParaRPr lang="en-US" dirty="0"/>
          </a:p>
        </p:txBody>
      </p:sp>
      <p:pic>
        <p:nvPicPr>
          <p:cNvPr id="2" name="Graphic 1">
            <a:extLst>
              <a:ext uri="{FF2B5EF4-FFF2-40B4-BE49-F238E27FC236}">
                <a16:creationId xmlns:a16="http://schemas.microsoft.com/office/drawing/2014/main" id="{60A88A15-3ABC-3274-AAF4-8A412DDB8F1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4" name="TextBox 3">
            <a:extLst>
              <a:ext uri="{FF2B5EF4-FFF2-40B4-BE49-F238E27FC236}">
                <a16:creationId xmlns:a16="http://schemas.microsoft.com/office/drawing/2014/main" id="{384EEC12-342F-20C4-7110-A4D3E49D8108}"/>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8B34894-7D04-B556-71DC-63B1F0B80E51}"/>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659BBD8A-CCCC-D36F-0927-C874A9F182C4}"/>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457AC74E-913E-18AF-F13F-D6868891C99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9" name="Graphic 8">
            <a:extLst>
              <a:ext uri="{FF2B5EF4-FFF2-40B4-BE49-F238E27FC236}">
                <a16:creationId xmlns:a16="http://schemas.microsoft.com/office/drawing/2014/main" id="{4EB8DD6E-C0CC-4849-B915-D85C4601497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2" name="TextBox 11">
            <a:extLst>
              <a:ext uri="{FF2B5EF4-FFF2-40B4-BE49-F238E27FC236}">
                <a16:creationId xmlns:a16="http://schemas.microsoft.com/office/drawing/2014/main" id="{EB8DCEF8-5E0F-4B1D-8830-D62E6402678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AA4D7260-229B-447A-A954-9375ADB5080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248EB86D-F168-458B-944E-BC506D5E6874}"/>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02541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_1.6 Half image">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4572000" y="0"/>
            <a:ext cx="4572001" cy="5143500"/>
          </a:xfrm>
          <a:prstGeom prst="rect">
            <a:avLst/>
          </a:prstGeom>
          <a:solidFill>
            <a:schemeClr val="tx1"/>
          </a:solidFill>
        </p:spPr>
        <p:txBody>
          <a:bodyPr/>
          <a:lstStyle>
            <a:lvl1pPr marL="0" indent="0">
              <a:buNone/>
              <a:defRPr sz="1000">
                <a:solidFill>
                  <a:schemeClr val="bg1"/>
                </a:solidFill>
              </a:defRPr>
            </a:lvl1pPr>
          </a:lstStyle>
          <a:p>
            <a:r>
              <a:rPr lang="en-US" dirty="0"/>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459A0509-67CF-F982-C358-C433F16CD83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BC98A014-7BCB-58F3-B1D1-D4FD8EC7EB8A}"/>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00F343F-6D93-CB75-9580-B22F74F2267C}"/>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9C790EE6-1AD1-02A2-97B8-A6005C99629F}"/>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7AA931E6-4B7F-669F-C445-1B4D50411BE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5" name="Graphic 14">
            <a:extLst>
              <a:ext uri="{FF2B5EF4-FFF2-40B4-BE49-F238E27FC236}">
                <a16:creationId xmlns:a16="http://schemas.microsoft.com/office/drawing/2014/main" id="{2DCA95E7-EEB8-459B-9D31-A298E272E74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6" name="TextBox 15">
            <a:extLst>
              <a:ext uri="{FF2B5EF4-FFF2-40B4-BE49-F238E27FC236}">
                <a16:creationId xmlns:a16="http://schemas.microsoft.com/office/drawing/2014/main" id="{EFBFC1E4-E047-4A1A-8C77-E68E959A253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C80EABA9-9B73-4BCA-AF77-191249DD2BE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8" name="Straight Connector 17">
            <a:extLst>
              <a:ext uri="{FF2B5EF4-FFF2-40B4-BE49-F238E27FC236}">
                <a16:creationId xmlns:a16="http://schemas.microsoft.com/office/drawing/2014/main" id="{46EC7AEC-C31E-4C09-BC0B-7A4A021937E8}"/>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1287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1.8 - Numbered">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tx2"/>
                </a:solidFill>
              </a:defRPr>
            </a:lvl1pPr>
            <a:lvl2pPr marL="408600" indent="-228600">
              <a:lnSpc>
                <a:spcPct val="100000"/>
              </a:lnSpc>
              <a:spcBef>
                <a:spcPts val="0"/>
              </a:spcBef>
              <a:spcAft>
                <a:spcPts val="600"/>
              </a:spcAft>
              <a:buFont typeface="+mj-lt"/>
              <a:buAutoNum type="arabicPeriod" startAt="2"/>
              <a:defRPr sz="1200">
                <a:solidFill>
                  <a:schemeClr val="tx2"/>
                </a:solidFill>
              </a:defRPr>
            </a:lvl2pPr>
            <a:lvl3pPr marL="588600" indent="-228600">
              <a:lnSpc>
                <a:spcPct val="100000"/>
              </a:lnSpc>
              <a:spcBef>
                <a:spcPts val="0"/>
              </a:spcBef>
              <a:spcAft>
                <a:spcPts val="600"/>
              </a:spcAft>
              <a:buFont typeface="+mj-lt"/>
              <a:buAutoNum type="arabicPeriod" startAt="3"/>
              <a:defRPr sz="1200">
                <a:solidFill>
                  <a:schemeClr val="tx2"/>
                </a:solidFill>
              </a:defRPr>
            </a:lvl3pPr>
            <a:lvl4pPr marL="768600" indent="-228600">
              <a:lnSpc>
                <a:spcPct val="100000"/>
              </a:lnSpc>
              <a:spcBef>
                <a:spcPts val="0"/>
              </a:spcBef>
              <a:spcAft>
                <a:spcPts val="600"/>
              </a:spcAft>
              <a:buFont typeface="+mj-lt"/>
              <a:buAutoNum type="arabicPeriod" startAt="4"/>
              <a:defRPr sz="1200">
                <a:solidFill>
                  <a:schemeClr val="tx2"/>
                </a:solidFill>
              </a:defRPr>
            </a:lvl4pPr>
            <a:lvl5pPr marL="957150" indent="-228600">
              <a:lnSpc>
                <a:spcPct val="100000"/>
              </a:lnSpc>
              <a:spcBef>
                <a:spcPts val="0"/>
              </a:spcBef>
              <a:spcAft>
                <a:spcPts val="600"/>
              </a:spcAft>
              <a:buFont typeface="+mj-lt"/>
              <a:buAutoNum type="arabicPeriod" startAt="5"/>
              <a:defRPr sz="1200">
                <a:solidFill>
                  <a:schemeClr val="tx2"/>
                </a:solidFill>
              </a:defRPr>
            </a:lvl5pPr>
          </a:lstStyle>
          <a:p>
            <a:pPr lvl="0"/>
            <a:r>
              <a:rPr lang="en-US" dirty="0"/>
              <a:t>Text here</a:t>
            </a:r>
          </a:p>
          <a:p>
            <a:pPr lvl="1"/>
            <a:r>
              <a:rPr lang="en-US" dirty="0"/>
              <a:t>Text here</a:t>
            </a:r>
          </a:p>
          <a:p>
            <a:pPr lvl="2"/>
            <a:r>
              <a:rPr lang="en-US" dirty="0"/>
              <a:t>Text here</a:t>
            </a:r>
          </a:p>
          <a:p>
            <a:pPr lvl="3"/>
            <a:r>
              <a:rPr lang="en-US" dirty="0"/>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dirty="0"/>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2138E23A-1A2B-4FC2-057E-864010EF96E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5417762A-54B1-36A8-F29E-69737B3F61F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 name="Footer Placeholder 2">
            <a:extLst>
              <a:ext uri="{FF2B5EF4-FFF2-40B4-BE49-F238E27FC236}">
                <a16:creationId xmlns:a16="http://schemas.microsoft.com/office/drawing/2014/main" id="{395D9105-CDC3-7AF1-1035-8F0BB27B989E}"/>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cxnSp>
        <p:nvCxnSpPr>
          <p:cNvPr id="2" name="Straight Connector 1">
            <a:extLst>
              <a:ext uri="{FF2B5EF4-FFF2-40B4-BE49-F238E27FC236}">
                <a16:creationId xmlns:a16="http://schemas.microsoft.com/office/drawing/2014/main" id="{107B04DD-63D3-D02D-A63E-776C7C5FE3C6}"/>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14687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_1.7 Half Blue-black">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p:nvSpPr>
        <p:spPr>
          <a:xfrm>
            <a:off x="4572000" y="0"/>
            <a:ext cx="4571999"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sp>
        <p:nvSpPr>
          <p:cNvPr id="2" name="Footer Placeholder 2">
            <a:extLst>
              <a:ext uri="{FF2B5EF4-FFF2-40B4-BE49-F238E27FC236}">
                <a16:creationId xmlns:a16="http://schemas.microsoft.com/office/drawing/2014/main" id="{D1E6C875-6A56-ECD4-AA48-0284B4A6530D}"/>
              </a:ext>
            </a:extLst>
          </p:cNvPr>
          <p:cNvSpPr>
            <a:spLocks noGrp="1"/>
          </p:cNvSpPr>
          <p:nvPr>
            <p:ph type="ftr" sz="quarter" idx="3"/>
          </p:nvPr>
        </p:nvSpPr>
        <p:spPr>
          <a:xfrm>
            <a:off x="1504610" y="4873695"/>
            <a:ext cx="288000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7" name="Graphic 6">
            <a:extLst>
              <a:ext uri="{FF2B5EF4-FFF2-40B4-BE49-F238E27FC236}">
                <a16:creationId xmlns:a16="http://schemas.microsoft.com/office/drawing/2014/main" id="{FC6622D9-8C8C-7A92-9836-8782F4AE736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9058EB71-1D91-BEB8-274C-75E76F9ED6FF}"/>
              </a:ext>
            </a:extLst>
          </p:cNvPr>
          <p:cNvSpPr txBox="1"/>
          <p:nvPr/>
        </p:nvSpPr>
        <p:spPr>
          <a:xfrm>
            <a:off x="680028" y="4858555"/>
            <a:ext cx="631583" cy="123111"/>
          </a:xfrm>
          <a:prstGeom prst="rect">
            <a:avLst/>
          </a:prstGeom>
          <a:noFill/>
        </p:spPr>
        <p:txBody>
          <a:bodyPr wrap="none" lIns="0" tIns="0" rIns="0" bIns="0" anchor="b" anchorCtr="0">
            <a:sp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97C636AD-ADD5-F240-117B-08D310FF569D}"/>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F7FC8707-B3DD-AA96-72B6-571C83A1828E}"/>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7B14B9-68C9-410F-B933-DD48E08AE964}"/>
              </a:ext>
            </a:extLst>
          </p:cNvPr>
          <p:cNvSpPr/>
          <p:nvPr userDrawn="1"/>
        </p:nvSpPr>
        <p:spPr>
          <a:xfrm>
            <a:off x="4572000" y="0"/>
            <a:ext cx="4571999"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15" name="Graphic 14">
            <a:extLst>
              <a:ext uri="{FF2B5EF4-FFF2-40B4-BE49-F238E27FC236}">
                <a16:creationId xmlns:a16="http://schemas.microsoft.com/office/drawing/2014/main" id="{C5FE95A5-39DF-42E5-BDE0-B2728626401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6" name="TextBox 15">
            <a:extLst>
              <a:ext uri="{FF2B5EF4-FFF2-40B4-BE49-F238E27FC236}">
                <a16:creationId xmlns:a16="http://schemas.microsoft.com/office/drawing/2014/main" id="{16642F1E-95DD-4572-866B-A6E4D75D8877}"/>
              </a:ext>
            </a:extLst>
          </p:cNvPr>
          <p:cNvSpPr txBox="1"/>
          <p:nvPr userDrawn="1"/>
        </p:nvSpPr>
        <p:spPr>
          <a:xfrm>
            <a:off x="680028" y="4858555"/>
            <a:ext cx="631583" cy="123111"/>
          </a:xfrm>
          <a:prstGeom prst="rect">
            <a:avLst/>
          </a:prstGeom>
          <a:noFill/>
        </p:spPr>
        <p:txBody>
          <a:bodyPr wrap="none" lIns="0" tIns="0" rIns="0" bIns="0" anchor="b" anchorCtr="0">
            <a:sp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1D723E6D-7B84-4668-AAB3-E7D989E5327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8" name="Straight Connector 17">
            <a:extLst>
              <a:ext uri="{FF2B5EF4-FFF2-40B4-BE49-F238E27FC236}">
                <a16:creationId xmlns:a16="http://schemas.microsoft.com/office/drawing/2014/main" id="{10309A1C-36B3-4198-B09C-AD9B16C645F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93533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_1.6 Half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3096000" y="0"/>
            <a:ext cx="6048000" cy="5143500"/>
          </a:xfrm>
          <a:prstGeom prst="rect">
            <a:avLst/>
          </a:prstGeom>
          <a:solidFill>
            <a:schemeClr val="tx1"/>
          </a:solidFill>
        </p:spPr>
        <p:txBody>
          <a:bodyPr/>
          <a:lstStyle>
            <a:lvl1pPr marL="0" indent="0">
              <a:buNone/>
              <a:defRPr sz="1000">
                <a:solidFill>
                  <a:schemeClr val="bg1"/>
                </a:solidFill>
              </a:defRPr>
            </a:lvl1pPr>
          </a:lstStyle>
          <a:p>
            <a:r>
              <a:rPr lang="en-US" dirty="0"/>
              <a:t>Click to add picture</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a:extLst>
              <a:ext uri="{FF2B5EF4-FFF2-40B4-BE49-F238E27FC236}">
                <a16:creationId xmlns:a16="http://schemas.microsoft.com/office/drawing/2014/main" id="{81B8F5FD-3C1E-ED2B-FEED-204E697F924A}"/>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DFE05CD-640E-D8C4-CB9E-EDE52D29E486}"/>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AD759BC8-C107-9B15-676E-AEADF18E71A9}"/>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F53CB0FD-5D02-760B-C180-7C3CC3C5DD9B}"/>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1" name="Graphic 10">
            <a:extLst>
              <a:ext uri="{FF2B5EF4-FFF2-40B4-BE49-F238E27FC236}">
                <a16:creationId xmlns:a16="http://schemas.microsoft.com/office/drawing/2014/main" id="{7DE5C7C2-3D91-4011-9131-7FB0D2D3D07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2" name="TextBox 11">
            <a:extLst>
              <a:ext uri="{FF2B5EF4-FFF2-40B4-BE49-F238E27FC236}">
                <a16:creationId xmlns:a16="http://schemas.microsoft.com/office/drawing/2014/main" id="{2E6D1E60-EAF3-4692-A1A2-1CE63A1D6BF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69A986F-3238-4F48-9ECE-A73BB38D3FC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9F3618CB-12D0-47C7-AF59-B58381DB536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64451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_1.7 Half Blue-black">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p:nvSpPr>
        <p:spPr>
          <a:xfrm>
            <a:off x="3096000" y="0"/>
            <a:ext cx="6048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5884C8A4-6AD2-B11C-DB11-02D4D662D7E1}"/>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7487328-2697-279F-E20D-91C4C573F75F}"/>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BFC15A2F-1CD7-4840-2A5F-B6E52DFFB1AB}"/>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4B3AB92F-F3C9-83A8-7063-25752C64EEF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
        <p:nvSpPr>
          <p:cNvPr id="15" name="Rectangle 14">
            <a:extLst>
              <a:ext uri="{FF2B5EF4-FFF2-40B4-BE49-F238E27FC236}">
                <a16:creationId xmlns:a16="http://schemas.microsoft.com/office/drawing/2014/main" id="{3E190B65-321E-44FE-84B0-2895C923C986}"/>
              </a:ext>
            </a:extLst>
          </p:cNvPr>
          <p:cNvSpPr/>
          <p:nvPr userDrawn="1"/>
        </p:nvSpPr>
        <p:spPr>
          <a:xfrm>
            <a:off x="3096000" y="0"/>
            <a:ext cx="6048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16" name="Graphic 15">
            <a:extLst>
              <a:ext uri="{FF2B5EF4-FFF2-40B4-BE49-F238E27FC236}">
                <a16:creationId xmlns:a16="http://schemas.microsoft.com/office/drawing/2014/main" id="{A722FA23-3128-494E-B4F9-26B8A8E5A1C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7" name="TextBox 16">
            <a:extLst>
              <a:ext uri="{FF2B5EF4-FFF2-40B4-BE49-F238E27FC236}">
                <a16:creationId xmlns:a16="http://schemas.microsoft.com/office/drawing/2014/main" id="{D0CA63F0-C4B3-441A-A291-FE8EC17B74C9}"/>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8" name="Slide Number Placeholder 5">
            <a:extLst>
              <a:ext uri="{FF2B5EF4-FFF2-40B4-BE49-F238E27FC236}">
                <a16:creationId xmlns:a16="http://schemas.microsoft.com/office/drawing/2014/main" id="{E5C26100-B827-4929-9AD7-6FDF350E945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9" name="Straight Connector 18">
            <a:extLst>
              <a:ext uri="{FF2B5EF4-FFF2-40B4-BE49-F238E27FC236}">
                <a16:creationId xmlns:a16="http://schemas.microsoft.com/office/drawing/2014/main" id="{9BF686A6-B9D3-48F0-9414-F95CB6513D38}"/>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48986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2" name="Title 4">
            <a:extLst>
              <a:ext uri="{FF2B5EF4-FFF2-40B4-BE49-F238E27FC236}">
                <a16:creationId xmlns:a16="http://schemas.microsoft.com/office/drawing/2014/main" id="{FCA7DC03-F552-0867-352F-D9703C6058FC}"/>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4" name="Text Placeholder 3">
            <a:extLst>
              <a:ext uri="{FF2B5EF4-FFF2-40B4-BE49-F238E27FC236}">
                <a16:creationId xmlns:a16="http://schemas.microsoft.com/office/drawing/2014/main" id="{095DCB03-B7A1-6B00-BC51-6A2712B64A79}"/>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10" name="Graphic 3">
            <a:extLst>
              <a:ext uri="{FF2B5EF4-FFF2-40B4-BE49-F238E27FC236}">
                <a16:creationId xmlns:a16="http://schemas.microsoft.com/office/drawing/2014/main" id="{49D9392C-9E29-427F-3C29-C64146E898C7}"/>
              </a:ext>
            </a:extLst>
          </p:cNvPr>
          <p:cNvGrpSpPr/>
          <p:nvPr/>
        </p:nvGrpSpPr>
        <p:grpSpPr>
          <a:xfrm>
            <a:off x="1237478" y="4482674"/>
            <a:ext cx="1363492" cy="307063"/>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3" name="TextBox 2">
            <a:extLst>
              <a:ext uri="{FF2B5EF4-FFF2-40B4-BE49-F238E27FC236}">
                <a16:creationId xmlns:a16="http://schemas.microsoft.com/office/drawing/2014/main" id="{659763D9-588F-2473-91CB-B8C347B72189}"/>
              </a:ext>
            </a:extLst>
          </p:cNvPr>
          <p:cNvSpPr txBox="1"/>
          <p:nvPr/>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23FCDC52-0E62-A2F4-0387-BFC107C7F663}"/>
              </a:ext>
            </a:extLst>
          </p:cNvPr>
          <p:cNvSpPr txBox="1">
            <a:spLocks/>
          </p:cNvSpPr>
          <p:nvPr/>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E9BC003D-0EF9-EF09-FA3B-B06705810FC8}"/>
              </a:ext>
            </a:extLst>
          </p:cNvPr>
          <p:cNvCxnSpPr>
            <a:cxnSpLocks/>
          </p:cNvCxnSpPr>
          <p:nvPr/>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Footer Placeholder 2">
            <a:extLst>
              <a:ext uri="{FF2B5EF4-FFF2-40B4-BE49-F238E27FC236}">
                <a16:creationId xmlns:a16="http://schemas.microsoft.com/office/drawing/2014/main" id="{753EC447-D430-EA30-E1F1-75D216432106}"/>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9" name="Picture 18" descr="Background pattern&#10;&#10;Description automatically generated">
            <a:extLst>
              <a:ext uri="{FF2B5EF4-FFF2-40B4-BE49-F238E27FC236}">
                <a16:creationId xmlns:a16="http://schemas.microsoft.com/office/drawing/2014/main" id="{9810BD8A-E837-4537-8D8D-BF6A1ABBE5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20" name="Graphic 19">
            <a:extLst>
              <a:ext uri="{FF2B5EF4-FFF2-40B4-BE49-F238E27FC236}">
                <a16:creationId xmlns:a16="http://schemas.microsoft.com/office/drawing/2014/main" id="{966C038D-995D-482D-A11A-4B0C2952939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grpSp>
        <p:nvGrpSpPr>
          <p:cNvPr id="21" name="Graphic 3">
            <a:extLst>
              <a:ext uri="{FF2B5EF4-FFF2-40B4-BE49-F238E27FC236}">
                <a16:creationId xmlns:a16="http://schemas.microsoft.com/office/drawing/2014/main" id="{0F86ECD5-C0FD-4A49-837D-5FAD72E50838}"/>
              </a:ext>
            </a:extLst>
          </p:cNvPr>
          <p:cNvGrpSpPr/>
          <p:nvPr userDrawn="1"/>
        </p:nvGrpSpPr>
        <p:grpSpPr>
          <a:xfrm>
            <a:off x="1237478" y="4482674"/>
            <a:ext cx="1363492" cy="307063"/>
            <a:chOff x="469958" y="1647414"/>
            <a:chExt cx="8205029" cy="1847802"/>
          </a:xfrm>
          <a:solidFill>
            <a:schemeClr val="bg1"/>
          </a:solidFill>
        </p:grpSpPr>
        <p:sp>
          <p:nvSpPr>
            <p:cNvPr id="22" name="Freeform 33">
              <a:extLst>
                <a:ext uri="{FF2B5EF4-FFF2-40B4-BE49-F238E27FC236}">
                  <a16:creationId xmlns:a16="http://schemas.microsoft.com/office/drawing/2014/main" id="{F5C2DA84-B744-4DD3-816E-E2C46CB26B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3" name="Freeform 34">
              <a:extLst>
                <a:ext uri="{FF2B5EF4-FFF2-40B4-BE49-F238E27FC236}">
                  <a16:creationId xmlns:a16="http://schemas.microsoft.com/office/drawing/2014/main" id="{55BC91CB-090A-46BA-8264-C5B8F5F7559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24" name="Freeform 35">
              <a:extLst>
                <a:ext uri="{FF2B5EF4-FFF2-40B4-BE49-F238E27FC236}">
                  <a16:creationId xmlns:a16="http://schemas.microsoft.com/office/drawing/2014/main" id="{C735F55A-CF4C-4FC0-A1F7-2B8DF77DD20E}"/>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25" name="Freeform 36">
              <a:extLst>
                <a:ext uri="{FF2B5EF4-FFF2-40B4-BE49-F238E27FC236}">
                  <a16:creationId xmlns:a16="http://schemas.microsoft.com/office/drawing/2014/main" id="{DE7AC322-2B8E-49C3-9712-5F3E3C06F74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26" name="Freeform 37">
              <a:extLst>
                <a:ext uri="{FF2B5EF4-FFF2-40B4-BE49-F238E27FC236}">
                  <a16:creationId xmlns:a16="http://schemas.microsoft.com/office/drawing/2014/main" id="{D1A61CD4-8010-4179-85A6-661D822BCB9A}"/>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7" name="TextBox 26">
            <a:extLst>
              <a:ext uri="{FF2B5EF4-FFF2-40B4-BE49-F238E27FC236}">
                <a16:creationId xmlns:a16="http://schemas.microsoft.com/office/drawing/2014/main" id="{39AE1682-8AD0-461D-9CAA-A73E05BB8709}"/>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8" name="Slide Number Placeholder 5">
            <a:extLst>
              <a:ext uri="{FF2B5EF4-FFF2-40B4-BE49-F238E27FC236}">
                <a16:creationId xmlns:a16="http://schemas.microsoft.com/office/drawing/2014/main" id="{00F7FD7B-94DD-44BC-ACC0-8092E4C4A91D}"/>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9" name="Straight Connector 28">
            <a:extLst>
              <a:ext uri="{FF2B5EF4-FFF2-40B4-BE49-F238E27FC236}">
                <a16:creationId xmlns:a16="http://schemas.microsoft.com/office/drawing/2014/main" id="{E658D5A4-04CA-4B3D-A3ED-197C17918E95}"/>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5911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901"/>
            <a:ext cx="5144400" cy="5144400"/>
          </a:xfrm>
          <a:prstGeom prst="rect">
            <a:avLst/>
          </a:prstGeom>
        </p:spPr>
      </p:pic>
      <p:sp>
        <p:nvSpPr>
          <p:cNvPr id="11" name="Title 4">
            <a:extLst>
              <a:ext uri="{FF2B5EF4-FFF2-40B4-BE49-F238E27FC236}">
                <a16:creationId xmlns:a16="http://schemas.microsoft.com/office/drawing/2014/main" id="{59E922F0-08F0-9919-8C26-CE716C3AE5B2}"/>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2" name="Text Placeholder 3">
            <a:extLst>
              <a:ext uri="{FF2B5EF4-FFF2-40B4-BE49-F238E27FC236}">
                <a16:creationId xmlns:a16="http://schemas.microsoft.com/office/drawing/2014/main" id="{FDF29A45-EE41-3151-6F22-1274BFD4DDDB}"/>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AC803887-2AFC-DF73-DE60-1BE27DDE158C}"/>
              </a:ext>
            </a:extLst>
          </p:cNvPr>
          <p:cNvGrpSpPr/>
          <p:nvPr/>
        </p:nvGrpSpPr>
        <p:grpSpPr>
          <a:xfrm>
            <a:off x="1237478" y="4482674"/>
            <a:ext cx="1363492" cy="307063"/>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853E137B-4AA1-0543-1336-DFC6E4FFB011}"/>
              </a:ext>
            </a:extLst>
          </p:cNvPr>
          <p:cNvSpPr txBox="1"/>
          <p:nvPr/>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64A66DCC-053F-B59E-D123-FE02866DE14E}"/>
              </a:ext>
            </a:extLst>
          </p:cNvPr>
          <p:cNvSpPr txBox="1">
            <a:spLocks/>
          </p:cNvSpPr>
          <p:nvPr/>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D444D486-4F66-A858-1E27-52EA0097BAEE}"/>
              </a:ext>
            </a:extLst>
          </p:cNvPr>
          <p:cNvCxnSpPr>
            <a:cxnSpLocks/>
          </p:cNvCxnSpPr>
          <p:nvPr/>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Footer Placeholder 2">
            <a:extLst>
              <a:ext uri="{FF2B5EF4-FFF2-40B4-BE49-F238E27FC236}">
                <a16:creationId xmlns:a16="http://schemas.microsoft.com/office/drawing/2014/main" id="{FD4ACE8F-B23A-798D-9D92-BC5D1372B743}"/>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9" name="Picture 18" descr="Background pattern&#10;&#10;Description automatically generated">
            <a:extLst>
              <a:ext uri="{FF2B5EF4-FFF2-40B4-BE49-F238E27FC236}">
                <a16:creationId xmlns:a16="http://schemas.microsoft.com/office/drawing/2014/main" id="{4F18596A-2486-4C61-94B3-D4142C10419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20" name="Graphic 19">
            <a:extLst>
              <a:ext uri="{FF2B5EF4-FFF2-40B4-BE49-F238E27FC236}">
                <a16:creationId xmlns:a16="http://schemas.microsoft.com/office/drawing/2014/main" id="{ABA78FF0-2294-45DF-9D93-F836C89614C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901"/>
            <a:ext cx="5144400" cy="5144400"/>
          </a:xfrm>
          <a:prstGeom prst="rect">
            <a:avLst/>
          </a:prstGeom>
        </p:spPr>
      </p:pic>
      <p:grpSp>
        <p:nvGrpSpPr>
          <p:cNvPr id="21" name="Graphic 3">
            <a:extLst>
              <a:ext uri="{FF2B5EF4-FFF2-40B4-BE49-F238E27FC236}">
                <a16:creationId xmlns:a16="http://schemas.microsoft.com/office/drawing/2014/main" id="{07650027-CF48-47F8-9BCF-A3B4A5911000}"/>
              </a:ext>
            </a:extLst>
          </p:cNvPr>
          <p:cNvGrpSpPr/>
          <p:nvPr userDrawn="1"/>
        </p:nvGrpSpPr>
        <p:grpSpPr>
          <a:xfrm>
            <a:off x="1237478" y="4482674"/>
            <a:ext cx="1363492" cy="307063"/>
            <a:chOff x="469958" y="1647414"/>
            <a:chExt cx="8205029" cy="1847802"/>
          </a:xfrm>
          <a:solidFill>
            <a:schemeClr val="bg1"/>
          </a:solidFill>
        </p:grpSpPr>
        <p:sp>
          <p:nvSpPr>
            <p:cNvPr id="22" name="Freeform 33">
              <a:extLst>
                <a:ext uri="{FF2B5EF4-FFF2-40B4-BE49-F238E27FC236}">
                  <a16:creationId xmlns:a16="http://schemas.microsoft.com/office/drawing/2014/main" id="{B5EC8ADF-9CC7-424E-B194-FE23994B5294}"/>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3" name="Freeform 34">
              <a:extLst>
                <a:ext uri="{FF2B5EF4-FFF2-40B4-BE49-F238E27FC236}">
                  <a16:creationId xmlns:a16="http://schemas.microsoft.com/office/drawing/2014/main" id="{96D6B462-2571-45E1-80EF-3BF2021D9CC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24" name="Freeform 35">
              <a:extLst>
                <a:ext uri="{FF2B5EF4-FFF2-40B4-BE49-F238E27FC236}">
                  <a16:creationId xmlns:a16="http://schemas.microsoft.com/office/drawing/2014/main" id="{0AF27FAA-692B-4B2F-BC50-946725E066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25" name="Freeform 36">
              <a:extLst>
                <a:ext uri="{FF2B5EF4-FFF2-40B4-BE49-F238E27FC236}">
                  <a16:creationId xmlns:a16="http://schemas.microsoft.com/office/drawing/2014/main" id="{9767F39A-EA16-4AC8-A194-1BDEEAF791D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26" name="Freeform 37">
              <a:extLst>
                <a:ext uri="{FF2B5EF4-FFF2-40B4-BE49-F238E27FC236}">
                  <a16:creationId xmlns:a16="http://schemas.microsoft.com/office/drawing/2014/main" id="{1F4EFEEB-A97C-46D5-8B95-B1B9A7AB9C0A}"/>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7" name="TextBox 26">
            <a:extLst>
              <a:ext uri="{FF2B5EF4-FFF2-40B4-BE49-F238E27FC236}">
                <a16:creationId xmlns:a16="http://schemas.microsoft.com/office/drawing/2014/main" id="{AADEB18D-E2DF-4596-B333-E6C159686F73}"/>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8" name="Slide Number Placeholder 5">
            <a:extLst>
              <a:ext uri="{FF2B5EF4-FFF2-40B4-BE49-F238E27FC236}">
                <a16:creationId xmlns:a16="http://schemas.microsoft.com/office/drawing/2014/main" id="{A501D984-7CB5-4864-8DBF-24760675A195}"/>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9" name="Straight Connector 28">
            <a:extLst>
              <a:ext uri="{FF2B5EF4-FFF2-40B4-BE49-F238E27FC236}">
                <a16:creationId xmlns:a16="http://schemas.microsoft.com/office/drawing/2014/main" id="{39ADC4D5-980A-436D-A693-CE9AD356D5FF}"/>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29160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9" name="Title 4">
            <a:extLst>
              <a:ext uri="{FF2B5EF4-FFF2-40B4-BE49-F238E27FC236}">
                <a16:creationId xmlns:a16="http://schemas.microsoft.com/office/drawing/2014/main" id="{44BBE444-2A25-873F-1D05-3ED543575B73}"/>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0" name="Text Placeholder 3">
            <a:extLst>
              <a:ext uri="{FF2B5EF4-FFF2-40B4-BE49-F238E27FC236}">
                <a16:creationId xmlns:a16="http://schemas.microsoft.com/office/drawing/2014/main" id="{1CE0441B-626C-B0BA-7F19-6E6E187E9F84}"/>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12" name="Graphic 3">
            <a:extLst>
              <a:ext uri="{FF2B5EF4-FFF2-40B4-BE49-F238E27FC236}">
                <a16:creationId xmlns:a16="http://schemas.microsoft.com/office/drawing/2014/main" id="{BBCFFB55-AEE0-B60F-9245-9C27632712D3}"/>
              </a:ext>
            </a:extLst>
          </p:cNvPr>
          <p:cNvGrpSpPr/>
          <p:nvPr/>
        </p:nvGrpSpPr>
        <p:grpSpPr>
          <a:xfrm>
            <a:off x="1237478" y="4482674"/>
            <a:ext cx="1363492" cy="307063"/>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D16C6526-B799-7D3B-3355-24FCAF3C0E0C}"/>
              </a:ext>
            </a:extLst>
          </p:cNvPr>
          <p:cNvSpPr txBox="1"/>
          <p:nvPr/>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F8A50C4-0B90-3430-16AC-9B9A65591143}"/>
              </a:ext>
            </a:extLst>
          </p:cNvPr>
          <p:cNvSpPr txBox="1">
            <a:spLocks/>
          </p:cNvSpPr>
          <p:nvPr/>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F2A9AEB3-FBA4-4EE3-A02B-9BF60D2824E6}"/>
              </a:ext>
            </a:extLst>
          </p:cNvPr>
          <p:cNvCxnSpPr>
            <a:cxnSpLocks/>
          </p:cNvCxnSpPr>
          <p:nvPr/>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DD3CEBA2-006C-A925-B52F-0D0CA4CB8195}"/>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8" name="Picture 17" descr="Background pattern&#10;&#10;Description automatically generated">
            <a:extLst>
              <a:ext uri="{FF2B5EF4-FFF2-40B4-BE49-F238E27FC236}">
                <a16:creationId xmlns:a16="http://schemas.microsoft.com/office/drawing/2014/main" id="{6D0B68E0-C697-4D38-AA60-1E179BC7FB1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9" name="Graphic 18">
            <a:extLst>
              <a:ext uri="{FF2B5EF4-FFF2-40B4-BE49-F238E27FC236}">
                <a16:creationId xmlns:a16="http://schemas.microsoft.com/office/drawing/2014/main" id="{CCDE6AB8-1B41-4129-B5DA-82F2ECCC61F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grpSp>
        <p:nvGrpSpPr>
          <p:cNvPr id="21" name="Graphic 3">
            <a:extLst>
              <a:ext uri="{FF2B5EF4-FFF2-40B4-BE49-F238E27FC236}">
                <a16:creationId xmlns:a16="http://schemas.microsoft.com/office/drawing/2014/main" id="{086F5394-5167-412D-8E51-5EED097E0DE5}"/>
              </a:ext>
            </a:extLst>
          </p:cNvPr>
          <p:cNvGrpSpPr/>
          <p:nvPr userDrawn="1"/>
        </p:nvGrpSpPr>
        <p:grpSpPr>
          <a:xfrm>
            <a:off x="1237478" y="4482674"/>
            <a:ext cx="1363492" cy="307063"/>
            <a:chOff x="469958" y="1647414"/>
            <a:chExt cx="8205029" cy="1847802"/>
          </a:xfrm>
          <a:solidFill>
            <a:schemeClr val="bg1"/>
          </a:solidFill>
        </p:grpSpPr>
        <p:sp>
          <p:nvSpPr>
            <p:cNvPr id="22" name="Freeform 33">
              <a:extLst>
                <a:ext uri="{FF2B5EF4-FFF2-40B4-BE49-F238E27FC236}">
                  <a16:creationId xmlns:a16="http://schemas.microsoft.com/office/drawing/2014/main" id="{A2716973-E028-4664-B7BA-5C03EC1CF67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3" name="Freeform 34">
              <a:extLst>
                <a:ext uri="{FF2B5EF4-FFF2-40B4-BE49-F238E27FC236}">
                  <a16:creationId xmlns:a16="http://schemas.microsoft.com/office/drawing/2014/main" id="{BF741FB4-C502-4384-8EBE-160CF8B73ED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24" name="Freeform 35">
              <a:extLst>
                <a:ext uri="{FF2B5EF4-FFF2-40B4-BE49-F238E27FC236}">
                  <a16:creationId xmlns:a16="http://schemas.microsoft.com/office/drawing/2014/main" id="{29C61D85-835E-4FB3-99D4-D757A62624F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25" name="Freeform 36">
              <a:extLst>
                <a:ext uri="{FF2B5EF4-FFF2-40B4-BE49-F238E27FC236}">
                  <a16:creationId xmlns:a16="http://schemas.microsoft.com/office/drawing/2014/main" id="{64517DA8-EBF6-413A-838F-0ADD391E694F}"/>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26" name="Freeform 37">
              <a:extLst>
                <a:ext uri="{FF2B5EF4-FFF2-40B4-BE49-F238E27FC236}">
                  <a16:creationId xmlns:a16="http://schemas.microsoft.com/office/drawing/2014/main" id="{3D530D8D-3134-4242-BC60-C319C023F1B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7" name="TextBox 26">
            <a:extLst>
              <a:ext uri="{FF2B5EF4-FFF2-40B4-BE49-F238E27FC236}">
                <a16:creationId xmlns:a16="http://schemas.microsoft.com/office/drawing/2014/main" id="{4C769303-9012-4149-896B-F1745CE3E659}"/>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8" name="Slide Number Placeholder 5">
            <a:extLst>
              <a:ext uri="{FF2B5EF4-FFF2-40B4-BE49-F238E27FC236}">
                <a16:creationId xmlns:a16="http://schemas.microsoft.com/office/drawing/2014/main" id="{04C98CC7-94C6-43E1-8867-853243846DAD}"/>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9" name="Straight Connector 28">
            <a:extLst>
              <a:ext uri="{FF2B5EF4-FFF2-40B4-BE49-F238E27FC236}">
                <a16:creationId xmlns:a16="http://schemas.microsoft.com/office/drawing/2014/main" id="{98F9CDC1-64A1-40C0-9375-5E46DD711264}"/>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741613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p:nvGrpSpPr>
        <p:grpSpPr>
          <a:xfrm>
            <a:off x="6981148" y="2418218"/>
            <a:ext cx="1363492" cy="307063"/>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4" name="Title 4">
            <a:extLst>
              <a:ext uri="{FF2B5EF4-FFF2-40B4-BE49-F238E27FC236}">
                <a16:creationId xmlns:a16="http://schemas.microsoft.com/office/drawing/2014/main" id="{2C6BDD68-E8AC-9D13-ED1D-D43FFC8357C6}"/>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5" name="Text Placeholder 3">
            <a:extLst>
              <a:ext uri="{FF2B5EF4-FFF2-40B4-BE49-F238E27FC236}">
                <a16:creationId xmlns:a16="http://schemas.microsoft.com/office/drawing/2014/main" id="{76BF5CE8-2417-2D5D-75FE-27E0BE07F509}"/>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87C7B85A-D75A-1A9C-EB9E-1F10BCD7B186}"/>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24452E9D-9590-537A-1306-6AC3186A676C}"/>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A933135B-E6E0-A180-C59B-EA4745CE657B}"/>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1E1E5813-C891-EC55-3C61-8BA65C529DFC}"/>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6" name="Picture 15" descr="Background pattern&#10;&#10;Description automatically generated">
            <a:extLst>
              <a:ext uri="{FF2B5EF4-FFF2-40B4-BE49-F238E27FC236}">
                <a16:creationId xmlns:a16="http://schemas.microsoft.com/office/drawing/2014/main" id="{82D60D87-50BA-4160-8B78-4CC19B33CE7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17" name="Graphic 3">
            <a:extLst>
              <a:ext uri="{FF2B5EF4-FFF2-40B4-BE49-F238E27FC236}">
                <a16:creationId xmlns:a16="http://schemas.microsoft.com/office/drawing/2014/main" id="{3067B44E-F32F-41E9-B25E-A71CAA1F7F41}"/>
              </a:ext>
            </a:extLst>
          </p:cNvPr>
          <p:cNvGrpSpPr/>
          <p:nvPr userDrawn="1"/>
        </p:nvGrpSpPr>
        <p:grpSpPr>
          <a:xfrm>
            <a:off x="6981148" y="2418218"/>
            <a:ext cx="1363492" cy="307063"/>
            <a:chOff x="469958" y="1647414"/>
            <a:chExt cx="8205029" cy="1847802"/>
          </a:xfrm>
          <a:solidFill>
            <a:schemeClr val="bg1"/>
          </a:solidFill>
        </p:grpSpPr>
        <p:sp>
          <p:nvSpPr>
            <p:cNvPr id="18" name="Freeform 24">
              <a:extLst>
                <a:ext uri="{FF2B5EF4-FFF2-40B4-BE49-F238E27FC236}">
                  <a16:creationId xmlns:a16="http://schemas.microsoft.com/office/drawing/2014/main" id="{783B3277-7916-47A5-B2D6-0F63BBE59D14}"/>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9" name="Freeform 25">
              <a:extLst>
                <a:ext uri="{FF2B5EF4-FFF2-40B4-BE49-F238E27FC236}">
                  <a16:creationId xmlns:a16="http://schemas.microsoft.com/office/drawing/2014/main" id="{B1D7D724-F478-4305-B53E-3C1E70260CB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20" name="Freeform 26">
              <a:extLst>
                <a:ext uri="{FF2B5EF4-FFF2-40B4-BE49-F238E27FC236}">
                  <a16:creationId xmlns:a16="http://schemas.microsoft.com/office/drawing/2014/main" id="{361FFB0C-85BC-4770-8317-B81292B35213}"/>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1" name="Freeform 27">
              <a:extLst>
                <a:ext uri="{FF2B5EF4-FFF2-40B4-BE49-F238E27FC236}">
                  <a16:creationId xmlns:a16="http://schemas.microsoft.com/office/drawing/2014/main" id="{BF220D4F-C687-4537-B1F8-F070E2774D2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2" name="Freeform 28">
              <a:extLst>
                <a:ext uri="{FF2B5EF4-FFF2-40B4-BE49-F238E27FC236}">
                  <a16:creationId xmlns:a16="http://schemas.microsoft.com/office/drawing/2014/main" id="{D7F3BA48-1201-4844-B20F-7D0B41B8361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23" name="Graphic 22">
            <a:extLst>
              <a:ext uri="{FF2B5EF4-FFF2-40B4-BE49-F238E27FC236}">
                <a16:creationId xmlns:a16="http://schemas.microsoft.com/office/drawing/2014/main" id="{A13AFB8D-1678-452A-B498-E1F90E553831}"/>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24" name="TextBox 23">
            <a:extLst>
              <a:ext uri="{FF2B5EF4-FFF2-40B4-BE49-F238E27FC236}">
                <a16:creationId xmlns:a16="http://schemas.microsoft.com/office/drawing/2014/main" id="{5034AE1E-3361-4DB8-AC1F-7C970DBA3CB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5" name="Slide Number Placeholder 5">
            <a:extLst>
              <a:ext uri="{FF2B5EF4-FFF2-40B4-BE49-F238E27FC236}">
                <a16:creationId xmlns:a16="http://schemas.microsoft.com/office/drawing/2014/main" id="{9D2812D5-13BC-4F2D-A667-0B59101F9C7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6" name="Straight Connector 25">
            <a:extLst>
              <a:ext uri="{FF2B5EF4-FFF2-40B4-BE49-F238E27FC236}">
                <a16:creationId xmlns:a16="http://schemas.microsoft.com/office/drawing/2014/main" id="{A37217C3-1F2F-44FE-A0E7-BDD2D583031E}"/>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15658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p:nvGrpSpPr>
        <p:grpSpPr>
          <a:xfrm>
            <a:off x="6981148" y="2418218"/>
            <a:ext cx="1363492" cy="307063"/>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5" name="Title 4">
            <a:extLst>
              <a:ext uri="{FF2B5EF4-FFF2-40B4-BE49-F238E27FC236}">
                <a16:creationId xmlns:a16="http://schemas.microsoft.com/office/drawing/2014/main" id="{60E8CE17-B2D0-B92F-1A9F-C72280B6E9A3}"/>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6" name="Text Placeholder 3">
            <a:extLst>
              <a:ext uri="{FF2B5EF4-FFF2-40B4-BE49-F238E27FC236}">
                <a16:creationId xmlns:a16="http://schemas.microsoft.com/office/drawing/2014/main" id="{6BEF90E0-A2AA-9B05-58FB-3D4109E95C42}"/>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9DC94188-095E-2B15-B1C9-BFEA9CD8AD50}"/>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40B3BB8B-340F-1B2C-CFDB-82FD55A3DEA0}"/>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43C0A07D-57CA-BFF4-F4D9-3C2FC68A3915}"/>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8C2925E9-CEC5-C2C9-18E8-E9BC48F8A75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7" name="Picture 16" descr="Background pattern&#10;&#10;Description automatically generated">
            <a:extLst>
              <a:ext uri="{FF2B5EF4-FFF2-40B4-BE49-F238E27FC236}">
                <a16:creationId xmlns:a16="http://schemas.microsoft.com/office/drawing/2014/main" id="{ABD9A58C-85A9-498A-8D29-E71D2E9AFA8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18" name="Graphic 3">
            <a:extLst>
              <a:ext uri="{FF2B5EF4-FFF2-40B4-BE49-F238E27FC236}">
                <a16:creationId xmlns:a16="http://schemas.microsoft.com/office/drawing/2014/main" id="{4EBF32F0-7C92-4136-905C-1EA000AE4959}"/>
              </a:ext>
            </a:extLst>
          </p:cNvPr>
          <p:cNvGrpSpPr/>
          <p:nvPr userDrawn="1"/>
        </p:nvGrpSpPr>
        <p:grpSpPr>
          <a:xfrm>
            <a:off x="6981148" y="2418218"/>
            <a:ext cx="1363492" cy="307063"/>
            <a:chOff x="469958" y="1647414"/>
            <a:chExt cx="8205029" cy="1847802"/>
          </a:xfrm>
          <a:solidFill>
            <a:schemeClr val="bg1"/>
          </a:solidFill>
        </p:grpSpPr>
        <p:sp>
          <p:nvSpPr>
            <p:cNvPr id="19" name="Freeform 24">
              <a:extLst>
                <a:ext uri="{FF2B5EF4-FFF2-40B4-BE49-F238E27FC236}">
                  <a16:creationId xmlns:a16="http://schemas.microsoft.com/office/drawing/2014/main" id="{1CD20748-3920-4EC7-85E2-B26C1BD76961}"/>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20" name="Freeform 25">
              <a:extLst>
                <a:ext uri="{FF2B5EF4-FFF2-40B4-BE49-F238E27FC236}">
                  <a16:creationId xmlns:a16="http://schemas.microsoft.com/office/drawing/2014/main" id="{B5DAF338-1874-4806-957D-F86E2A33732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21" name="Freeform 26">
              <a:extLst>
                <a:ext uri="{FF2B5EF4-FFF2-40B4-BE49-F238E27FC236}">
                  <a16:creationId xmlns:a16="http://schemas.microsoft.com/office/drawing/2014/main" id="{D0669774-D51F-4F19-879C-C61D7C9750F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2" name="Freeform 27">
              <a:extLst>
                <a:ext uri="{FF2B5EF4-FFF2-40B4-BE49-F238E27FC236}">
                  <a16:creationId xmlns:a16="http://schemas.microsoft.com/office/drawing/2014/main" id="{1A3B4FD6-F196-4FCF-A3F1-94DFCE24EB9F}"/>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3" name="Freeform 28">
              <a:extLst>
                <a:ext uri="{FF2B5EF4-FFF2-40B4-BE49-F238E27FC236}">
                  <a16:creationId xmlns:a16="http://schemas.microsoft.com/office/drawing/2014/main" id="{9D1A5940-949D-4A35-A5D7-0E723E7036BB}"/>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24" name="Graphic 23">
            <a:extLst>
              <a:ext uri="{FF2B5EF4-FFF2-40B4-BE49-F238E27FC236}">
                <a16:creationId xmlns:a16="http://schemas.microsoft.com/office/drawing/2014/main" id="{B8902080-6E87-449F-B448-207100DCC1FC}"/>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25" name="TextBox 24">
            <a:extLst>
              <a:ext uri="{FF2B5EF4-FFF2-40B4-BE49-F238E27FC236}">
                <a16:creationId xmlns:a16="http://schemas.microsoft.com/office/drawing/2014/main" id="{C30929B3-960B-44C6-9B27-671885581E9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6" name="Slide Number Placeholder 5">
            <a:extLst>
              <a:ext uri="{FF2B5EF4-FFF2-40B4-BE49-F238E27FC236}">
                <a16:creationId xmlns:a16="http://schemas.microsoft.com/office/drawing/2014/main" id="{4244441C-E1F4-4C8E-95B5-F1D9AD8BA9D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7" name="Straight Connector 26">
            <a:extLst>
              <a:ext uri="{FF2B5EF4-FFF2-40B4-BE49-F238E27FC236}">
                <a16:creationId xmlns:a16="http://schemas.microsoft.com/office/drawing/2014/main" id="{A128A4B6-9634-4DE9-8B3C-3DDAA6E14DC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944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p:nvGrpSpPr>
        <p:grpSpPr>
          <a:xfrm>
            <a:off x="6981148" y="2418218"/>
            <a:ext cx="1363492" cy="307063"/>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3A992705-E3A1-420B-69C5-44919D450577}"/>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73489F46-0E66-3662-9807-C4103C37498F}"/>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124CC0F3-7292-1366-D942-BE5A3E145A42}"/>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BB3465A8-86A3-4978-6D3F-E97750AC1CD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9" name="Picture 18" descr="Background pattern&#10;&#10;Description automatically generated">
            <a:extLst>
              <a:ext uri="{FF2B5EF4-FFF2-40B4-BE49-F238E27FC236}">
                <a16:creationId xmlns:a16="http://schemas.microsoft.com/office/drawing/2014/main" id="{EBBC74C8-02BD-4920-8F76-4E3837ACBA1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20" name="Graphic 3">
            <a:extLst>
              <a:ext uri="{FF2B5EF4-FFF2-40B4-BE49-F238E27FC236}">
                <a16:creationId xmlns:a16="http://schemas.microsoft.com/office/drawing/2014/main" id="{DE400F49-9530-4A28-997F-35B28312CDD8}"/>
              </a:ext>
            </a:extLst>
          </p:cNvPr>
          <p:cNvGrpSpPr/>
          <p:nvPr userDrawn="1"/>
        </p:nvGrpSpPr>
        <p:grpSpPr>
          <a:xfrm>
            <a:off x="6981148" y="2418218"/>
            <a:ext cx="1363492" cy="307063"/>
            <a:chOff x="469958" y="1647414"/>
            <a:chExt cx="8205029" cy="1847802"/>
          </a:xfrm>
          <a:solidFill>
            <a:schemeClr val="bg1"/>
          </a:solidFill>
        </p:grpSpPr>
        <p:sp>
          <p:nvSpPr>
            <p:cNvPr id="21" name="Freeform 24">
              <a:extLst>
                <a:ext uri="{FF2B5EF4-FFF2-40B4-BE49-F238E27FC236}">
                  <a16:creationId xmlns:a16="http://schemas.microsoft.com/office/drawing/2014/main" id="{813FE9F4-4BBC-49A3-BF4B-9FE7C96AFD7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22" name="Freeform 25">
              <a:extLst>
                <a:ext uri="{FF2B5EF4-FFF2-40B4-BE49-F238E27FC236}">
                  <a16:creationId xmlns:a16="http://schemas.microsoft.com/office/drawing/2014/main" id="{DBF88E6C-915B-425B-8D1F-E99E6C470B9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23" name="Freeform 26">
              <a:extLst>
                <a:ext uri="{FF2B5EF4-FFF2-40B4-BE49-F238E27FC236}">
                  <a16:creationId xmlns:a16="http://schemas.microsoft.com/office/drawing/2014/main" id="{AF355D78-A1B5-4FD5-9417-7AC5BC37EE94}"/>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24" name="Freeform 27">
              <a:extLst>
                <a:ext uri="{FF2B5EF4-FFF2-40B4-BE49-F238E27FC236}">
                  <a16:creationId xmlns:a16="http://schemas.microsoft.com/office/drawing/2014/main" id="{74C5F116-3994-402C-BE9D-5E35D90136B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25" name="Freeform 28">
              <a:extLst>
                <a:ext uri="{FF2B5EF4-FFF2-40B4-BE49-F238E27FC236}">
                  <a16:creationId xmlns:a16="http://schemas.microsoft.com/office/drawing/2014/main" id="{778F18CA-3824-4B42-8F2C-885D45F6016B}"/>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26" name="Graphic 25">
            <a:extLst>
              <a:ext uri="{FF2B5EF4-FFF2-40B4-BE49-F238E27FC236}">
                <a16:creationId xmlns:a16="http://schemas.microsoft.com/office/drawing/2014/main" id="{60C46B7E-8457-45D3-B33F-35883395FA90}"/>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27" name="TextBox 26">
            <a:extLst>
              <a:ext uri="{FF2B5EF4-FFF2-40B4-BE49-F238E27FC236}">
                <a16:creationId xmlns:a16="http://schemas.microsoft.com/office/drawing/2014/main" id="{BBB58689-F203-424A-812C-DEA52AD6214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8" name="Slide Number Placeholder 5">
            <a:extLst>
              <a:ext uri="{FF2B5EF4-FFF2-40B4-BE49-F238E27FC236}">
                <a16:creationId xmlns:a16="http://schemas.microsoft.com/office/drawing/2014/main" id="{18E7D22D-1A5D-4BF0-A6DC-5DD85935A65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9" name="Straight Connector 28">
            <a:extLst>
              <a:ext uri="{FF2B5EF4-FFF2-40B4-BE49-F238E27FC236}">
                <a16:creationId xmlns:a16="http://schemas.microsoft.com/office/drawing/2014/main" id="{E5867C15-B718-4D70-923A-303579C35504}"/>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64733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967656" y="0"/>
            <a:ext cx="4176344" cy="51444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6" name="Graphic 3">
            <a:extLst>
              <a:ext uri="{FF2B5EF4-FFF2-40B4-BE49-F238E27FC236}">
                <a16:creationId xmlns:a16="http://schemas.microsoft.com/office/drawing/2014/main" id="{5A3F8AE7-69F1-0171-3222-4CFFCDB4F568}"/>
              </a:ext>
            </a:extLst>
          </p:cNvPr>
          <p:cNvGrpSpPr/>
          <p:nvPr/>
        </p:nvGrpSpPr>
        <p:grpSpPr>
          <a:xfrm>
            <a:off x="7055828" y="2418218"/>
            <a:ext cx="1363492" cy="307063"/>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DF372165-1480-FF4B-FD8E-0169E8CD1957}"/>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104E2F18-4E2A-EDFF-55AE-85920A343F20}"/>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B7433D11-0578-F766-1515-93267A24999B}"/>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9" name="Picture 18" descr="Background pattern&#10;&#10;Description automatically generated">
            <a:extLst>
              <a:ext uri="{FF2B5EF4-FFF2-40B4-BE49-F238E27FC236}">
                <a16:creationId xmlns:a16="http://schemas.microsoft.com/office/drawing/2014/main" id="{8B6605A6-A054-4F5C-9CD6-95B691130C5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0" name="Graphic 19">
            <a:extLst>
              <a:ext uri="{FF2B5EF4-FFF2-40B4-BE49-F238E27FC236}">
                <a16:creationId xmlns:a16="http://schemas.microsoft.com/office/drawing/2014/main" id="{8C07A59D-93A3-4DFF-8DB5-07D051736CB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967656" y="0"/>
            <a:ext cx="4176344" cy="5144400"/>
          </a:xfrm>
          <a:prstGeom prst="rect">
            <a:avLst/>
          </a:prstGeom>
        </p:spPr>
      </p:pic>
      <p:grpSp>
        <p:nvGrpSpPr>
          <p:cNvPr id="21" name="Graphic 3">
            <a:extLst>
              <a:ext uri="{FF2B5EF4-FFF2-40B4-BE49-F238E27FC236}">
                <a16:creationId xmlns:a16="http://schemas.microsoft.com/office/drawing/2014/main" id="{493E8BB6-CD70-492C-B3E1-3F34AF7531F1}"/>
              </a:ext>
            </a:extLst>
          </p:cNvPr>
          <p:cNvGrpSpPr/>
          <p:nvPr userDrawn="1"/>
        </p:nvGrpSpPr>
        <p:grpSpPr>
          <a:xfrm>
            <a:off x="7055828" y="2418218"/>
            <a:ext cx="1363492" cy="307063"/>
            <a:chOff x="469958" y="1647414"/>
            <a:chExt cx="8205029" cy="1847802"/>
          </a:xfrm>
          <a:solidFill>
            <a:schemeClr val="bg1"/>
          </a:solidFill>
        </p:grpSpPr>
        <p:sp>
          <p:nvSpPr>
            <p:cNvPr id="22" name="Freeform 25">
              <a:extLst>
                <a:ext uri="{FF2B5EF4-FFF2-40B4-BE49-F238E27FC236}">
                  <a16:creationId xmlns:a16="http://schemas.microsoft.com/office/drawing/2014/main" id="{E71CA25D-1482-4F77-B9E8-79AF8FC6E0C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3" name="Freeform 31">
              <a:extLst>
                <a:ext uri="{FF2B5EF4-FFF2-40B4-BE49-F238E27FC236}">
                  <a16:creationId xmlns:a16="http://schemas.microsoft.com/office/drawing/2014/main" id="{A85519F5-B394-4580-B772-9F97015CCC0C}"/>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24" name="Freeform 32">
              <a:extLst>
                <a:ext uri="{FF2B5EF4-FFF2-40B4-BE49-F238E27FC236}">
                  <a16:creationId xmlns:a16="http://schemas.microsoft.com/office/drawing/2014/main" id="{B0721D50-0278-441F-8D27-D432BFF73B2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25" name="Freeform 33">
              <a:extLst>
                <a:ext uri="{FF2B5EF4-FFF2-40B4-BE49-F238E27FC236}">
                  <a16:creationId xmlns:a16="http://schemas.microsoft.com/office/drawing/2014/main" id="{8BB50150-8022-4F36-BDF1-01309FF05405}"/>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26" name="Freeform 34">
              <a:extLst>
                <a:ext uri="{FF2B5EF4-FFF2-40B4-BE49-F238E27FC236}">
                  <a16:creationId xmlns:a16="http://schemas.microsoft.com/office/drawing/2014/main" id="{726C5B09-3C0C-4407-B3CA-05891C4F7C99}"/>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7" name="TextBox 26">
            <a:extLst>
              <a:ext uri="{FF2B5EF4-FFF2-40B4-BE49-F238E27FC236}">
                <a16:creationId xmlns:a16="http://schemas.microsoft.com/office/drawing/2014/main" id="{0B203B19-44BD-4B4E-B067-D8028693A26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8" name="Slide Number Placeholder 5">
            <a:extLst>
              <a:ext uri="{FF2B5EF4-FFF2-40B4-BE49-F238E27FC236}">
                <a16:creationId xmlns:a16="http://schemas.microsoft.com/office/drawing/2014/main" id="{B9C427A5-DEDD-4BBB-9F07-8EFDFBB7B91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9" name="Straight Connector 28">
            <a:extLst>
              <a:ext uri="{FF2B5EF4-FFF2-40B4-BE49-F238E27FC236}">
                <a16:creationId xmlns:a16="http://schemas.microsoft.com/office/drawing/2014/main" id="{5D5EF947-A5ED-44D7-B4D4-EF6ED12A4632}"/>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91006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9 - Titl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accent1"/>
                </a:solidFill>
                <a:latin typeface="Nokia Pure Headline Ultra Light" panose="020B0204020202020204" pitchFamily="34" charset="0"/>
              </a:defRPr>
            </a:lvl1pPr>
          </a:lstStyle>
          <a:p>
            <a:pPr lvl="0"/>
            <a:r>
              <a:rPr lang="en-US" dirty="0"/>
              <a:t>Click to edit headline</a:t>
            </a:r>
          </a:p>
        </p:txBody>
      </p:sp>
      <p:sp>
        <p:nvSpPr>
          <p:cNvPr id="9" name="TextBox 8">
            <a:extLst>
              <a:ext uri="{FF2B5EF4-FFF2-40B4-BE49-F238E27FC236}">
                <a16:creationId xmlns:a16="http://schemas.microsoft.com/office/drawing/2014/main" id="{84AB3D1D-D95D-CC81-FF15-1A1F6BE049F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AD043C3F-DBA3-47D4-A317-9E02DADB3E0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97253B20-AD10-1261-4A70-76072ED4044B}"/>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Nokia internal use</a:t>
            </a:r>
            <a:endParaRPr lang="en-US" dirty="0"/>
          </a:p>
        </p:txBody>
      </p:sp>
      <p:sp>
        <p:nvSpPr>
          <p:cNvPr id="3" name="Text Placeholder 42">
            <a:extLst>
              <a:ext uri="{FF2B5EF4-FFF2-40B4-BE49-F238E27FC236}">
                <a16:creationId xmlns:a16="http://schemas.microsoft.com/office/drawing/2014/main" id="{31386DAF-78F1-64A8-A51B-3B6BA0A20C91}"/>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accent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cxnSp>
        <p:nvCxnSpPr>
          <p:cNvPr id="4" name="Straight Connector 3">
            <a:extLst>
              <a:ext uri="{FF2B5EF4-FFF2-40B4-BE49-F238E27FC236}">
                <a16:creationId xmlns:a16="http://schemas.microsoft.com/office/drawing/2014/main" id="{2ACA999B-1DD2-7DFF-F475-7A57D4C1A14F}"/>
              </a:ext>
            </a:extLst>
          </p:cNvPr>
          <p:cNvCxnSpPr>
            <a:cxnSpLocks/>
          </p:cNvCxnSpPr>
          <p:nvPr userDrawn="1"/>
        </p:nvCxnSpPr>
        <p:spPr>
          <a:xfrm>
            <a:off x="1403610" y="4842900"/>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0224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5C4391E8-E519-220E-82C7-E7E85659A4E4}"/>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F3E219A7-8ADF-6CBF-872C-AEF07B645E6D}"/>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47BEB086-B161-40ED-B2E3-DDF397278FA8}"/>
              </a:ext>
            </a:extLst>
          </p:cNvPr>
          <p:cNvGrpSpPr/>
          <p:nvPr/>
        </p:nvGrpSpPr>
        <p:grpSpPr>
          <a:xfrm>
            <a:off x="7055828" y="2418218"/>
            <a:ext cx="1363492" cy="307063"/>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4D6C7722-3695-701D-3996-534F9F47B225}"/>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30DB2ED8-2C9E-748A-A0E7-A8309F6712BF}"/>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B0495AE-317E-AAA2-14BB-57D5B40C0681}"/>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484948EE-688C-80CC-A7ED-A56091E7B56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6" name="Picture 15" descr="Background pattern&#10;&#10;Description automatically generated">
            <a:extLst>
              <a:ext uri="{FF2B5EF4-FFF2-40B4-BE49-F238E27FC236}">
                <a16:creationId xmlns:a16="http://schemas.microsoft.com/office/drawing/2014/main" id="{8FF72762-B114-4BA7-BF2A-8477E012B7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7" name="Graphic 16">
            <a:extLst>
              <a:ext uri="{FF2B5EF4-FFF2-40B4-BE49-F238E27FC236}">
                <a16:creationId xmlns:a16="http://schemas.microsoft.com/office/drawing/2014/main" id="{30A14C54-3F11-4D77-A495-043072BD3B36}"/>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967656" y="0"/>
            <a:ext cx="4176344" cy="5144400"/>
          </a:xfrm>
          <a:prstGeom prst="rect">
            <a:avLst/>
          </a:prstGeom>
        </p:spPr>
      </p:pic>
      <p:grpSp>
        <p:nvGrpSpPr>
          <p:cNvPr id="18" name="Graphic 3">
            <a:extLst>
              <a:ext uri="{FF2B5EF4-FFF2-40B4-BE49-F238E27FC236}">
                <a16:creationId xmlns:a16="http://schemas.microsoft.com/office/drawing/2014/main" id="{0A2C258B-0F64-43FE-8C84-F96B8FC2F231}"/>
              </a:ext>
            </a:extLst>
          </p:cNvPr>
          <p:cNvGrpSpPr/>
          <p:nvPr userDrawn="1"/>
        </p:nvGrpSpPr>
        <p:grpSpPr>
          <a:xfrm>
            <a:off x="7055828" y="2418218"/>
            <a:ext cx="1363492" cy="307063"/>
            <a:chOff x="469958" y="1647414"/>
            <a:chExt cx="8205029" cy="1847802"/>
          </a:xfrm>
          <a:solidFill>
            <a:schemeClr val="bg1"/>
          </a:solidFill>
        </p:grpSpPr>
        <p:sp>
          <p:nvSpPr>
            <p:cNvPr id="19" name="Freeform 25">
              <a:extLst>
                <a:ext uri="{FF2B5EF4-FFF2-40B4-BE49-F238E27FC236}">
                  <a16:creationId xmlns:a16="http://schemas.microsoft.com/office/drawing/2014/main" id="{F4CF39EF-6B03-4417-A0F7-40AF0C1ADFF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0" name="Freeform 31">
              <a:extLst>
                <a:ext uri="{FF2B5EF4-FFF2-40B4-BE49-F238E27FC236}">
                  <a16:creationId xmlns:a16="http://schemas.microsoft.com/office/drawing/2014/main" id="{F400852A-E72A-4FCB-A2BF-EF4FFA5C2B20}"/>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21" name="Freeform 32">
              <a:extLst>
                <a:ext uri="{FF2B5EF4-FFF2-40B4-BE49-F238E27FC236}">
                  <a16:creationId xmlns:a16="http://schemas.microsoft.com/office/drawing/2014/main" id="{B1BB2463-8CA1-4DEE-8598-67BD10BC969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22" name="Freeform 33">
              <a:extLst>
                <a:ext uri="{FF2B5EF4-FFF2-40B4-BE49-F238E27FC236}">
                  <a16:creationId xmlns:a16="http://schemas.microsoft.com/office/drawing/2014/main" id="{1017E077-618C-4066-B511-DEA27E9C6DB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25" name="Freeform 34">
              <a:extLst>
                <a:ext uri="{FF2B5EF4-FFF2-40B4-BE49-F238E27FC236}">
                  <a16:creationId xmlns:a16="http://schemas.microsoft.com/office/drawing/2014/main" id="{C6D40393-06D8-4FCA-A15B-43331ED42D7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7" name="TextBox 26">
            <a:extLst>
              <a:ext uri="{FF2B5EF4-FFF2-40B4-BE49-F238E27FC236}">
                <a16:creationId xmlns:a16="http://schemas.microsoft.com/office/drawing/2014/main" id="{A4E43D3C-93AD-4838-9D34-5A4F28B1B04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8" name="Slide Number Placeholder 5">
            <a:extLst>
              <a:ext uri="{FF2B5EF4-FFF2-40B4-BE49-F238E27FC236}">
                <a16:creationId xmlns:a16="http://schemas.microsoft.com/office/drawing/2014/main" id="{792F1752-B304-4C31-A164-3134ADBBE62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9" name="Straight Connector 28">
            <a:extLst>
              <a:ext uri="{FF2B5EF4-FFF2-40B4-BE49-F238E27FC236}">
                <a16:creationId xmlns:a16="http://schemas.microsoft.com/office/drawing/2014/main" id="{48DF5CC8-5DB5-4CD3-9DD6-1D440B78264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49450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8" name="Graphic 3">
            <a:extLst>
              <a:ext uri="{FF2B5EF4-FFF2-40B4-BE49-F238E27FC236}">
                <a16:creationId xmlns:a16="http://schemas.microsoft.com/office/drawing/2014/main" id="{02491239-1144-EB94-E007-F05D770D71DA}"/>
              </a:ext>
            </a:extLst>
          </p:cNvPr>
          <p:cNvGrpSpPr/>
          <p:nvPr/>
        </p:nvGrpSpPr>
        <p:grpSpPr>
          <a:xfrm>
            <a:off x="7055828" y="2418218"/>
            <a:ext cx="1363492" cy="307063"/>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3" name="TextBox 2">
            <a:extLst>
              <a:ext uri="{FF2B5EF4-FFF2-40B4-BE49-F238E27FC236}">
                <a16:creationId xmlns:a16="http://schemas.microsoft.com/office/drawing/2014/main" id="{D596CCAF-CFD0-78BA-B2DE-D4AAECC80E0C}"/>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83A073E-6395-AB52-363B-C387025E75D6}"/>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A2EA63C6-5343-F79F-D184-6FE2E97A3616}"/>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5B14FF50-A296-F5AE-C68C-5D0294FDC1A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7" name="Picture 16" descr="Background pattern&#10;&#10;Description automatically generated">
            <a:extLst>
              <a:ext uri="{FF2B5EF4-FFF2-40B4-BE49-F238E27FC236}">
                <a16:creationId xmlns:a16="http://schemas.microsoft.com/office/drawing/2014/main" id="{D218DA88-521E-49B3-9D39-FAED7540D9D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8" name="Graphic 17">
            <a:extLst>
              <a:ext uri="{FF2B5EF4-FFF2-40B4-BE49-F238E27FC236}">
                <a16:creationId xmlns:a16="http://schemas.microsoft.com/office/drawing/2014/main" id="{359EEDA3-6EBF-42B7-B319-493191C5318A}"/>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967656" y="0"/>
            <a:ext cx="4176344" cy="5144400"/>
          </a:xfrm>
          <a:prstGeom prst="rect">
            <a:avLst/>
          </a:prstGeom>
        </p:spPr>
      </p:pic>
      <p:grpSp>
        <p:nvGrpSpPr>
          <p:cNvPr id="19" name="Graphic 3">
            <a:extLst>
              <a:ext uri="{FF2B5EF4-FFF2-40B4-BE49-F238E27FC236}">
                <a16:creationId xmlns:a16="http://schemas.microsoft.com/office/drawing/2014/main" id="{5BAFF6A1-6ECC-406A-A2E2-222A6367649F}"/>
              </a:ext>
            </a:extLst>
          </p:cNvPr>
          <p:cNvGrpSpPr/>
          <p:nvPr userDrawn="1"/>
        </p:nvGrpSpPr>
        <p:grpSpPr>
          <a:xfrm>
            <a:off x="7055828" y="2418218"/>
            <a:ext cx="1363492" cy="307063"/>
            <a:chOff x="469958" y="1647414"/>
            <a:chExt cx="8205029" cy="1847802"/>
          </a:xfrm>
          <a:solidFill>
            <a:schemeClr val="bg1"/>
          </a:solidFill>
        </p:grpSpPr>
        <p:sp>
          <p:nvSpPr>
            <p:cNvPr id="20" name="Freeform 25">
              <a:extLst>
                <a:ext uri="{FF2B5EF4-FFF2-40B4-BE49-F238E27FC236}">
                  <a16:creationId xmlns:a16="http://schemas.microsoft.com/office/drawing/2014/main" id="{7DB65A22-3ADB-4EA5-9DA9-9DB015BCB6F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1" name="Freeform 31">
              <a:extLst>
                <a:ext uri="{FF2B5EF4-FFF2-40B4-BE49-F238E27FC236}">
                  <a16:creationId xmlns:a16="http://schemas.microsoft.com/office/drawing/2014/main" id="{3CEE85B9-7FD8-4DC1-891C-009A11DBBB4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22" name="Freeform 32">
              <a:extLst>
                <a:ext uri="{FF2B5EF4-FFF2-40B4-BE49-F238E27FC236}">
                  <a16:creationId xmlns:a16="http://schemas.microsoft.com/office/drawing/2014/main" id="{D34301E4-2E0C-49B1-A084-82CFD86E1C4E}"/>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25" name="Freeform 33">
              <a:extLst>
                <a:ext uri="{FF2B5EF4-FFF2-40B4-BE49-F238E27FC236}">
                  <a16:creationId xmlns:a16="http://schemas.microsoft.com/office/drawing/2014/main" id="{B95F50E9-B025-4A01-A71B-2A1B4F5A199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26" name="Freeform 34">
              <a:extLst>
                <a:ext uri="{FF2B5EF4-FFF2-40B4-BE49-F238E27FC236}">
                  <a16:creationId xmlns:a16="http://schemas.microsoft.com/office/drawing/2014/main" id="{65987122-11FD-4DF1-BE3B-2D04CBD1F19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7" name="TextBox 26">
            <a:extLst>
              <a:ext uri="{FF2B5EF4-FFF2-40B4-BE49-F238E27FC236}">
                <a16:creationId xmlns:a16="http://schemas.microsoft.com/office/drawing/2014/main" id="{6DB92125-650E-460B-A76E-6E51BE85989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8" name="Slide Number Placeholder 5">
            <a:extLst>
              <a:ext uri="{FF2B5EF4-FFF2-40B4-BE49-F238E27FC236}">
                <a16:creationId xmlns:a16="http://schemas.microsoft.com/office/drawing/2014/main" id="{48381394-7E64-4A4C-BF49-9D6BCF7A3B7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9" name="Straight Connector 28">
            <a:extLst>
              <a:ext uri="{FF2B5EF4-FFF2-40B4-BE49-F238E27FC236}">
                <a16:creationId xmlns:a16="http://schemas.microsoft.com/office/drawing/2014/main" id="{DEE38A27-97C6-4A25-B0C1-F06BC5DDEF57}"/>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2039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 White titl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966626" y="0"/>
            <a:ext cx="4177374" cy="5144400"/>
          </a:xfrm>
          <a:prstGeom prst="rect">
            <a:avLst/>
          </a:prstGeom>
        </p:spPr>
      </p:pic>
      <p:sp>
        <p:nvSpPr>
          <p:cNvPr id="17" name="Title 4">
            <a:extLst>
              <a:ext uri="{FF2B5EF4-FFF2-40B4-BE49-F238E27FC236}">
                <a16:creationId xmlns:a16="http://schemas.microsoft.com/office/drawing/2014/main" id="{EB5A7CA1-8E09-1FEE-5143-08105708AE59}"/>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F6FE26B-E8FF-4ACF-48A7-542E2FB4B861}"/>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57ADD6F0-8A1D-2465-892B-42BFF999186F}"/>
              </a:ext>
            </a:extLst>
          </p:cNvPr>
          <p:cNvGrpSpPr/>
          <p:nvPr/>
        </p:nvGrpSpPr>
        <p:grpSpPr>
          <a:xfrm>
            <a:off x="7055828" y="2418218"/>
            <a:ext cx="1363492" cy="307063"/>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4" name="TextBox 3">
            <a:extLst>
              <a:ext uri="{FF2B5EF4-FFF2-40B4-BE49-F238E27FC236}">
                <a16:creationId xmlns:a16="http://schemas.microsoft.com/office/drawing/2014/main" id="{31A83BF5-F4EA-B655-23E1-5D8014AFB881}"/>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26EB7B3-F0BC-333D-8ADE-5B1C73FF8F1F}"/>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249E1713-7A0D-1820-B43D-AE57F0715166}"/>
              </a:ext>
            </a:extLst>
          </p:cNvPr>
          <p:cNvCxnSpPr>
            <a:cxnSpLocks/>
          </p:cNvCxnSpPr>
          <p:nvPr/>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D7036CC-670D-3957-0E8D-C8CBF2AE9A4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6" name="Graphic 15">
            <a:extLst>
              <a:ext uri="{FF2B5EF4-FFF2-40B4-BE49-F238E27FC236}">
                <a16:creationId xmlns:a16="http://schemas.microsoft.com/office/drawing/2014/main" id="{0C2801AB-6526-44BB-9237-CCED6373B46F}"/>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966626" y="0"/>
            <a:ext cx="4177374" cy="5144400"/>
          </a:xfrm>
          <a:prstGeom prst="rect">
            <a:avLst/>
          </a:prstGeom>
        </p:spPr>
      </p:pic>
      <p:grpSp>
        <p:nvGrpSpPr>
          <p:cNvPr id="19" name="Graphic 3">
            <a:extLst>
              <a:ext uri="{FF2B5EF4-FFF2-40B4-BE49-F238E27FC236}">
                <a16:creationId xmlns:a16="http://schemas.microsoft.com/office/drawing/2014/main" id="{F9723EB4-F788-411B-8DB7-083A1089024C}"/>
              </a:ext>
            </a:extLst>
          </p:cNvPr>
          <p:cNvGrpSpPr/>
          <p:nvPr userDrawn="1"/>
        </p:nvGrpSpPr>
        <p:grpSpPr>
          <a:xfrm>
            <a:off x="7055828" y="2418218"/>
            <a:ext cx="1363492" cy="307063"/>
            <a:chOff x="469958" y="1647414"/>
            <a:chExt cx="8205029" cy="1847802"/>
          </a:xfrm>
          <a:solidFill>
            <a:schemeClr val="accent1"/>
          </a:solidFill>
        </p:grpSpPr>
        <p:sp>
          <p:nvSpPr>
            <p:cNvPr id="20" name="Freeform 25">
              <a:extLst>
                <a:ext uri="{FF2B5EF4-FFF2-40B4-BE49-F238E27FC236}">
                  <a16:creationId xmlns:a16="http://schemas.microsoft.com/office/drawing/2014/main" id="{2CB781FA-36E9-4444-A6B9-0E768AFA1B0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21" name="Freeform 31">
              <a:extLst>
                <a:ext uri="{FF2B5EF4-FFF2-40B4-BE49-F238E27FC236}">
                  <a16:creationId xmlns:a16="http://schemas.microsoft.com/office/drawing/2014/main" id="{1097BFB3-2B8B-4C6F-B0D8-F71A289E42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22" name="Freeform 32">
              <a:extLst>
                <a:ext uri="{FF2B5EF4-FFF2-40B4-BE49-F238E27FC236}">
                  <a16:creationId xmlns:a16="http://schemas.microsoft.com/office/drawing/2014/main" id="{9AB0DC68-CA62-4591-9F45-137FE8BE3F1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23" name="Freeform 33">
              <a:extLst>
                <a:ext uri="{FF2B5EF4-FFF2-40B4-BE49-F238E27FC236}">
                  <a16:creationId xmlns:a16="http://schemas.microsoft.com/office/drawing/2014/main" id="{8A92B4ED-DD4C-4904-8536-287A59876E20}"/>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24" name="Freeform 34">
              <a:extLst>
                <a:ext uri="{FF2B5EF4-FFF2-40B4-BE49-F238E27FC236}">
                  <a16:creationId xmlns:a16="http://schemas.microsoft.com/office/drawing/2014/main" id="{55BDE7A0-36BF-45E8-90BF-2E89B226E59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5" name="TextBox 24">
            <a:extLst>
              <a:ext uri="{FF2B5EF4-FFF2-40B4-BE49-F238E27FC236}">
                <a16:creationId xmlns:a16="http://schemas.microsoft.com/office/drawing/2014/main" id="{6C5F174B-C836-4641-A3F5-DBC671B5FF4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26" name="Slide Number Placeholder 5">
            <a:extLst>
              <a:ext uri="{FF2B5EF4-FFF2-40B4-BE49-F238E27FC236}">
                <a16:creationId xmlns:a16="http://schemas.microsoft.com/office/drawing/2014/main" id="{9A93D423-44BE-4B5F-ABD4-1A383086626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27" name="Straight Connector 26">
            <a:extLst>
              <a:ext uri="{FF2B5EF4-FFF2-40B4-BE49-F238E27FC236}">
                <a16:creationId xmlns:a16="http://schemas.microsoft.com/office/drawing/2014/main" id="{F097D4FF-E4F5-42E2-9406-017DD893266B}"/>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079241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8" name="Text Placeholder 42">
            <a:extLst>
              <a:ext uri="{FF2B5EF4-FFF2-40B4-BE49-F238E27FC236}">
                <a16:creationId xmlns:a16="http://schemas.microsoft.com/office/drawing/2014/main" id="{BE7F6530-2B80-C2AA-C92D-861D7E8FD530}"/>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9E92399-CC16-9177-2657-E4899DE3837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3E33991A-B775-F150-1F53-A41B2C8F754A}"/>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72865E3E-F273-E118-A756-E7553EE37BF8}"/>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8F6CB285-4CBA-9E7E-51AA-4D36FE48627F}"/>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B4E65701-AF49-27F6-59BC-27ED19ECECA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13" name="Picture 12" descr="Background pattern&#10;&#10;Description automatically generated">
            <a:extLst>
              <a:ext uri="{FF2B5EF4-FFF2-40B4-BE49-F238E27FC236}">
                <a16:creationId xmlns:a16="http://schemas.microsoft.com/office/drawing/2014/main" id="{DBEF3F8F-F2E1-4F0A-8F5D-B12E28D3F0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4" name="Graphic 13">
            <a:extLst>
              <a:ext uri="{FF2B5EF4-FFF2-40B4-BE49-F238E27FC236}">
                <a16:creationId xmlns:a16="http://schemas.microsoft.com/office/drawing/2014/main" id="{4444A7DF-5521-4668-A69A-D6ED7FCE3A5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5" name="TextBox 14">
            <a:extLst>
              <a:ext uri="{FF2B5EF4-FFF2-40B4-BE49-F238E27FC236}">
                <a16:creationId xmlns:a16="http://schemas.microsoft.com/office/drawing/2014/main" id="{658DEC17-CD6C-4C39-984B-4C2BBFE466E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4F8E44BC-B634-4CC9-AE23-0677B0BB92D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438FF372-787D-431A-A205-66DD5F06005C}"/>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43780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5" name="Text Placeholder 42">
            <a:extLst>
              <a:ext uri="{FF2B5EF4-FFF2-40B4-BE49-F238E27FC236}">
                <a16:creationId xmlns:a16="http://schemas.microsoft.com/office/drawing/2014/main" id="{513AFDC9-7EA7-195A-AC21-49A03E74AF4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5F57FFFB-CCE3-C058-3729-4EDEEE5E646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CEEAF690-F016-5F35-1D32-4ED93EF5166F}"/>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BBB7509F-4A74-90C7-0E0E-F5393EA51970}"/>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BDDC262-79BB-0F23-042E-B5CBA3056111}"/>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4CDDDE1-60B8-DFD9-1AEF-39E3A60128B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9" name="Picture 8" descr="Background pattern&#10;&#10;Description automatically generated">
            <a:extLst>
              <a:ext uri="{FF2B5EF4-FFF2-40B4-BE49-F238E27FC236}">
                <a16:creationId xmlns:a16="http://schemas.microsoft.com/office/drawing/2014/main" id="{D7294D46-1EDD-4461-B4D7-D427E10887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0" name="Graphic 9">
            <a:extLst>
              <a:ext uri="{FF2B5EF4-FFF2-40B4-BE49-F238E27FC236}">
                <a16:creationId xmlns:a16="http://schemas.microsoft.com/office/drawing/2014/main" id="{7019AEEE-16F1-4CC3-B33A-32C4614AB513}"/>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1441B7BB-492A-49F5-8F0A-73F44BF30799}"/>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78FA3087-5BA5-4BD7-B274-B9154D1EE5F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85775A6B-1EB5-46DC-B9CA-EB19655FB68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4722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522A1BAB-7805-96E3-BA5B-3E8B26D8AA37}"/>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AB3FE475-1931-B109-EFE4-3720BF54E14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5A6A0F1E-DA3A-FCE2-E1B4-0752E505346D}"/>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0E94F46-3565-EF99-59CA-1C3FB0C493A8}"/>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5B38313-DE88-3A13-90EC-74A7E9958F91}"/>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054B755-DE16-CAB6-D625-5E607FB6202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9" name="Picture 8" descr="Background pattern&#10;&#10;Description automatically generated">
            <a:extLst>
              <a:ext uri="{FF2B5EF4-FFF2-40B4-BE49-F238E27FC236}">
                <a16:creationId xmlns:a16="http://schemas.microsoft.com/office/drawing/2014/main" id="{1FFCE235-A580-41DE-A227-2EBD85A8A5A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0" name="Graphic 9">
            <a:extLst>
              <a:ext uri="{FF2B5EF4-FFF2-40B4-BE49-F238E27FC236}">
                <a16:creationId xmlns:a16="http://schemas.microsoft.com/office/drawing/2014/main" id="{931A7D90-6B8C-4014-9D45-F8C51939F88A}"/>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585F1372-CEE1-42A9-BC74-5CF2CA3EE52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A5CC7DF3-E40A-4565-9F11-39030334910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6C0D744B-D58C-4283-9FF0-62CC52550D93}"/>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99665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0DABAD96-0284-76FF-D804-48E7FFCA08F5}"/>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83B5421E-4ADD-A198-F29A-1E6995BF576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095D3A15-0FF3-A39B-9FE4-D700A76E3062}"/>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1500FE9F-6561-665F-A4F4-C9C4B4490CFD}"/>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E7AC149-8642-9FB6-B94B-6AE9EBA68E85}"/>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AAEAC5E7-CC2A-C92B-8A73-1CCA99C6D1D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9" name="Picture 8" descr="Background pattern&#10;&#10;Description automatically generated">
            <a:extLst>
              <a:ext uri="{FF2B5EF4-FFF2-40B4-BE49-F238E27FC236}">
                <a16:creationId xmlns:a16="http://schemas.microsoft.com/office/drawing/2014/main" id="{465DF20D-72A5-455F-817F-98B16FF2C2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0" name="Graphic 9">
            <a:extLst>
              <a:ext uri="{FF2B5EF4-FFF2-40B4-BE49-F238E27FC236}">
                <a16:creationId xmlns:a16="http://schemas.microsoft.com/office/drawing/2014/main" id="{D054E7CD-093C-4BC5-9A7A-0F9C58D89AA7}"/>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5B135777-DB74-44A9-A689-BA18686DF29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F425A524-01ED-4F92-A71D-B223B183B8C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087E75C6-56F6-4BC9-935B-63496490CD6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2067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4" name="Text Placeholder 42">
            <a:extLst>
              <a:ext uri="{FF2B5EF4-FFF2-40B4-BE49-F238E27FC236}">
                <a16:creationId xmlns:a16="http://schemas.microsoft.com/office/drawing/2014/main" id="{915CB6A6-17E7-3E33-E841-80BBD7036B36}"/>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11B8FE6-8F1C-8435-F33C-EE04C6A6A16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84ADD582-662A-968D-5C24-5CA64213D2B3}"/>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5F3FD1C-6350-9A05-9CDB-7BB8B8E7A007}"/>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12A125E-82E9-339B-8DD3-4F99BEB92E0B}"/>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17D3F80D-5C28-6DFD-0EBA-3C78C0C423C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9" name="Picture 8" descr="Background pattern&#10;&#10;Description automatically generated">
            <a:extLst>
              <a:ext uri="{FF2B5EF4-FFF2-40B4-BE49-F238E27FC236}">
                <a16:creationId xmlns:a16="http://schemas.microsoft.com/office/drawing/2014/main" id="{60386E13-498A-4F9C-8D4C-A5BA9B3189C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0" name="Graphic 9">
            <a:extLst>
              <a:ext uri="{FF2B5EF4-FFF2-40B4-BE49-F238E27FC236}">
                <a16:creationId xmlns:a16="http://schemas.microsoft.com/office/drawing/2014/main" id="{55E434E2-1848-445C-B5F1-AA5425A9184A}"/>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7C980047-4653-4608-9DD5-0FAE87FB315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E878C799-1701-43F2-80F5-F434F898869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17286EBA-8AE3-4829-A7E0-E98E2E01F347}"/>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92496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EF5C81FB-4A41-2E38-2638-F82CC70C7B5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A5713A89-53EE-064B-A22B-BEF22E8A423C}"/>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CE94F9F-2BD2-F9A5-9E54-07CF4258A965}"/>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A2CF6175-9699-E7CE-E715-F09EA01BC759}"/>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94D4D419-E0F3-2260-2C17-B30C90428F2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9" name="Picture 8" descr="Background pattern&#10;&#10;Description automatically generated">
            <a:extLst>
              <a:ext uri="{FF2B5EF4-FFF2-40B4-BE49-F238E27FC236}">
                <a16:creationId xmlns:a16="http://schemas.microsoft.com/office/drawing/2014/main" id="{8D763C75-D53A-4138-BCDC-D0F0C1E908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0" name="Graphic 9">
            <a:extLst>
              <a:ext uri="{FF2B5EF4-FFF2-40B4-BE49-F238E27FC236}">
                <a16:creationId xmlns:a16="http://schemas.microsoft.com/office/drawing/2014/main" id="{DA28C7CC-575C-48FE-A256-5186B29A14A8}"/>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7EB84D6C-5FA3-48CE-B150-0C9ECDCD3C6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3D7D9874-B74C-4C1A-9717-B96D6EC596DB}"/>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35838D2C-920A-4365-B1FE-E4C4AD3EB42D}"/>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5787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7" name="TextBox 6">
            <a:extLst>
              <a:ext uri="{FF2B5EF4-FFF2-40B4-BE49-F238E27FC236}">
                <a16:creationId xmlns:a16="http://schemas.microsoft.com/office/drawing/2014/main" id="{8B02A8A8-2DC6-BFA7-0597-B3A0E2C7AC23}"/>
              </a:ext>
            </a:extLst>
          </p:cNvPr>
          <p:cNvSpPr txBox="1"/>
          <p:nvPr/>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BD8CED17-0DB9-2715-7150-DBF236275C4B}"/>
              </a:ext>
            </a:extLst>
          </p:cNvPr>
          <p:cNvSpPr txBox="1">
            <a:spLocks/>
          </p:cNvSpPr>
          <p:nvPr/>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FA158F57-86DC-B003-644B-932675851596}"/>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396E0D0B-5511-E73A-4166-3C440265E90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3761BFBE-2F2E-2C4F-848A-E8505169811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pic>
        <p:nvPicPr>
          <p:cNvPr id="12" name="Picture 11" descr="Background pattern&#10;&#10;Description automatically generated">
            <a:extLst>
              <a:ext uri="{FF2B5EF4-FFF2-40B4-BE49-F238E27FC236}">
                <a16:creationId xmlns:a16="http://schemas.microsoft.com/office/drawing/2014/main" id="{9E4B162F-2D80-4E31-833A-FBE7E52120B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13" name="TextBox 12">
            <a:extLst>
              <a:ext uri="{FF2B5EF4-FFF2-40B4-BE49-F238E27FC236}">
                <a16:creationId xmlns:a16="http://schemas.microsoft.com/office/drawing/2014/main" id="{A90C432D-BE70-4DC7-85AC-6E0EC33A59C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1FED63B6-CDBE-4DB5-9F71-ABD5A534A8C2}"/>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D15E0AEF-60B7-4D37-82E8-005558301DC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FF8E19E3-75BE-44F4-8A1E-552569861E47}"/>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Tree>
    <p:extLst>
      <p:ext uri="{BB962C8B-B14F-4D97-AF65-F5344CB8AC3E}">
        <p14:creationId xmlns:p14="http://schemas.microsoft.com/office/powerpoint/2010/main" val="180197771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50" Type="http://schemas.openxmlformats.org/officeDocument/2006/relationships/slideLayout" Target="../slideLayouts/slideLayout104.xml"/><Relationship Id="rId55" Type="http://schemas.openxmlformats.org/officeDocument/2006/relationships/slideLayout" Target="../slideLayouts/slideLayout109.xml"/><Relationship Id="rId63" Type="http://schemas.openxmlformats.org/officeDocument/2006/relationships/image" Target="../media/image1.emf"/><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41" Type="http://schemas.openxmlformats.org/officeDocument/2006/relationships/slideLayout" Target="../slideLayouts/slideLayout95.xml"/><Relationship Id="rId54" Type="http://schemas.openxmlformats.org/officeDocument/2006/relationships/slideLayout" Target="../slideLayouts/slideLayout108.xml"/><Relationship Id="rId62" Type="http://schemas.openxmlformats.org/officeDocument/2006/relationships/oleObject" Target="../embeddings/oleObject4.bin"/><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3" Type="http://schemas.openxmlformats.org/officeDocument/2006/relationships/slideLayout" Target="../slideLayouts/slideLayout107.xml"/><Relationship Id="rId58" Type="http://schemas.openxmlformats.org/officeDocument/2006/relationships/slideLayout" Target="../slideLayouts/slideLayout112.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 Id="rId57" Type="http://schemas.openxmlformats.org/officeDocument/2006/relationships/slideLayout" Target="../slideLayouts/slideLayout111.xml"/><Relationship Id="rId61" Type="http://schemas.openxmlformats.org/officeDocument/2006/relationships/tags" Target="../tags/tag5.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52" Type="http://schemas.openxmlformats.org/officeDocument/2006/relationships/slideLayout" Target="../slideLayouts/slideLayout106.xml"/><Relationship Id="rId60" Type="http://schemas.openxmlformats.org/officeDocument/2006/relationships/theme" Target="../theme/theme2.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56" Type="http://schemas.openxmlformats.org/officeDocument/2006/relationships/slideLayout" Target="../slideLayouts/slideLayout110.xml"/><Relationship Id="rId8" Type="http://schemas.openxmlformats.org/officeDocument/2006/relationships/slideLayout" Target="../slideLayouts/slideLayout62.xml"/><Relationship Id="rId51" Type="http://schemas.openxmlformats.org/officeDocument/2006/relationships/slideLayout" Target="../slideLayouts/slideLayout105.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59" Type="http://schemas.openxmlformats.org/officeDocument/2006/relationships/slideLayout" Target="../slideLayouts/slideLayout1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image" Target="../media/image25.emf"/><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oleObject" Target="../embeddings/oleObject6.bin"/><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tags" Target="../tags/tag7.xml"/><Relationship Id="rId5" Type="http://schemas.openxmlformats.org/officeDocument/2006/relationships/slideLayout" Target="../slideLayouts/slideLayout118.xml"/><Relationship Id="rId10"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DD838-19DA-4E00-8523-2DDB5931BB02}"/>
              </a:ext>
            </a:extLst>
          </p:cNvPr>
          <p:cNvGraphicFramePr>
            <a:graphicFrameLocks noChangeAspect="1"/>
          </p:cNvGraphicFramePr>
          <p:nvPr userDrawn="1">
            <p:custDataLst>
              <p:tags r:id="rId56"/>
            </p:custDataLst>
            <p:extLst>
              <p:ext uri="{D42A27DB-BD31-4B8C-83A1-F6EECF244321}">
                <p14:modId xmlns:p14="http://schemas.microsoft.com/office/powerpoint/2010/main" val="425325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415" imgH="416" progId="TCLayout.ActiveDocument.1">
                  <p:embed/>
                </p:oleObj>
              </mc:Choice>
              <mc:Fallback>
                <p:oleObj name="think-cell Slide" r:id="rId57" imgW="415" imgH="416" progId="TCLayout.ActiveDocument.1">
                  <p:embed/>
                  <p:pic>
                    <p:nvPicPr>
                      <p:cNvPr id="2" name="Object 1" hidden="1">
                        <a:extLst>
                          <a:ext uri="{FF2B5EF4-FFF2-40B4-BE49-F238E27FC236}">
                            <a16:creationId xmlns:a16="http://schemas.microsoft.com/office/drawing/2014/main" id="{420DD838-19DA-4E00-8523-2DDB5931BB02}"/>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3" name="MSIPCMContentMarking" descr="{&quot;HashCode&quot;:88302131,&quot;Placement&quot;:&quot;Footer&quot;,&quot;Top&quot;:387.034332,&quot;Left&quot;:320.6956,&quot;SlideWidth&quot;:720,&quot;SlideHeight&quot;:405}">
            <a:extLst>
              <a:ext uri="{FF2B5EF4-FFF2-40B4-BE49-F238E27FC236}">
                <a16:creationId xmlns:a16="http://schemas.microsoft.com/office/drawing/2014/main" id="{81087565-3F41-EA0B-9763-8DE1557D0308}"/>
              </a:ext>
            </a:extLst>
          </p:cNvPr>
          <p:cNvSpPr txBox="1"/>
          <p:nvPr userDrawn="1"/>
        </p:nvSpPr>
        <p:spPr>
          <a:xfrm>
            <a:off x="4072834" y="4915336"/>
            <a:ext cx="998332" cy="228163"/>
          </a:xfrm>
          <a:prstGeom prst="rect">
            <a:avLst/>
          </a:prstGeom>
          <a:noFill/>
          <a:ln>
            <a:noFill/>
          </a:ln>
        </p:spPr>
        <p:txBody>
          <a:bodyPr vert="horz" wrap="square" lIns="0" tIns="0" rIns="0" bIns="0" rtlCol="0" anchor="ctr" anchorCtr="1">
            <a:noAutofit/>
          </a:bodyPr>
          <a:lstStyle/>
          <a:p>
            <a:pPr marL="0" marR="0" indent="0" algn="ctr" defTabSz="180000" rtl="0" eaLnBrk="1" fontAlgn="auto" latinLnBrk="0" hangingPunct="1">
              <a:lnSpc>
                <a:spcPct val="100000"/>
              </a:lnSpc>
              <a:spcBef>
                <a:spcPts val="0"/>
              </a:spcBef>
              <a:spcAft>
                <a:spcPts val="0"/>
              </a:spcAft>
              <a:buClrTx/>
              <a:buSzTx/>
              <a:buFont typeface="+mj-lt"/>
              <a:buNone/>
              <a:tabLst>
                <a:tab pos="180000" algn="l"/>
              </a:tabLst>
            </a:pPr>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Nokia internal use</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241891639"/>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4171" r:id="rId13"/>
    <p:sldLayoutId id="2147484172" r:id="rId14"/>
    <p:sldLayoutId id="2147484173" r:id="rId15"/>
    <p:sldLayoutId id="2147484174" r:id="rId16"/>
    <p:sldLayoutId id="2147484175" r:id="rId17"/>
    <p:sldLayoutId id="2147484176" r:id="rId18"/>
    <p:sldLayoutId id="2147484177" r:id="rId19"/>
    <p:sldLayoutId id="2147484178" r:id="rId20"/>
    <p:sldLayoutId id="2147484179" r:id="rId21"/>
    <p:sldLayoutId id="2147484180" r:id="rId22"/>
    <p:sldLayoutId id="2147484084" r:id="rId23"/>
    <p:sldLayoutId id="2147484085" r:id="rId24"/>
    <p:sldLayoutId id="2147484086" r:id="rId25"/>
    <p:sldLayoutId id="2147483726" r:id="rId26"/>
    <p:sldLayoutId id="2147483776" r:id="rId27"/>
    <p:sldLayoutId id="2147483815" r:id="rId28"/>
    <p:sldLayoutId id="2147484087" r:id="rId29"/>
    <p:sldLayoutId id="2147484088" r:id="rId30"/>
    <p:sldLayoutId id="2147484089" r:id="rId31"/>
    <p:sldLayoutId id="2147483762" r:id="rId32"/>
    <p:sldLayoutId id="2147483774" r:id="rId33"/>
    <p:sldLayoutId id="2147484090" r:id="rId34"/>
    <p:sldLayoutId id="2147484091" r:id="rId35"/>
    <p:sldLayoutId id="2147484092" r:id="rId36"/>
    <p:sldLayoutId id="2147484093" r:id="rId37"/>
    <p:sldLayoutId id="2147484181" r:id="rId38"/>
    <p:sldLayoutId id="2147484182" r:id="rId39"/>
    <p:sldLayoutId id="2147484183" r:id="rId40"/>
    <p:sldLayoutId id="2147484184" r:id="rId41"/>
    <p:sldLayoutId id="2147484185" r:id="rId42"/>
    <p:sldLayoutId id="2147484186" r:id="rId43"/>
    <p:sldLayoutId id="2147484187" r:id="rId44"/>
    <p:sldLayoutId id="2147483772" r:id="rId45"/>
    <p:sldLayoutId id="2147483677" r:id="rId46"/>
    <p:sldLayoutId id="2147483792" r:id="rId47"/>
    <p:sldLayoutId id="2147483833" r:id="rId48"/>
    <p:sldLayoutId id="2147483769" r:id="rId49"/>
    <p:sldLayoutId id="2147483773" r:id="rId50"/>
    <p:sldLayoutId id="2147483771" r:id="rId51"/>
    <p:sldLayoutId id="2147483679" r:id="rId52"/>
    <p:sldLayoutId id="2147483834" r:id="rId53"/>
    <p:sldLayoutId id="2147483835" r:id="rId54"/>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D00E19-10C6-4F14-890D-DEB0A53513F5}"/>
              </a:ext>
            </a:extLst>
          </p:cNvPr>
          <p:cNvGraphicFramePr>
            <a:graphicFrameLocks noChangeAspect="1"/>
          </p:cNvGraphicFramePr>
          <p:nvPr userDrawn="1">
            <p:custDataLst>
              <p:tags r:id="rId61"/>
            </p:custDataLst>
            <p:extLst>
              <p:ext uri="{D42A27DB-BD31-4B8C-83A1-F6EECF244321}">
                <p14:modId xmlns:p14="http://schemas.microsoft.com/office/powerpoint/2010/main" val="1565745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415" imgH="416" progId="TCLayout.ActiveDocument.1">
                  <p:embed/>
                </p:oleObj>
              </mc:Choice>
              <mc:Fallback>
                <p:oleObj name="think-cell Slide" r:id="rId62" imgW="415" imgH="416" progId="TCLayout.ActiveDocument.1">
                  <p:embed/>
                  <p:pic>
                    <p:nvPicPr>
                      <p:cNvPr id="2" name="Object 1" hidden="1">
                        <a:extLst>
                          <a:ext uri="{FF2B5EF4-FFF2-40B4-BE49-F238E27FC236}">
                            <a16:creationId xmlns:a16="http://schemas.microsoft.com/office/drawing/2014/main" id="{0AD00E19-10C6-4F14-890D-DEB0A53513F5}"/>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3" name="MSIPCMContentMarking" descr="{&quot;HashCode&quot;:88302131,&quot;Placement&quot;:&quot;Footer&quot;,&quot;Top&quot;:387.034332,&quot;Left&quot;:320.6956,&quot;SlideWidth&quot;:720,&quot;SlideHeight&quot;:405}">
            <a:extLst>
              <a:ext uri="{FF2B5EF4-FFF2-40B4-BE49-F238E27FC236}">
                <a16:creationId xmlns:a16="http://schemas.microsoft.com/office/drawing/2014/main" id="{B0C684B6-2D7B-B826-A9ED-E10E68E5E712}"/>
              </a:ext>
            </a:extLst>
          </p:cNvPr>
          <p:cNvSpPr txBox="1"/>
          <p:nvPr userDrawn="1"/>
        </p:nvSpPr>
        <p:spPr>
          <a:xfrm>
            <a:off x="4072834" y="4915336"/>
            <a:ext cx="998332" cy="228163"/>
          </a:xfrm>
          <a:prstGeom prst="rect">
            <a:avLst/>
          </a:prstGeom>
          <a:noFill/>
          <a:ln>
            <a:noFill/>
          </a:ln>
        </p:spPr>
        <p:txBody>
          <a:bodyPr vert="horz" wrap="square" lIns="0" tIns="0" rIns="0" bIns="0" rtlCol="0" anchor="ctr" anchorCtr="1">
            <a:noAutofit/>
          </a:bodyPr>
          <a:lstStyle/>
          <a:p>
            <a:pPr marL="0" marR="0" indent="0" algn="ctr" defTabSz="180000" rtl="0" eaLnBrk="1" fontAlgn="auto" latinLnBrk="0" hangingPunct="1">
              <a:lnSpc>
                <a:spcPct val="100000"/>
              </a:lnSpc>
              <a:spcBef>
                <a:spcPts val="0"/>
              </a:spcBef>
              <a:spcAft>
                <a:spcPts val="0"/>
              </a:spcAft>
              <a:buClrTx/>
              <a:buSzTx/>
              <a:buFont typeface="+mj-lt"/>
              <a:buNone/>
              <a:tabLst>
                <a:tab pos="180000" algn="l"/>
              </a:tabLst>
            </a:pPr>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Nokia internal use</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337313680"/>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 id="2147483861" r:id="rId25"/>
    <p:sldLayoutId id="2147483862" r:id="rId26"/>
    <p:sldLayoutId id="2147483863" r:id="rId27"/>
    <p:sldLayoutId id="2147483864" r:id="rId28"/>
    <p:sldLayoutId id="2147483865" r:id="rId29"/>
    <p:sldLayoutId id="2147483866" r:id="rId30"/>
    <p:sldLayoutId id="2147483867" r:id="rId31"/>
    <p:sldLayoutId id="2147483868" r:id="rId32"/>
    <p:sldLayoutId id="2147483869" r:id="rId33"/>
    <p:sldLayoutId id="2147483870" r:id="rId34"/>
    <p:sldLayoutId id="2147483871" r:id="rId35"/>
    <p:sldLayoutId id="2147483872" r:id="rId36"/>
    <p:sldLayoutId id="2147483873" r:id="rId37"/>
    <p:sldLayoutId id="2147483874" r:id="rId38"/>
    <p:sldLayoutId id="2147483875" r:id="rId39"/>
    <p:sldLayoutId id="2147483876" r:id="rId40"/>
    <p:sldLayoutId id="2147483877" r:id="rId41"/>
    <p:sldLayoutId id="2147483878" r:id="rId42"/>
    <p:sldLayoutId id="2147483879" r:id="rId43"/>
    <p:sldLayoutId id="2147483880" r:id="rId44"/>
    <p:sldLayoutId id="2147483881" r:id="rId45"/>
    <p:sldLayoutId id="2147483882" r:id="rId46"/>
    <p:sldLayoutId id="2147483883" r:id="rId47"/>
    <p:sldLayoutId id="2147483884" r:id="rId48"/>
    <p:sldLayoutId id="2147483885" r:id="rId49"/>
    <p:sldLayoutId id="2147483886" r:id="rId50"/>
    <p:sldLayoutId id="2147483887" r:id="rId51"/>
    <p:sldLayoutId id="2147483888" r:id="rId52"/>
    <p:sldLayoutId id="2147483889" r:id="rId53"/>
    <p:sldLayoutId id="2147483890" r:id="rId54"/>
    <p:sldLayoutId id="2147483891" r:id="rId55"/>
    <p:sldLayoutId id="2147483892" r:id="rId56"/>
    <p:sldLayoutId id="2147483893" r:id="rId57"/>
    <p:sldLayoutId id="2147483894" r:id="rId58"/>
    <p:sldLayoutId id="2147483895" r:id="rId59"/>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07FB66-4D2A-4E2A-A322-DA418816C743}"/>
              </a:ext>
            </a:extLst>
          </p:cNvPr>
          <p:cNvGraphicFramePr>
            <a:graphicFrameLocks noChangeAspect="1"/>
          </p:cNvGraphicFramePr>
          <p:nvPr userDrawn="1">
            <p:custDataLst>
              <p:tags r:id="rId11"/>
            </p:custDataLst>
            <p:extLst>
              <p:ext uri="{D42A27DB-BD31-4B8C-83A1-F6EECF244321}">
                <p14:modId xmlns:p14="http://schemas.microsoft.com/office/powerpoint/2010/main" val="79229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296" imgH="296" progId="TCLayout.ActiveDocument.1">
                  <p:embed/>
                </p:oleObj>
              </mc:Choice>
              <mc:Fallback>
                <p:oleObj name="think-cell Slide" r:id="rId12" imgW="296" imgH="296" progId="TCLayout.ActiveDocument.1">
                  <p:embed/>
                  <p:pic>
                    <p:nvPicPr>
                      <p:cNvPr id="2" name="Object 1" hidden="1">
                        <a:extLst>
                          <a:ext uri="{FF2B5EF4-FFF2-40B4-BE49-F238E27FC236}">
                            <a16:creationId xmlns:a16="http://schemas.microsoft.com/office/drawing/2014/main" id="{2307FB66-4D2A-4E2A-A322-DA418816C74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Footer Placeholder 2">
            <a:extLst>
              <a:ext uri="{FF2B5EF4-FFF2-40B4-BE49-F238E27FC236}">
                <a16:creationId xmlns:a16="http://schemas.microsoft.com/office/drawing/2014/main" id="{0106D99E-E600-C8FB-1129-B800B18B17D4}"/>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grpSp>
        <p:nvGrpSpPr>
          <p:cNvPr id="4" name="Group 3">
            <a:extLst>
              <a:ext uri="{FF2B5EF4-FFF2-40B4-BE49-F238E27FC236}">
                <a16:creationId xmlns:a16="http://schemas.microsoft.com/office/drawing/2014/main" id="{F18B7E04-4405-4DC3-B6B2-34E57B599DDC}"/>
              </a:ext>
            </a:extLst>
          </p:cNvPr>
          <p:cNvGrpSpPr/>
          <p:nvPr userDrawn="1"/>
        </p:nvGrpSpPr>
        <p:grpSpPr>
          <a:xfrm>
            <a:off x="-259765" y="1600250"/>
            <a:ext cx="144000" cy="2446845"/>
            <a:chOff x="-259765" y="1600250"/>
            <a:chExt cx="144000" cy="2446845"/>
          </a:xfrm>
        </p:grpSpPr>
        <p:sp>
          <p:nvSpPr>
            <p:cNvPr id="5" name="Oval 2">
              <a:extLst>
                <a:ext uri="{FF2B5EF4-FFF2-40B4-BE49-F238E27FC236}">
                  <a16:creationId xmlns:a16="http://schemas.microsoft.com/office/drawing/2014/main" id="{33D4FD86-88A2-4A5E-9A55-686C341DF643}"/>
                </a:ext>
              </a:extLst>
            </p:cNvPr>
            <p:cNvSpPr>
              <a:spLocks noChangeAspect="1"/>
            </p:cNvSpPr>
            <p:nvPr/>
          </p:nvSpPr>
          <p:spPr>
            <a:xfrm>
              <a:off x="-259765" y="1600250"/>
              <a:ext cx="144000" cy="14400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r>
                <a:rPr lang="en-US" sz="1000">
                  <a:solidFill>
                    <a:schemeClr val="bg1"/>
                  </a:solidFill>
                </a:rPr>
                <a:t> </a:t>
              </a:r>
            </a:p>
          </p:txBody>
        </p:sp>
        <p:sp>
          <p:nvSpPr>
            <p:cNvPr id="6" name="Oval 3">
              <a:extLst>
                <a:ext uri="{FF2B5EF4-FFF2-40B4-BE49-F238E27FC236}">
                  <a16:creationId xmlns:a16="http://schemas.microsoft.com/office/drawing/2014/main" id="{6251C67A-3EE7-4B15-B17D-140F7B93A102}"/>
                </a:ext>
              </a:extLst>
            </p:cNvPr>
            <p:cNvSpPr>
              <a:spLocks noChangeAspect="1"/>
            </p:cNvSpPr>
            <p:nvPr/>
          </p:nvSpPr>
          <p:spPr>
            <a:xfrm>
              <a:off x="-259765" y="2492588"/>
              <a:ext cx="144000" cy="144000"/>
            </a:xfrm>
            <a:prstGeom prst="rect">
              <a:avLst/>
            </a:prstGeom>
            <a:solidFill>
              <a:srgbClr val="F47F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7" name="Oval 9">
              <a:extLst>
                <a:ext uri="{FF2B5EF4-FFF2-40B4-BE49-F238E27FC236}">
                  <a16:creationId xmlns:a16="http://schemas.microsoft.com/office/drawing/2014/main" id="{C782E1BC-C9E3-4A75-B5CF-E6BF8B8464C7}"/>
                </a:ext>
              </a:extLst>
            </p:cNvPr>
            <p:cNvSpPr>
              <a:spLocks noChangeAspect="1"/>
            </p:cNvSpPr>
            <p:nvPr/>
          </p:nvSpPr>
          <p:spPr>
            <a:xfrm>
              <a:off x="-259765" y="2319865"/>
              <a:ext cx="144000" cy="144000"/>
            </a:xfrm>
            <a:prstGeom prst="rect">
              <a:avLst/>
            </a:prstGeom>
            <a:solidFill>
              <a:srgbClr val="F7B7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endParaRPr lang="en-US" sz="3200">
                <a:solidFill>
                  <a:schemeClr val="tx2"/>
                </a:solidFill>
              </a:endParaRPr>
            </a:p>
          </p:txBody>
        </p:sp>
        <p:sp>
          <p:nvSpPr>
            <p:cNvPr id="8" name="Oval 10">
              <a:extLst>
                <a:ext uri="{FF2B5EF4-FFF2-40B4-BE49-F238E27FC236}">
                  <a16:creationId xmlns:a16="http://schemas.microsoft.com/office/drawing/2014/main" id="{4D94A41C-C6ED-491F-B340-7552F813C6D6}"/>
                </a:ext>
              </a:extLst>
            </p:cNvPr>
            <p:cNvSpPr>
              <a:spLocks noChangeAspect="1"/>
            </p:cNvSpPr>
            <p:nvPr/>
          </p:nvSpPr>
          <p:spPr>
            <a:xfrm>
              <a:off x="-259765" y="3010757"/>
              <a:ext cx="144000" cy="144000"/>
            </a:xfrm>
            <a:prstGeom prst="rect">
              <a:avLst/>
            </a:prstGeom>
            <a:solidFill>
              <a:srgbClr val="7D33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10" name="Oval 11">
              <a:extLst>
                <a:ext uri="{FF2B5EF4-FFF2-40B4-BE49-F238E27FC236}">
                  <a16:creationId xmlns:a16="http://schemas.microsoft.com/office/drawing/2014/main" id="{7EA2992C-7B39-4B1F-A1DB-FFE3345E0ED7}"/>
                </a:ext>
              </a:extLst>
            </p:cNvPr>
            <p:cNvSpPr>
              <a:spLocks noChangeAspect="1"/>
            </p:cNvSpPr>
            <p:nvPr/>
          </p:nvSpPr>
          <p:spPr>
            <a:xfrm>
              <a:off x="-259765" y="2147142"/>
              <a:ext cx="144000" cy="144000"/>
            </a:xfrm>
            <a:prstGeom prst="rect">
              <a:avLst/>
            </a:prstGeom>
            <a:solidFill>
              <a:srgbClr val="37CC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11" name="Oval 12">
              <a:extLst>
                <a:ext uri="{FF2B5EF4-FFF2-40B4-BE49-F238E27FC236}">
                  <a16:creationId xmlns:a16="http://schemas.microsoft.com/office/drawing/2014/main" id="{A49E0120-CE3A-4071-B8EE-BCD5A2C8C777}"/>
                </a:ext>
              </a:extLst>
            </p:cNvPr>
            <p:cNvSpPr>
              <a:spLocks noChangeAspect="1"/>
            </p:cNvSpPr>
            <p:nvPr/>
          </p:nvSpPr>
          <p:spPr>
            <a:xfrm>
              <a:off x="-259765" y="2838034"/>
              <a:ext cx="144000" cy="144000"/>
            </a:xfrm>
            <a:prstGeom prst="rect">
              <a:avLst/>
            </a:prstGeom>
            <a:solidFill>
              <a:srgbClr val="E03DC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12" name="Oval 13">
              <a:extLst>
                <a:ext uri="{FF2B5EF4-FFF2-40B4-BE49-F238E27FC236}">
                  <a16:creationId xmlns:a16="http://schemas.microsoft.com/office/drawing/2014/main" id="{E2C85E5F-D9ED-44E0-864F-6CC3BBCA769A}"/>
                </a:ext>
              </a:extLst>
            </p:cNvPr>
            <p:cNvSpPr>
              <a:spLocks noChangeAspect="1"/>
            </p:cNvSpPr>
            <p:nvPr/>
          </p:nvSpPr>
          <p:spPr>
            <a:xfrm>
              <a:off x="-259765" y="2665311"/>
              <a:ext cx="144000" cy="144000"/>
            </a:xfrm>
            <a:prstGeom prst="rect">
              <a:avLst/>
            </a:prstGeom>
            <a:solidFill>
              <a:srgbClr val="E2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endParaRPr lang="en-US" sz="3200">
                <a:solidFill>
                  <a:schemeClr val="tx2"/>
                </a:solidFill>
              </a:endParaRPr>
            </a:p>
          </p:txBody>
        </p:sp>
        <p:sp>
          <p:nvSpPr>
            <p:cNvPr id="13" name="Oval 14">
              <a:extLst>
                <a:ext uri="{FF2B5EF4-FFF2-40B4-BE49-F238E27FC236}">
                  <a16:creationId xmlns:a16="http://schemas.microsoft.com/office/drawing/2014/main" id="{F10D61F2-8A85-48D8-B824-105806984F7B}"/>
                </a:ext>
              </a:extLst>
            </p:cNvPr>
            <p:cNvSpPr>
              <a:spLocks noChangeAspect="1"/>
            </p:cNvSpPr>
            <p:nvPr/>
          </p:nvSpPr>
          <p:spPr>
            <a:xfrm>
              <a:off x="-259765" y="1974419"/>
              <a:ext cx="144000" cy="14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14" name="Oval 15">
              <a:extLst>
                <a:ext uri="{FF2B5EF4-FFF2-40B4-BE49-F238E27FC236}">
                  <a16:creationId xmlns:a16="http://schemas.microsoft.com/office/drawing/2014/main" id="{D5BA78E6-4F59-4DE0-8EF0-B900CF8B6F5A}"/>
                </a:ext>
              </a:extLst>
            </p:cNvPr>
            <p:cNvSpPr>
              <a:spLocks noChangeAspect="1"/>
            </p:cNvSpPr>
            <p:nvPr userDrawn="1"/>
          </p:nvSpPr>
          <p:spPr>
            <a:xfrm>
              <a:off x="-259765" y="3557649"/>
              <a:ext cx="144000" cy="144000"/>
            </a:xfrm>
            <a:prstGeom prst="rect">
              <a:avLst/>
            </a:prstGeom>
            <a:solidFill>
              <a:srgbClr val="CCCCCC"/>
            </a:solidFill>
            <a:ln w="127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15" name="Oval 16">
              <a:extLst>
                <a:ext uri="{FF2B5EF4-FFF2-40B4-BE49-F238E27FC236}">
                  <a16:creationId xmlns:a16="http://schemas.microsoft.com/office/drawing/2014/main" id="{0C85E781-C927-44A3-BAD3-82EF1D41F371}"/>
                </a:ext>
              </a:extLst>
            </p:cNvPr>
            <p:cNvSpPr>
              <a:spLocks noChangeAspect="1"/>
            </p:cNvSpPr>
            <p:nvPr userDrawn="1"/>
          </p:nvSpPr>
          <p:spPr>
            <a:xfrm>
              <a:off x="-259765" y="3730372"/>
              <a:ext cx="144000" cy="144000"/>
            </a:xfrm>
            <a:prstGeom prst="rect">
              <a:avLst/>
            </a:prstGeom>
            <a:solidFill>
              <a:srgbClr val="757575"/>
            </a:solidFill>
            <a:ln w="127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endParaRPr lang="en-US" sz="2800">
                <a:solidFill>
                  <a:schemeClr val="tx2"/>
                </a:solidFill>
              </a:endParaRPr>
            </a:p>
          </p:txBody>
        </p:sp>
        <p:sp>
          <p:nvSpPr>
            <p:cNvPr id="16" name="Oval 17">
              <a:extLst>
                <a:ext uri="{FF2B5EF4-FFF2-40B4-BE49-F238E27FC236}">
                  <a16:creationId xmlns:a16="http://schemas.microsoft.com/office/drawing/2014/main" id="{961106DA-ADA2-4E16-90E1-4D4D53903EFB}"/>
                </a:ext>
              </a:extLst>
            </p:cNvPr>
            <p:cNvSpPr>
              <a:spLocks noChangeAspect="1"/>
            </p:cNvSpPr>
            <p:nvPr userDrawn="1"/>
          </p:nvSpPr>
          <p:spPr>
            <a:xfrm>
              <a:off x="-259765" y="1772973"/>
              <a:ext cx="144000" cy="144000"/>
            </a:xfrm>
            <a:prstGeom prst="rect">
              <a:avLst/>
            </a:prstGeom>
            <a:solidFill>
              <a:srgbClr val="00113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r>
                <a:rPr lang="en-US" sz="1000">
                  <a:solidFill>
                    <a:schemeClr val="bg1"/>
                  </a:solidFill>
                </a:rPr>
                <a:t> </a:t>
              </a:r>
            </a:p>
          </p:txBody>
        </p:sp>
        <p:cxnSp>
          <p:nvCxnSpPr>
            <p:cNvPr id="17" name="Straight Connector 16">
              <a:extLst>
                <a:ext uri="{FF2B5EF4-FFF2-40B4-BE49-F238E27FC236}">
                  <a16:creationId xmlns:a16="http://schemas.microsoft.com/office/drawing/2014/main" id="{CCC04C6E-A5DE-4C72-825E-7B99537037E2}"/>
                </a:ext>
              </a:extLst>
            </p:cNvPr>
            <p:cNvCxnSpPr>
              <a:cxnSpLocks/>
            </p:cNvCxnSpPr>
            <p:nvPr userDrawn="1"/>
          </p:nvCxnSpPr>
          <p:spPr>
            <a:xfrm>
              <a:off x="-259765" y="1945696"/>
              <a:ext cx="14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017291D-569B-48C6-8ED5-54AB89C8E929}"/>
                </a:ext>
              </a:extLst>
            </p:cNvPr>
            <p:cNvCxnSpPr>
              <a:cxnSpLocks/>
            </p:cNvCxnSpPr>
            <p:nvPr userDrawn="1"/>
          </p:nvCxnSpPr>
          <p:spPr>
            <a:xfrm>
              <a:off x="-259765" y="3183480"/>
              <a:ext cx="14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Oval 20">
              <a:extLst>
                <a:ext uri="{FF2B5EF4-FFF2-40B4-BE49-F238E27FC236}">
                  <a16:creationId xmlns:a16="http://schemas.microsoft.com/office/drawing/2014/main" id="{8054FCBB-7432-4678-8B31-C400E342D86F}"/>
                </a:ext>
              </a:extLst>
            </p:cNvPr>
            <p:cNvSpPr>
              <a:spLocks noChangeAspect="1"/>
            </p:cNvSpPr>
            <p:nvPr userDrawn="1"/>
          </p:nvSpPr>
          <p:spPr>
            <a:xfrm>
              <a:off x="-259765" y="3212203"/>
              <a:ext cx="144000" cy="144000"/>
            </a:xfrm>
            <a:prstGeom prst="rect">
              <a:avLst/>
            </a:prstGeom>
            <a:solidFill>
              <a:srgbClr val="F9F9F9"/>
            </a:solidFill>
            <a:ln w="127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20" name="Oval 21">
              <a:extLst>
                <a:ext uri="{FF2B5EF4-FFF2-40B4-BE49-F238E27FC236}">
                  <a16:creationId xmlns:a16="http://schemas.microsoft.com/office/drawing/2014/main" id="{72DEB2B0-F134-4115-9445-FD3F6DA2FF0B}"/>
                </a:ext>
              </a:extLst>
            </p:cNvPr>
            <p:cNvSpPr>
              <a:spLocks noChangeAspect="1"/>
            </p:cNvSpPr>
            <p:nvPr userDrawn="1"/>
          </p:nvSpPr>
          <p:spPr>
            <a:xfrm>
              <a:off x="-259765" y="3384926"/>
              <a:ext cx="144000" cy="144000"/>
            </a:xfrm>
            <a:prstGeom prst="rect">
              <a:avLst/>
            </a:prstGeom>
            <a:solidFill>
              <a:srgbClr val="EBEBEB"/>
            </a:solidFill>
            <a:ln w="127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endParaRPr lang="en-US" sz="2800">
                <a:solidFill>
                  <a:schemeClr val="tx2"/>
                </a:solidFill>
              </a:endParaRPr>
            </a:p>
          </p:txBody>
        </p:sp>
        <p:sp>
          <p:nvSpPr>
            <p:cNvPr id="21" name="Oval 22">
              <a:extLst>
                <a:ext uri="{FF2B5EF4-FFF2-40B4-BE49-F238E27FC236}">
                  <a16:creationId xmlns:a16="http://schemas.microsoft.com/office/drawing/2014/main" id="{F414C336-5AE9-4A19-BC65-F6EE5F51C613}"/>
                </a:ext>
              </a:extLst>
            </p:cNvPr>
            <p:cNvSpPr>
              <a:spLocks noChangeAspect="1"/>
            </p:cNvSpPr>
            <p:nvPr userDrawn="1"/>
          </p:nvSpPr>
          <p:spPr>
            <a:xfrm>
              <a:off x="-259765" y="3903095"/>
              <a:ext cx="144000" cy="144000"/>
            </a:xfrm>
            <a:prstGeom prst="rect">
              <a:avLst/>
            </a:prstGeom>
            <a:solidFill>
              <a:srgbClr val="333333"/>
            </a:solidFill>
            <a:ln w="127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endParaRPr lang="en-US" sz="2800">
                <a:solidFill>
                  <a:schemeClr val="tx2"/>
                </a:solidFill>
              </a:endParaRPr>
            </a:p>
          </p:txBody>
        </p:sp>
      </p:grpSp>
      <p:sp>
        <p:nvSpPr>
          <p:cNvPr id="3" name="MSIPCMContentMarking" descr="{&quot;HashCode&quot;:88302131,&quot;Placement&quot;:&quot;Footer&quot;,&quot;Top&quot;:387.034332,&quot;Left&quot;:320.6956,&quot;SlideWidth&quot;:720,&quot;SlideHeight&quot;:405}">
            <a:extLst>
              <a:ext uri="{FF2B5EF4-FFF2-40B4-BE49-F238E27FC236}">
                <a16:creationId xmlns:a16="http://schemas.microsoft.com/office/drawing/2014/main" id="{86EA3E65-896D-F599-AABE-2361B896A29B}"/>
              </a:ext>
            </a:extLst>
          </p:cNvPr>
          <p:cNvSpPr txBox="1"/>
          <p:nvPr userDrawn="1"/>
        </p:nvSpPr>
        <p:spPr>
          <a:xfrm>
            <a:off x="4072834" y="4915336"/>
            <a:ext cx="998332" cy="228163"/>
          </a:xfrm>
          <a:prstGeom prst="rect">
            <a:avLst/>
          </a:prstGeom>
          <a:noFill/>
          <a:ln>
            <a:noFill/>
          </a:ln>
        </p:spPr>
        <p:txBody>
          <a:bodyPr vert="horz" wrap="square" lIns="0" tIns="0" rIns="0" bIns="0" rtlCol="0" anchor="ctr" anchorCtr="1">
            <a:noAutofit/>
          </a:bodyPr>
          <a:lstStyle/>
          <a:p>
            <a:pPr marL="0" marR="0" indent="0" algn="ctr" defTabSz="180000" rtl="0" eaLnBrk="1" fontAlgn="auto" latinLnBrk="0" hangingPunct="1">
              <a:lnSpc>
                <a:spcPct val="100000"/>
              </a:lnSpc>
              <a:spcBef>
                <a:spcPts val="0"/>
              </a:spcBef>
              <a:spcAft>
                <a:spcPts val="0"/>
              </a:spcAft>
              <a:buClrTx/>
              <a:buSzTx/>
              <a:buFont typeface="+mj-lt"/>
              <a:buNone/>
              <a:tabLst>
                <a:tab pos="180000" algn="l"/>
              </a:tabLst>
            </a:pPr>
            <a:r>
              <a:rPr kumimoji="0" lang="en-US"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Nokia internal use</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570891957"/>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2.xml"/><Relationship Id="rId1" Type="http://schemas.openxmlformats.org/officeDocument/2006/relationships/tags" Target="../tags/tag16.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7F31DF8-CF0E-4359-A2DF-121A68AAE003}"/>
              </a:ext>
            </a:extLst>
          </p:cNvPr>
          <p:cNvGraphicFramePr>
            <a:graphicFrameLocks noChangeAspect="1"/>
          </p:cNvGraphicFramePr>
          <p:nvPr>
            <p:custDataLst>
              <p:tags r:id="rId1"/>
            </p:custDataLst>
            <p:extLst>
              <p:ext uri="{D42A27DB-BD31-4B8C-83A1-F6EECF244321}">
                <p14:modId xmlns:p14="http://schemas.microsoft.com/office/powerpoint/2010/main" val="4067783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Object 5" hidden="1">
                        <a:extLst>
                          <a:ext uri="{FF2B5EF4-FFF2-40B4-BE49-F238E27FC236}">
                            <a16:creationId xmlns:a16="http://schemas.microsoft.com/office/drawing/2014/main" id="{E7F31DF8-CF0E-4359-A2DF-121A68AAE0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72F4584-A238-F682-7968-31DB59646D65}"/>
              </a:ext>
            </a:extLst>
          </p:cNvPr>
          <p:cNvSpPr>
            <a:spLocks noGrp="1"/>
          </p:cNvSpPr>
          <p:nvPr>
            <p:ph type="title"/>
          </p:nvPr>
        </p:nvSpPr>
        <p:spPr>
          <a:xfrm>
            <a:off x="417531" y="1086033"/>
            <a:ext cx="4385288" cy="1244465"/>
          </a:xfrm>
        </p:spPr>
        <p:txBody>
          <a:bodyPr vert="horz"/>
          <a:lstStyle/>
          <a:p>
            <a:r>
              <a:rPr lang="en-US" dirty="0"/>
              <a:t>MSS-400 </a:t>
            </a:r>
            <a:br>
              <a:rPr lang="en-US" dirty="0"/>
            </a:br>
            <a:r>
              <a:rPr lang="en-US" dirty="0"/>
              <a:t>Shared memory</a:t>
            </a:r>
          </a:p>
        </p:txBody>
      </p:sp>
      <p:sp>
        <p:nvSpPr>
          <p:cNvPr id="4" name="Text Placeholder 3">
            <a:extLst>
              <a:ext uri="{FF2B5EF4-FFF2-40B4-BE49-F238E27FC236}">
                <a16:creationId xmlns:a16="http://schemas.microsoft.com/office/drawing/2014/main" id="{01ACDEDB-24E6-2B78-F7E7-515259ADC01B}"/>
              </a:ext>
            </a:extLst>
          </p:cNvPr>
          <p:cNvSpPr>
            <a:spLocks noGrp="1"/>
          </p:cNvSpPr>
          <p:nvPr>
            <p:ph type="body" sz="quarter" idx="12"/>
          </p:nvPr>
        </p:nvSpPr>
        <p:spPr/>
        <p:txBody>
          <a:bodyPr/>
          <a:lstStyle/>
          <a:p>
            <a:r>
              <a:rPr lang="en-US" dirty="0"/>
              <a:t>July 2023</a:t>
            </a:r>
          </a:p>
          <a:p>
            <a:endParaRPr lang="en-US" sz="1600" dirty="0"/>
          </a:p>
        </p:txBody>
      </p:sp>
      <p:sp>
        <p:nvSpPr>
          <p:cNvPr id="2" name="Footer Placeholder 1">
            <a:extLst>
              <a:ext uri="{FF2B5EF4-FFF2-40B4-BE49-F238E27FC236}">
                <a16:creationId xmlns:a16="http://schemas.microsoft.com/office/drawing/2014/main" id="{D4743745-B170-2993-92CB-2135631A4E9C}"/>
              </a:ext>
            </a:extLst>
          </p:cNvPr>
          <p:cNvSpPr>
            <a:spLocks noGrp="1"/>
          </p:cNvSpPr>
          <p:nvPr>
            <p:ph type="ftr" sz="quarter" idx="3"/>
          </p:nvPr>
        </p:nvSpPr>
        <p:spPr>
          <a:xfrm>
            <a:off x="1504610" y="4858555"/>
            <a:ext cx="2880000" cy="122400"/>
          </a:xfrm>
          <a:prstGeom prst="rect">
            <a:avLst/>
          </a:prstGeom>
        </p:spPr>
        <p:txBody>
          <a:bodyPr/>
          <a:lstStyle/>
          <a:p>
            <a:r>
              <a:rPr lang="en-US"/>
              <a:t>Nokia internal use</a:t>
            </a:r>
            <a:endParaRPr lang="en-US" dirty="0"/>
          </a:p>
        </p:txBody>
      </p:sp>
    </p:spTree>
    <p:extLst>
      <p:ext uri="{BB962C8B-B14F-4D97-AF65-F5344CB8AC3E}">
        <p14:creationId xmlns:p14="http://schemas.microsoft.com/office/powerpoint/2010/main" val="1661827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52687C-0B92-B3F0-68FB-913EFC57F539}"/>
              </a:ext>
            </a:extLst>
          </p:cNvPr>
          <p:cNvSpPr>
            <a:spLocks noGrp="1"/>
          </p:cNvSpPr>
          <p:nvPr>
            <p:ph type="body" sz="quarter" idx="12"/>
          </p:nvPr>
        </p:nvSpPr>
        <p:spPr/>
        <p:txBody>
          <a:bodyPr lIns="0" tIns="0" rIns="0" bIns="0" anchor="t"/>
          <a:lstStyle/>
          <a:p>
            <a:r>
              <a:rPr lang="it-IT" dirty="0" err="1">
                <a:latin typeface="Nokia Pure Headline Light"/>
              </a:rPr>
              <a:t>Shared</a:t>
            </a:r>
            <a:r>
              <a:rPr lang="it-IT" dirty="0">
                <a:latin typeface="Nokia Pure Headline Light"/>
              </a:rPr>
              <a:t> Memory 1/4</a:t>
            </a:r>
            <a:endParaRPr lang="en-US" dirty="0">
              <a:latin typeface="Nokia Pure Headline Light"/>
            </a:endParaRPr>
          </a:p>
        </p:txBody>
      </p:sp>
      <p:sp>
        <p:nvSpPr>
          <p:cNvPr id="3" name="Text Placeholder 2">
            <a:extLst>
              <a:ext uri="{FF2B5EF4-FFF2-40B4-BE49-F238E27FC236}">
                <a16:creationId xmlns:a16="http://schemas.microsoft.com/office/drawing/2014/main" id="{E6387616-ADA3-1B1C-7E49-E401E5F41F50}"/>
              </a:ext>
            </a:extLst>
          </p:cNvPr>
          <p:cNvSpPr>
            <a:spLocks noGrp="1"/>
          </p:cNvSpPr>
          <p:nvPr>
            <p:ph type="body" sz="quarter" idx="13"/>
          </p:nvPr>
        </p:nvSpPr>
        <p:spPr>
          <a:xfrm>
            <a:off x="369770" y="764349"/>
            <a:ext cx="8308800" cy="340654"/>
          </a:xfrm>
        </p:spPr>
        <p:txBody>
          <a:bodyPr/>
          <a:lstStyle/>
          <a:p>
            <a:r>
              <a:rPr lang="it-IT" dirty="0"/>
              <a:t>New SW Architecture</a:t>
            </a:r>
            <a:endParaRPr lang="en-US" dirty="0"/>
          </a:p>
        </p:txBody>
      </p:sp>
      <p:sp>
        <p:nvSpPr>
          <p:cNvPr id="5" name="Footer Placeholder 4">
            <a:extLst>
              <a:ext uri="{FF2B5EF4-FFF2-40B4-BE49-F238E27FC236}">
                <a16:creationId xmlns:a16="http://schemas.microsoft.com/office/drawing/2014/main" id="{6DAC20F3-4A3D-5BF8-8690-8DA877B59D1B}"/>
              </a:ext>
            </a:extLst>
          </p:cNvPr>
          <p:cNvSpPr>
            <a:spLocks noGrp="1"/>
          </p:cNvSpPr>
          <p:nvPr>
            <p:ph type="ftr" sz="quarter" idx="3"/>
          </p:nvPr>
        </p:nvSpPr>
        <p:spPr/>
        <p:txBody>
          <a:bodyPr/>
          <a:lstStyle/>
          <a:p>
            <a:r>
              <a:rPr lang="en-US"/>
              <a:t>Nokia internal use</a:t>
            </a:r>
            <a:endParaRPr lang="en-US" dirty="0"/>
          </a:p>
        </p:txBody>
      </p:sp>
      <p:sp>
        <p:nvSpPr>
          <p:cNvPr id="8" name="Rectangle: Rounded Corners 7">
            <a:extLst>
              <a:ext uri="{FF2B5EF4-FFF2-40B4-BE49-F238E27FC236}">
                <a16:creationId xmlns:a16="http://schemas.microsoft.com/office/drawing/2014/main" id="{A2F346EE-A3DB-6F15-EF0C-0D54C02479CF}"/>
              </a:ext>
            </a:extLst>
          </p:cNvPr>
          <p:cNvSpPr/>
          <p:nvPr/>
        </p:nvSpPr>
        <p:spPr>
          <a:xfrm>
            <a:off x="169328" y="1947898"/>
            <a:ext cx="1440000" cy="1130430"/>
          </a:xfrm>
          <a:prstGeom prst="roundRect">
            <a:avLst/>
          </a:prstGeom>
          <a:solidFill>
            <a:schemeClr val="tx2">
              <a:lumMod val="50000"/>
              <a:lumOff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endParaRPr lang="en-US" dirty="0">
              <a:solidFill>
                <a:schemeClr val="tx2"/>
              </a:solidFill>
            </a:endParaRPr>
          </a:p>
        </p:txBody>
      </p:sp>
      <p:sp>
        <p:nvSpPr>
          <p:cNvPr id="9" name="Rectangle 8">
            <a:extLst>
              <a:ext uri="{FF2B5EF4-FFF2-40B4-BE49-F238E27FC236}">
                <a16:creationId xmlns:a16="http://schemas.microsoft.com/office/drawing/2014/main" id="{A7CEDEDE-1627-5E02-849F-CDC6F97947A1}"/>
              </a:ext>
            </a:extLst>
          </p:cNvPr>
          <p:cNvSpPr/>
          <p:nvPr/>
        </p:nvSpPr>
        <p:spPr>
          <a:xfrm>
            <a:off x="2119222" y="1062488"/>
            <a:ext cx="3686034" cy="45165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sp>
        <p:nvSpPr>
          <p:cNvPr id="10" name="TextBox 9">
            <a:extLst>
              <a:ext uri="{FF2B5EF4-FFF2-40B4-BE49-F238E27FC236}">
                <a16:creationId xmlns:a16="http://schemas.microsoft.com/office/drawing/2014/main" id="{6B80DAD3-9E1B-8357-714E-26F0CB4DA635}"/>
              </a:ext>
            </a:extLst>
          </p:cNvPr>
          <p:cNvSpPr txBox="1"/>
          <p:nvPr/>
        </p:nvSpPr>
        <p:spPr>
          <a:xfrm>
            <a:off x="2665736" y="1147059"/>
            <a:ext cx="1843315" cy="301172"/>
          </a:xfrm>
          <a:prstGeom prst="rect">
            <a:avLst/>
          </a:prstGeom>
          <a:noFill/>
          <a:ln>
            <a:noFill/>
          </a:ln>
        </p:spPr>
        <p:txBody>
          <a:bodyPr wrap="non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kumimoji="0" lang="it-IT" b="0" i="0" u="none" strike="noStrike" kern="1200" cap="none" spc="0" normalizeH="0" baseline="0" noProof="0" dirty="0">
                <a:ln>
                  <a:noFill/>
                </a:ln>
                <a:solidFill>
                  <a:schemeClr val="tx2"/>
                </a:solidFill>
                <a:effectLst/>
                <a:uLnTx/>
                <a:uFillTx/>
                <a:latin typeface="Nokia Pure Text Light"/>
                <a:ea typeface="+mn-ea"/>
                <a:cs typeface="+mn-cs"/>
              </a:rPr>
              <a:t>NEW Info Model</a:t>
            </a:r>
            <a:endParaRPr kumimoji="0" lang="en-US" b="0" i="0" u="none" strike="noStrike" kern="1200" cap="none" spc="0" normalizeH="0" baseline="0" noProof="0" dirty="0">
              <a:ln>
                <a:noFill/>
              </a:ln>
              <a:solidFill>
                <a:schemeClr val="tx2"/>
              </a:solidFill>
              <a:effectLst/>
              <a:uLnTx/>
              <a:uFillTx/>
              <a:latin typeface="Nokia Pure Text Light"/>
              <a:ea typeface="+mn-ea"/>
              <a:cs typeface="+mn-cs"/>
            </a:endParaRPr>
          </a:p>
        </p:txBody>
      </p:sp>
      <p:cxnSp>
        <p:nvCxnSpPr>
          <p:cNvPr id="15" name="Straight Arrow Connector 14">
            <a:extLst>
              <a:ext uri="{FF2B5EF4-FFF2-40B4-BE49-F238E27FC236}">
                <a16:creationId xmlns:a16="http://schemas.microsoft.com/office/drawing/2014/main" id="{35DB3158-3E4A-D54D-B466-04006912C07D}"/>
              </a:ext>
            </a:extLst>
          </p:cNvPr>
          <p:cNvCxnSpPr>
            <a:cxnSpLocks/>
          </p:cNvCxnSpPr>
          <p:nvPr/>
        </p:nvCxnSpPr>
        <p:spPr>
          <a:xfrm flipH="1" flipV="1">
            <a:off x="3907981" y="1545232"/>
            <a:ext cx="266345" cy="445324"/>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sp>
        <p:nvSpPr>
          <p:cNvPr id="16" name="TextBox 15">
            <a:extLst>
              <a:ext uri="{FF2B5EF4-FFF2-40B4-BE49-F238E27FC236}">
                <a16:creationId xmlns:a16="http://schemas.microsoft.com/office/drawing/2014/main" id="{B285D44B-1576-AC68-357C-67E096494214}"/>
              </a:ext>
            </a:extLst>
          </p:cNvPr>
          <p:cNvSpPr txBox="1"/>
          <p:nvPr/>
        </p:nvSpPr>
        <p:spPr>
          <a:xfrm>
            <a:off x="374985" y="2078072"/>
            <a:ext cx="1129626" cy="305263"/>
          </a:xfrm>
          <a:prstGeom prst="rect">
            <a:avLst/>
          </a:prstGeom>
          <a:noFill/>
          <a:ln>
            <a:noFill/>
          </a:ln>
        </p:spPr>
        <p:txBody>
          <a:bodyPr wrap="none" lIns="0" tIns="0" rIns="0" bIns="0" rtlCol="0" anchor="t">
            <a:noAutofit/>
          </a:bodyPr>
          <a:lstStyle/>
          <a:p>
            <a:pPr defTabSz="180000">
              <a:spcAft>
                <a:spcPts val="300"/>
              </a:spcAft>
              <a:tabLst>
                <a:tab pos="180000" algn="l"/>
              </a:tabLst>
            </a:pPr>
            <a:r>
              <a:rPr lang="it-IT" sz="1400" b="1" dirty="0" err="1">
                <a:solidFill>
                  <a:schemeClr val="tx2"/>
                </a:solidFill>
                <a:latin typeface="Nokia Pure Text Light"/>
              </a:rPr>
              <a:t>dpManager</a:t>
            </a:r>
            <a:endParaRPr kumimoji="0" lang="it-IT" sz="1400" b="1" i="0" u="none" strike="noStrike" kern="1200" cap="none" spc="0" normalizeH="0" baseline="0" noProof="0" dirty="0" err="1">
              <a:ln>
                <a:noFill/>
              </a:ln>
              <a:solidFill>
                <a:schemeClr val="tx2"/>
              </a:solidFill>
              <a:effectLst/>
              <a:uLnTx/>
              <a:uFillTx/>
              <a:latin typeface="Nokia Pure Text Light"/>
              <a:ea typeface="+mn-ea"/>
              <a:cs typeface="+mn-cs"/>
            </a:endParaRPr>
          </a:p>
        </p:txBody>
      </p:sp>
      <p:sp>
        <p:nvSpPr>
          <p:cNvPr id="59" name="Rectangle: Rounded Corners 58">
            <a:extLst>
              <a:ext uri="{FF2B5EF4-FFF2-40B4-BE49-F238E27FC236}">
                <a16:creationId xmlns:a16="http://schemas.microsoft.com/office/drawing/2014/main" id="{7D75D853-2FAE-9E26-F66E-2E1C22178670}"/>
              </a:ext>
            </a:extLst>
          </p:cNvPr>
          <p:cNvSpPr/>
          <p:nvPr/>
        </p:nvSpPr>
        <p:spPr>
          <a:xfrm>
            <a:off x="214360" y="2573483"/>
            <a:ext cx="1314190" cy="36629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r>
              <a:rPr lang="it-IT" sz="1200" dirty="0">
                <a:solidFill>
                  <a:schemeClr val="tx2"/>
                </a:solidFill>
              </a:rPr>
              <a:t>libshareddata.so</a:t>
            </a:r>
            <a:endParaRPr lang="en-US" sz="1200" dirty="0">
              <a:solidFill>
                <a:schemeClr val="tx2"/>
              </a:solidFill>
            </a:endParaRPr>
          </a:p>
        </p:txBody>
      </p:sp>
      <p:sp>
        <p:nvSpPr>
          <p:cNvPr id="68" name="Cylinder 67">
            <a:extLst>
              <a:ext uri="{FF2B5EF4-FFF2-40B4-BE49-F238E27FC236}">
                <a16:creationId xmlns:a16="http://schemas.microsoft.com/office/drawing/2014/main" id="{7CDBA207-F6E3-CC58-B7D5-87E52E4808E5}"/>
              </a:ext>
            </a:extLst>
          </p:cNvPr>
          <p:cNvSpPr/>
          <p:nvPr/>
        </p:nvSpPr>
        <p:spPr>
          <a:xfrm>
            <a:off x="6018213" y="3694678"/>
            <a:ext cx="674886" cy="906332"/>
          </a:xfrm>
          <a:prstGeom prst="ca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300"/>
              </a:spcAft>
              <a:buSzPct val="100000"/>
            </a:pPr>
            <a:r>
              <a:rPr lang="it-IT" sz="1200" b="1" dirty="0">
                <a:solidFill>
                  <a:schemeClr val="tx2"/>
                </a:solidFill>
              </a:rPr>
              <a:t>Legacy PLM DB</a:t>
            </a:r>
          </a:p>
        </p:txBody>
      </p:sp>
      <p:cxnSp>
        <p:nvCxnSpPr>
          <p:cNvPr id="70" name="Straight Connector 69">
            <a:extLst>
              <a:ext uri="{FF2B5EF4-FFF2-40B4-BE49-F238E27FC236}">
                <a16:creationId xmlns:a16="http://schemas.microsoft.com/office/drawing/2014/main" id="{11B3DB68-A9D5-592E-F8A9-91FBF2B35EA5}"/>
              </a:ext>
            </a:extLst>
          </p:cNvPr>
          <p:cNvCxnSpPr>
            <a:cxnSpLocks/>
          </p:cNvCxnSpPr>
          <p:nvPr/>
        </p:nvCxnSpPr>
        <p:spPr>
          <a:xfrm>
            <a:off x="6010040" y="3591259"/>
            <a:ext cx="801691" cy="1062123"/>
          </a:xfrm>
          <a:prstGeom prst="line">
            <a:avLst/>
          </a:prstGeom>
          <a:ln w="381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1558E08-1127-8A95-D531-62D08556FB7D}"/>
              </a:ext>
            </a:extLst>
          </p:cNvPr>
          <p:cNvCxnSpPr>
            <a:cxnSpLocks/>
          </p:cNvCxnSpPr>
          <p:nvPr/>
        </p:nvCxnSpPr>
        <p:spPr>
          <a:xfrm flipH="1">
            <a:off x="5831014" y="3605068"/>
            <a:ext cx="760475" cy="1090417"/>
          </a:xfrm>
          <a:prstGeom prst="line">
            <a:avLst/>
          </a:prstGeom>
          <a:ln w="38100">
            <a:solidFill>
              <a:srgbClr val="001135"/>
            </a:solidFill>
            <a:prstDash val="dash"/>
          </a:ln>
        </p:spPr>
        <p:style>
          <a:lnRef idx="1">
            <a:schemeClr val="accent1"/>
          </a:lnRef>
          <a:fillRef idx="0">
            <a:schemeClr val="accent1"/>
          </a:fillRef>
          <a:effectRef idx="0">
            <a:schemeClr val="accent1"/>
          </a:effectRef>
          <a:fontRef idx="minor">
            <a:schemeClr val="tx1"/>
          </a:fontRef>
        </p:style>
      </p:cxnSp>
      <p:sp>
        <p:nvSpPr>
          <p:cNvPr id="82" name="Rectangle: Rounded Corners 81">
            <a:extLst>
              <a:ext uri="{FF2B5EF4-FFF2-40B4-BE49-F238E27FC236}">
                <a16:creationId xmlns:a16="http://schemas.microsoft.com/office/drawing/2014/main" id="{47156CC2-B77D-8F8F-845F-A51A24906B9C}"/>
              </a:ext>
            </a:extLst>
          </p:cNvPr>
          <p:cNvSpPr/>
          <p:nvPr/>
        </p:nvSpPr>
        <p:spPr>
          <a:xfrm>
            <a:off x="7258414" y="2249492"/>
            <a:ext cx="1036187" cy="595086"/>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r>
              <a:rPr lang="it-IT" sz="1200" b="1" dirty="0">
                <a:solidFill>
                  <a:schemeClr val="tx2"/>
                </a:solidFill>
              </a:rPr>
              <a:t>NOKIA </a:t>
            </a:r>
          </a:p>
          <a:p>
            <a:pPr algn="ctr">
              <a:spcAft>
                <a:spcPts val="300"/>
              </a:spcAft>
              <a:buSzPct val="100000"/>
            </a:pPr>
            <a:r>
              <a:rPr lang="it-IT" sz="1200" b="1" dirty="0">
                <a:solidFill>
                  <a:schemeClr val="tx2"/>
                </a:solidFill>
              </a:rPr>
              <a:t>PLM</a:t>
            </a:r>
          </a:p>
        </p:txBody>
      </p:sp>
      <p:cxnSp>
        <p:nvCxnSpPr>
          <p:cNvPr id="83" name="Straight Connector 82">
            <a:extLst>
              <a:ext uri="{FF2B5EF4-FFF2-40B4-BE49-F238E27FC236}">
                <a16:creationId xmlns:a16="http://schemas.microsoft.com/office/drawing/2014/main" id="{715FE6CA-8639-A15A-BF4D-5A27685B3F0F}"/>
              </a:ext>
            </a:extLst>
          </p:cNvPr>
          <p:cNvCxnSpPr>
            <a:cxnSpLocks/>
          </p:cNvCxnSpPr>
          <p:nvPr/>
        </p:nvCxnSpPr>
        <p:spPr>
          <a:xfrm>
            <a:off x="7338573" y="2132438"/>
            <a:ext cx="828525" cy="878623"/>
          </a:xfrm>
          <a:prstGeom prst="line">
            <a:avLst/>
          </a:prstGeom>
          <a:ln w="381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A7CA61C-0A79-DE5A-D790-F979974B7B93}"/>
              </a:ext>
            </a:extLst>
          </p:cNvPr>
          <p:cNvCxnSpPr>
            <a:cxnSpLocks/>
          </p:cNvCxnSpPr>
          <p:nvPr/>
        </p:nvCxnSpPr>
        <p:spPr>
          <a:xfrm flipH="1">
            <a:off x="7328931" y="2152693"/>
            <a:ext cx="828525" cy="857442"/>
          </a:xfrm>
          <a:prstGeom prst="line">
            <a:avLst/>
          </a:prstGeom>
          <a:ln w="381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71258BF8-59A8-F7BC-19D4-0333F0D6AD32}"/>
              </a:ext>
            </a:extLst>
          </p:cNvPr>
          <p:cNvSpPr/>
          <p:nvPr/>
        </p:nvSpPr>
        <p:spPr>
          <a:xfrm>
            <a:off x="1752164" y="1959190"/>
            <a:ext cx="1440000" cy="1130430"/>
          </a:xfrm>
          <a:prstGeom prst="roundRect">
            <a:avLst/>
          </a:prstGeom>
          <a:solidFill>
            <a:schemeClr val="tx2">
              <a:lumMod val="50000"/>
              <a:lumOff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endParaRPr lang="en-US" dirty="0">
              <a:solidFill>
                <a:schemeClr val="tx2"/>
              </a:solidFill>
            </a:endParaRPr>
          </a:p>
        </p:txBody>
      </p:sp>
      <p:sp>
        <p:nvSpPr>
          <p:cNvPr id="14" name="TextBox 13">
            <a:extLst>
              <a:ext uri="{FF2B5EF4-FFF2-40B4-BE49-F238E27FC236}">
                <a16:creationId xmlns:a16="http://schemas.microsoft.com/office/drawing/2014/main" id="{DF88B725-CE5C-701C-8D28-ACB4AAFE799B}"/>
              </a:ext>
            </a:extLst>
          </p:cNvPr>
          <p:cNvSpPr txBox="1"/>
          <p:nvPr/>
        </p:nvSpPr>
        <p:spPr>
          <a:xfrm>
            <a:off x="2069395" y="2094312"/>
            <a:ext cx="883355" cy="289023"/>
          </a:xfrm>
          <a:prstGeom prst="rect">
            <a:avLst/>
          </a:prstGeom>
          <a:noFill/>
          <a:ln>
            <a:noFill/>
          </a:ln>
        </p:spPr>
        <p:txBody>
          <a:bodyPr wrap="none" lIns="0" tIns="0" rIns="0" bIns="0" rtlCol="0" anchor="t">
            <a:noAutofit/>
          </a:bodyPr>
          <a:lstStyle/>
          <a:p>
            <a:pPr defTabSz="180000">
              <a:spcAft>
                <a:spcPts val="300"/>
              </a:spcAft>
              <a:tabLst>
                <a:tab pos="180000" algn="l"/>
              </a:tabLst>
            </a:pPr>
            <a:r>
              <a:rPr kumimoji="0" lang="it-IT" sz="1400" b="1" i="0" u="none" strike="noStrike" kern="1200" cap="none" spc="0" normalizeH="0" baseline="0" noProof="0" dirty="0" err="1">
                <a:ln>
                  <a:noFill/>
                </a:ln>
                <a:solidFill>
                  <a:schemeClr val="tx2"/>
                </a:solidFill>
                <a:effectLst/>
                <a:uLnTx/>
                <a:uFillTx/>
                <a:latin typeface="Nokia Pure Text Light"/>
                <a:ea typeface="+mn-ea"/>
                <a:cs typeface="+mn-cs"/>
              </a:rPr>
              <a:t>oduCntrl</a:t>
            </a:r>
            <a:endParaRPr kumimoji="0" lang="it-IT" sz="1400" b="1" i="0" u="none" strike="noStrike" kern="1200" cap="none" spc="0" normalizeH="0" baseline="0" noProof="0" dirty="0">
              <a:ln>
                <a:noFill/>
              </a:ln>
              <a:solidFill>
                <a:schemeClr val="tx2"/>
              </a:solidFill>
              <a:effectLst/>
              <a:uLnTx/>
              <a:uFillTx/>
              <a:latin typeface="Nokia Pure Text Light"/>
              <a:ea typeface="+mn-ea"/>
              <a:cs typeface="+mn-cs"/>
            </a:endParaRPr>
          </a:p>
        </p:txBody>
      </p:sp>
      <p:sp>
        <p:nvSpPr>
          <p:cNvPr id="21" name="Rectangle: Rounded Corners 20">
            <a:extLst>
              <a:ext uri="{FF2B5EF4-FFF2-40B4-BE49-F238E27FC236}">
                <a16:creationId xmlns:a16="http://schemas.microsoft.com/office/drawing/2014/main" id="{9D816734-DDAC-5886-7C9B-53F4D2D2699A}"/>
              </a:ext>
            </a:extLst>
          </p:cNvPr>
          <p:cNvSpPr/>
          <p:nvPr/>
        </p:nvSpPr>
        <p:spPr>
          <a:xfrm>
            <a:off x="3374742" y="1988630"/>
            <a:ext cx="1440000" cy="1167952"/>
          </a:xfrm>
          <a:prstGeom prst="roundRect">
            <a:avLst/>
          </a:prstGeom>
          <a:solidFill>
            <a:schemeClr val="tx2">
              <a:lumMod val="50000"/>
              <a:lumOff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endParaRPr lang="en-US" dirty="0">
              <a:solidFill>
                <a:schemeClr val="tx2"/>
              </a:solidFill>
            </a:endParaRPr>
          </a:p>
        </p:txBody>
      </p:sp>
      <p:sp>
        <p:nvSpPr>
          <p:cNvPr id="22" name="TextBox 21">
            <a:extLst>
              <a:ext uri="{FF2B5EF4-FFF2-40B4-BE49-F238E27FC236}">
                <a16:creationId xmlns:a16="http://schemas.microsoft.com/office/drawing/2014/main" id="{DCA0E4C1-BCD2-BF6D-1E79-F628D200A461}"/>
              </a:ext>
            </a:extLst>
          </p:cNvPr>
          <p:cNvSpPr txBox="1"/>
          <p:nvPr/>
        </p:nvSpPr>
        <p:spPr>
          <a:xfrm>
            <a:off x="3623101" y="2086614"/>
            <a:ext cx="948900" cy="296722"/>
          </a:xfrm>
          <a:prstGeom prst="rect">
            <a:avLst/>
          </a:prstGeom>
          <a:noFill/>
          <a:ln>
            <a:noFill/>
          </a:ln>
        </p:spPr>
        <p:txBody>
          <a:bodyPr wrap="none" lIns="0" tIns="0" rIns="0" bIns="0" rtlCol="0" anchor="t">
            <a:noAutofit/>
          </a:bodyPr>
          <a:lstStyle/>
          <a:p>
            <a:pPr defTabSz="180000">
              <a:spcAft>
                <a:spcPts val="300"/>
              </a:spcAft>
              <a:tabLst>
                <a:tab pos="180000" algn="l"/>
              </a:tabLst>
            </a:pPr>
            <a:r>
              <a:rPr kumimoji="0" lang="it-IT" sz="1400" b="1" i="0" u="none" strike="noStrike" kern="1200" cap="none" spc="0" normalizeH="0" baseline="0" noProof="0" dirty="0" err="1">
                <a:ln>
                  <a:noFill/>
                </a:ln>
                <a:solidFill>
                  <a:schemeClr val="tx2"/>
                </a:solidFill>
                <a:effectLst/>
                <a:uLnTx/>
                <a:uFillTx/>
                <a:latin typeface="Nokia Pure Text Light"/>
                <a:ea typeface="+mn-ea"/>
                <a:cs typeface="+mn-cs"/>
              </a:rPr>
              <a:t>chData</a:t>
            </a:r>
            <a:endParaRPr kumimoji="0" lang="it-IT" sz="1400" b="1" i="0" u="none" strike="noStrike" kern="1200" cap="none" spc="0" normalizeH="0" baseline="0" noProof="0" dirty="0">
              <a:ln>
                <a:noFill/>
              </a:ln>
              <a:solidFill>
                <a:schemeClr val="tx2"/>
              </a:solidFill>
              <a:effectLst/>
              <a:uLnTx/>
              <a:uFillTx/>
              <a:latin typeface="Nokia Pure Text Light"/>
              <a:ea typeface="+mn-ea"/>
              <a:cs typeface="+mn-cs"/>
            </a:endParaRPr>
          </a:p>
        </p:txBody>
      </p:sp>
      <p:cxnSp>
        <p:nvCxnSpPr>
          <p:cNvPr id="26" name="Straight Arrow Connector 25">
            <a:extLst>
              <a:ext uri="{FF2B5EF4-FFF2-40B4-BE49-F238E27FC236}">
                <a16:creationId xmlns:a16="http://schemas.microsoft.com/office/drawing/2014/main" id="{9015E48A-3F49-1D21-5CF8-F1463F3CFBA8}"/>
              </a:ext>
            </a:extLst>
          </p:cNvPr>
          <p:cNvCxnSpPr>
            <a:cxnSpLocks/>
          </p:cNvCxnSpPr>
          <p:nvPr/>
        </p:nvCxnSpPr>
        <p:spPr>
          <a:xfrm flipH="1" flipV="1">
            <a:off x="2504387" y="2948287"/>
            <a:ext cx="678573" cy="540703"/>
          </a:xfrm>
          <a:prstGeom prst="straightConnector1">
            <a:avLst/>
          </a:prstGeom>
          <a:ln w="63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0AA8948-521C-A0D7-B422-A58C2EE4960C}"/>
              </a:ext>
            </a:extLst>
          </p:cNvPr>
          <p:cNvCxnSpPr>
            <a:cxnSpLocks/>
            <a:stCxn id="12" idx="1"/>
            <a:endCxn id="59" idx="2"/>
          </p:cNvCxnSpPr>
          <p:nvPr/>
        </p:nvCxnSpPr>
        <p:spPr>
          <a:xfrm flipH="1" flipV="1">
            <a:off x="871455" y="2939780"/>
            <a:ext cx="1050131" cy="1208064"/>
          </a:xfrm>
          <a:prstGeom prst="straightConnector1">
            <a:avLst/>
          </a:prstGeom>
          <a:ln w="63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568AF7F3-AAF5-E07C-96B5-AAC8CC08BB72}"/>
              </a:ext>
            </a:extLst>
          </p:cNvPr>
          <p:cNvSpPr/>
          <p:nvPr/>
        </p:nvSpPr>
        <p:spPr>
          <a:xfrm>
            <a:off x="5024786" y="1988630"/>
            <a:ext cx="1440000" cy="1185568"/>
          </a:xfrm>
          <a:prstGeom prst="roundRect">
            <a:avLst/>
          </a:prstGeom>
          <a:solidFill>
            <a:schemeClr val="tx2">
              <a:lumMod val="50000"/>
              <a:lumOff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endParaRPr lang="en-US" dirty="0">
              <a:solidFill>
                <a:schemeClr val="tx2"/>
              </a:solidFill>
            </a:endParaRPr>
          </a:p>
        </p:txBody>
      </p:sp>
      <p:sp>
        <p:nvSpPr>
          <p:cNvPr id="31" name="TextBox 30">
            <a:extLst>
              <a:ext uri="{FF2B5EF4-FFF2-40B4-BE49-F238E27FC236}">
                <a16:creationId xmlns:a16="http://schemas.microsoft.com/office/drawing/2014/main" id="{891F2A23-394D-E0A7-4FD4-E2D201B522C1}"/>
              </a:ext>
            </a:extLst>
          </p:cNvPr>
          <p:cNvSpPr txBox="1"/>
          <p:nvPr/>
        </p:nvSpPr>
        <p:spPr>
          <a:xfrm>
            <a:off x="5186516" y="2101952"/>
            <a:ext cx="1094299" cy="340029"/>
          </a:xfrm>
          <a:prstGeom prst="rect">
            <a:avLst/>
          </a:prstGeom>
          <a:noFill/>
          <a:ln>
            <a:noFill/>
          </a:ln>
        </p:spPr>
        <p:txBody>
          <a:bodyPr wrap="none" lIns="0" tIns="0" rIns="0" bIns="0" rtlCol="0" anchor="t">
            <a:noAutofit/>
          </a:bodyPr>
          <a:lstStyle/>
          <a:p>
            <a:pPr defTabSz="180000">
              <a:spcAft>
                <a:spcPts val="300"/>
              </a:spcAft>
              <a:tabLst>
                <a:tab pos="180000" algn="l"/>
              </a:tabLst>
            </a:pPr>
            <a:r>
              <a:rPr lang="it-IT" sz="1400" b="1" dirty="0" err="1">
                <a:solidFill>
                  <a:schemeClr val="tx2"/>
                </a:solidFill>
                <a:latin typeface="Nokia Pure Text Light"/>
              </a:rPr>
              <a:t>Process</a:t>
            </a:r>
            <a:r>
              <a:rPr lang="it-IT" sz="1400" b="1" dirty="0">
                <a:solidFill>
                  <a:schemeClr val="tx2"/>
                </a:solidFill>
                <a:latin typeface="Nokia Pure Text Light"/>
              </a:rPr>
              <a:t> n …</a:t>
            </a:r>
            <a:endParaRPr kumimoji="0" lang="it-IT" sz="1400" b="1" i="0" u="none" strike="noStrike" kern="1200" cap="none" spc="0" normalizeH="0" baseline="0" noProof="0" dirty="0">
              <a:ln>
                <a:noFill/>
              </a:ln>
              <a:solidFill>
                <a:schemeClr val="tx2"/>
              </a:solidFill>
              <a:effectLst/>
              <a:uLnTx/>
              <a:uFillTx/>
              <a:latin typeface="Nokia Pure Text Light"/>
              <a:ea typeface="+mn-ea"/>
              <a:cs typeface="+mn-cs"/>
            </a:endParaRPr>
          </a:p>
        </p:txBody>
      </p:sp>
      <p:cxnSp>
        <p:nvCxnSpPr>
          <p:cNvPr id="35" name="Straight Arrow Connector 34">
            <a:extLst>
              <a:ext uri="{FF2B5EF4-FFF2-40B4-BE49-F238E27FC236}">
                <a16:creationId xmlns:a16="http://schemas.microsoft.com/office/drawing/2014/main" id="{EBA49228-6E7C-C0DF-706C-4FE5DB01AA2B}"/>
              </a:ext>
            </a:extLst>
          </p:cNvPr>
          <p:cNvCxnSpPr>
            <a:cxnSpLocks/>
          </p:cNvCxnSpPr>
          <p:nvPr/>
        </p:nvCxnSpPr>
        <p:spPr>
          <a:xfrm flipH="1">
            <a:off x="5126396" y="2919325"/>
            <a:ext cx="603008" cy="1155575"/>
          </a:xfrm>
          <a:prstGeom prst="straightConnector1">
            <a:avLst/>
          </a:prstGeom>
          <a:ln w="63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3BEE6CE-BEB6-1D27-6E32-8446272E15C7}"/>
              </a:ext>
            </a:extLst>
          </p:cNvPr>
          <p:cNvCxnSpPr>
            <a:cxnSpLocks/>
          </p:cNvCxnSpPr>
          <p:nvPr/>
        </p:nvCxnSpPr>
        <p:spPr>
          <a:xfrm flipV="1">
            <a:off x="1136907" y="1518882"/>
            <a:ext cx="1208154" cy="386751"/>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42" name="Straight Arrow Connector 41">
            <a:extLst>
              <a:ext uri="{FF2B5EF4-FFF2-40B4-BE49-F238E27FC236}">
                <a16:creationId xmlns:a16="http://schemas.microsoft.com/office/drawing/2014/main" id="{6DC4A393-261B-CE53-3538-4E9ABE682D70}"/>
              </a:ext>
            </a:extLst>
          </p:cNvPr>
          <p:cNvCxnSpPr>
            <a:cxnSpLocks/>
            <a:stCxn id="11" idx="0"/>
          </p:cNvCxnSpPr>
          <p:nvPr/>
        </p:nvCxnSpPr>
        <p:spPr>
          <a:xfrm flipV="1">
            <a:off x="2472164" y="1539918"/>
            <a:ext cx="1046488" cy="419272"/>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44" name="Straight Arrow Connector 43">
            <a:extLst>
              <a:ext uri="{FF2B5EF4-FFF2-40B4-BE49-F238E27FC236}">
                <a16:creationId xmlns:a16="http://schemas.microsoft.com/office/drawing/2014/main" id="{8764C980-C040-6530-774A-3DB118EF737E}"/>
              </a:ext>
            </a:extLst>
          </p:cNvPr>
          <p:cNvCxnSpPr>
            <a:cxnSpLocks/>
          </p:cNvCxnSpPr>
          <p:nvPr/>
        </p:nvCxnSpPr>
        <p:spPr>
          <a:xfrm flipH="1" flipV="1">
            <a:off x="4967089" y="1518882"/>
            <a:ext cx="562970" cy="440308"/>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sp>
        <p:nvSpPr>
          <p:cNvPr id="57" name="Rectangle: Rounded Corners 56">
            <a:extLst>
              <a:ext uri="{FF2B5EF4-FFF2-40B4-BE49-F238E27FC236}">
                <a16:creationId xmlns:a16="http://schemas.microsoft.com/office/drawing/2014/main" id="{182D747A-4F03-B67A-5DDE-774DD13999A4}"/>
              </a:ext>
            </a:extLst>
          </p:cNvPr>
          <p:cNvSpPr/>
          <p:nvPr/>
        </p:nvSpPr>
        <p:spPr>
          <a:xfrm>
            <a:off x="1815069" y="2581991"/>
            <a:ext cx="1314190" cy="36629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r>
              <a:rPr lang="it-IT" sz="1200" dirty="0">
                <a:solidFill>
                  <a:schemeClr val="tx2"/>
                </a:solidFill>
              </a:rPr>
              <a:t>libshareddata.so</a:t>
            </a:r>
            <a:endParaRPr lang="en-US" sz="1200" dirty="0">
              <a:solidFill>
                <a:schemeClr val="tx2"/>
              </a:solidFill>
            </a:endParaRPr>
          </a:p>
        </p:txBody>
      </p:sp>
      <p:sp>
        <p:nvSpPr>
          <p:cNvPr id="58" name="Rectangle: Rounded Corners 57">
            <a:extLst>
              <a:ext uri="{FF2B5EF4-FFF2-40B4-BE49-F238E27FC236}">
                <a16:creationId xmlns:a16="http://schemas.microsoft.com/office/drawing/2014/main" id="{BDA7322A-AB19-5B5E-38EB-0AB6E6CD18EF}"/>
              </a:ext>
            </a:extLst>
          </p:cNvPr>
          <p:cNvSpPr/>
          <p:nvPr/>
        </p:nvSpPr>
        <p:spPr>
          <a:xfrm>
            <a:off x="3462237" y="2581991"/>
            <a:ext cx="1314190" cy="36629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r>
              <a:rPr lang="it-IT" sz="1200" dirty="0">
                <a:solidFill>
                  <a:schemeClr val="tx2"/>
                </a:solidFill>
              </a:rPr>
              <a:t>libshareddata.so</a:t>
            </a:r>
            <a:endParaRPr lang="en-US" sz="1200" dirty="0">
              <a:solidFill>
                <a:schemeClr val="tx2"/>
              </a:solidFill>
            </a:endParaRPr>
          </a:p>
        </p:txBody>
      </p:sp>
      <p:sp>
        <p:nvSpPr>
          <p:cNvPr id="60" name="Rectangle: Rounded Corners 59">
            <a:extLst>
              <a:ext uri="{FF2B5EF4-FFF2-40B4-BE49-F238E27FC236}">
                <a16:creationId xmlns:a16="http://schemas.microsoft.com/office/drawing/2014/main" id="{2B9DC08F-266A-5B0B-B4E9-A4982395CE27}"/>
              </a:ext>
            </a:extLst>
          </p:cNvPr>
          <p:cNvSpPr/>
          <p:nvPr/>
        </p:nvSpPr>
        <p:spPr>
          <a:xfrm>
            <a:off x="5096696" y="2581990"/>
            <a:ext cx="1314190" cy="36629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r>
              <a:rPr lang="it-IT" sz="1200" dirty="0">
                <a:solidFill>
                  <a:schemeClr val="tx2"/>
                </a:solidFill>
              </a:rPr>
              <a:t>libshareddata.so</a:t>
            </a:r>
            <a:endParaRPr lang="en-US" sz="1200" dirty="0">
              <a:solidFill>
                <a:schemeClr val="tx2"/>
              </a:solidFill>
            </a:endParaRPr>
          </a:p>
        </p:txBody>
      </p:sp>
      <p:sp>
        <p:nvSpPr>
          <p:cNvPr id="12" name="Rectangle 11">
            <a:extLst>
              <a:ext uri="{FF2B5EF4-FFF2-40B4-BE49-F238E27FC236}">
                <a16:creationId xmlns:a16="http://schemas.microsoft.com/office/drawing/2014/main" id="{AA0D7576-28B6-9193-3A65-CF5DE7B366EF}"/>
              </a:ext>
            </a:extLst>
          </p:cNvPr>
          <p:cNvSpPr/>
          <p:nvPr/>
        </p:nvSpPr>
        <p:spPr>
          <a:xfrm>
            <a:off x="1921586" y="3520765"/>
            <a:ext cx="3204810" cy="1254158"/>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it-IT" sz="1200" dirty="0">
              <a:solidFill>
                <a:schemeClr val="tx2"/>
              </a:solidFill>
            </a:endParaRPr>
          </a:p>
          <a:p>
            <a:pPr algn="l">
              <a:spcAft>
                <a:spcPts val="300"/>
              </a:spcAft>
              <a:buSzPct val="100000"/>
            </a:pPr>
            <a:r>
              <a:rPr lang="it-IT" sz="1200" b="1" dirty="0">
                <a:solidFill>
                  <a:schemeClr val="tx2"/>
                </a:solidFill>
              </a:rPr>
              <a:t>                       SHARED MEMORY</a:t>
            </a:r>
          </a:p>
          <a:p>
            <a:pPr algn="l">
              <a:spcAft>
                <a:spcPts val="300"/>
              </a:spcAft>
              <a:buSzPct val="100000"/>
            </a:pPr>
            <a:r>
              <a:rPr lang="it-IT" sz="1200" b="1" dirty="0">
                <a:solidFill>
                  <a:schemeClr val="tx2"/>
                </a:solidFill>
              </a:rPr>
              <a:t>                  (</a:t>
            </a:r>
            <a:r>
              <a:rPr lang="it-IT" sz="1200" b="1" dirty="0" err="1">
                <a:solidFill>
                  <a:schemeClr val="tx2"/>
                </a:solidFill>
              </a:rPr>
              <a:t>not</a:t>
            </a:r>
            <a:r>
              <a:rPr lang="it-IT" sz="1200" b="1" dirty="0">
                <a:solidFill>
                  <a:schemeClr val="tx2"/>
                </a:solidFill>
              </a:rPr>
              <a:t> </a:t>
            </a:r>
            <a:r>
              <a:rPr lang="it-IT" sz="1200" b="1" dirty="0" err="1">
                <a:solidFill>
                  <a:schemeClr val="tx2"/>
                </a:solidFill>
              </a:rPr>
              <a:t>persistent</a:t>
            </a:r>
            <a:r>
              <a:rPr lang="it-IT" sz="1200" b="1" dirty="0">
                <a:solidFill>
                  <a:schemeClr val="tx2"/>
                </a:solidFill>
              </a:rPr>
              <a:t> </a:t>
            </a:r>
            <a:r>
              <a:rPr lang="it-IT" sz="1200" b="1" dirty="0" err="1">
                <a:solidFill>
                  <a:schemeClr val="tx2"/>
                </a:solidFill>
              </a:rPr>
              <a:t>storage</a:t>
            </a:r>
            <a:r>
              <a:rPr lang="it-IT" sz="1200" b="1" dirty="0">
                <a:solidFill>
                  <a:schemeClr val="tx2"/>
                </a:solidFill>
              </a:rPr>
              <a:t>)</a:t>
            </a:r>
          </a:p>
          <a:p>
            <a:pPr algn="l">
              <a:spcAft>
                <a:spcPts val="300"/>
              </a:spcAft>
              <a:buSzPct val="100000"/>
            </a:pPr>
            <a:endParaRPr lang="en-US" sz="1200" b="1" dirty="0">
              <a:solidFill>
                <a:schemeClr val="tx2"/>
              </a:solidFill>
            </a:endParaRPr>
          </a:p>
        </p:txBody>
      </p:sp>
      <p:sp>
        <p:nvSpPr>
          <p:cNvPr id="38" name="Cylinder 37">
            <a:extLst>
              <a:ext uri="{FF2B5EF4-FFF2-40B4-BE49-F238E27FC236}">
                <a16:creationId xmlns:a16="http://schemas.microsoft.com/office/drawing/2014/main" id="{259C6EC2-3648-64D0-6967-A3B82994A06F}"/>
              </a:ext>
            </a:extLst>
          </p:cNvPr>
          <p:cNvSpPr/>
          <p:nvPr/>
        </p:nvSpPr>
        <p:spPr>
          <a:xfrm>
            <a:off x="6814814" y="1087501"/>
            <a:ext cx="1479787" cy="397991"/>
          </a:xfrm>
          <a:prstGeom prst="ca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r>
              <a:rPr lang="it-IT" sz="1200" dirty="0">
                <a:solidFill>
                  <a:schemeClr val="tx2"/>
                </a:solidFill>
              </a:rPr>
              <a:t>Storage </a:t>
            </a:r>
            <a:endParaRPr lang="en-US" sz="1200" dirty="0">
              <a:solidFill>
                <a:schemeClr val="tx2"/>
              </a:solidFill>
            </a:endParaRPr>
          </a:p>
        </p:txBody>
      </p:sp>
      <p:cxnSp>
        <p:nvCxnSpPr>
          <p:cNvPr id="45" name="Straight Arrow Connector 44">
            <a:extLst>
              <a:ext uri="{FF2B5EF4-FFF2-40B4-BE49-F238E27FC236}">
                <a16:creationId xmlns:a16="http://schemas.microsoft.com/office/drawing/2014/main" id="{A1C0C4CB-05D5-0BC7-27BC-091E9A663FC1}"/>
              </a:ext>
            </a:extLst>
          </p:cNvPr>
          <p:cNvCxnSpPr>
            <a:cxnSpLocks/>
            <a:stCxn id="9" idx="3"/>
          </p:cNvCxnSpPr>
          <p:nvPr/>
        </p:nvCxnSpPr>
        <p:spPr>
          <a:xfrm>
            <a:off x="5805256" y="1288316"/>
            <a:ext cx="1030406" cy="54439"/>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sp>
        <p:nvSpPr>
          <p:cNvPr id="49" name="Oval 48">
            <a:extLst>
              <a:ext uri="{FF2B5EF4-FFF2-40B4-BE49-F238E27FC236}">
                <a16:creationId xmlns:a16="http://schemas.microsoft.com/office/drawing/2014/main" id="{C0CF0502-382A-8DEC-D7A5-CFE1392631F7}"/>
              </a:ext>
            </a:extLst>
          </p:cNvPr>
          <p:cNvSpPr/>
          <p:nvPr/>
        </p:nvSpPr>
        <p:spPr>
          <a:xfrm>
            <a:off x="6038082" y="3781586"/>
            <a:ext cx="49432" cy="774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cxnSp>
        <p:nvCxnSpPr>
          <p:cNvPr id="112" name="Straight Arrow Connector 111">
            <a:extLst>
              <a:ext uri="{FF2B5EF4-FFF2-40B4-BE49-F238E27FC236}">
                <a16:creationId xmlns:a16="http://schemas.microsoft.com/office/drawing/2014/main" id="{644D55AC-04D6-195C-C2B6-61EC5DF0B127}"/>
              </a:ext>
            </a:extLst>
          </p:cNvPr>
          <p:cNvCxnSpPr>
            <a:cxnSpLocks/>
          </p:cNvCxnSpPr>
          <p:nvPr/>
        </p:nvCxnSpPr>
        <p:spPr>
          <a:xfrm flipH="1">
            <a:off x="3765667" y="2976697"/>
            <a:ext cx="368096" cy="515658"/>
          </a:xfrm>
          <a:prstGeom prst="straightConnector1">
            <a:avLst/>
          </a:prstGeom>
          <a:ln w="63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7105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52687C-0B92-B3F0-68FB-913EFC57F539}"/>
              </a:ext>
            </a:extLst>
          </p:cNvPr>
          <p:cNvSpPr>
            <a:spLocks noGrp="1"/>
          </p:cNvSpPr>
          <p:nvPr>
            <p:ph type="body" sz="quarter" idx="12"/>
          </p:nvPr>
        </p:nvSpPr>
        <p:spPr/>
        <p:txBody>
          <a:bodyPr lIns="0" tIns="0" rIns="0" bIns="0" anchor="t"/>
          <a:lstStyle/>
          <a:p>
            <a:r>
              <a:rPr lang="it-IT" dirty="0" err="1">
                <a:latin typeface="Nokia Pure Headline Light"/>
              </a:rPr>
              <a:t>Shared</a:t>
            </a:r>
            <a:r>
              <a:rPr lang="it-IT" dirty="0">
                <a:latin typeface="Nokia Pure Headline Light"/>
              </a:rPr>
              <a:t> Memory 2/4</a:t>
            </a:r>
            <a:endParaRPr lang="en-US" dirty="0">
              <a:latin typeface="Nokia Pure Headline Light"/>
            </a:endParaRPr>
          </a:p>
        </p:txBody>
      </p:sp>
      <p:sp>
        <p:nvSpPr>
          <p:cNvPr id="3" name="Text Placeholder 2">
            <a:extLst>
              <a:ext uri="{FF2B5EF4-FFF2-40B4-BE49-F238E27FC236}">
                <a16:creationId xmlns:a16="http://schemas.microsoft.com/office/drawing/2014/main" id="{E6387616-ADA3-1B1C-7E49-E401E5F41F50}"/>
              </a:ext>
            </a:extLst>
          </p:cNvPr>
          <p:cNvSpPr>
            <a:spLocks noGrp="1"/>
          </p:cNvSpPr>
          <p:nvPr>
            <p:ph type="body" sz="quarter" idx="13"/>
          </p:nvPr>
        </p:nvSpPr>
        <p:spPr>
          <a:xfrm>
            <a:off x="369770" y="764349"/>
            <a:ext cx="8308800" cy="340654"/>
          </a:xfrm>
        </p:spPr>
        <p:txBody>
          <a:bodyPr/>
          <a:lstStyle/>
          <a:p>
            <a:endParaRPr lang="en-US" dirty="0"/>
          </a:p>
        </p:txBody>
      </p:sp>
      <p:sp>
        <p:nvSpPr>
          <p:cNvPr id="5" name="Footer Placeholder 4">
            <a:extLst>
              <a:ext uri="{FF2B5EF4-FFF2-40B4-BE49-F238E27FC236}">
                <a16:creationId xmlns:a16="http://schemas.microsoft.com/office/drawing/2014/main" id="{6DAC20F3-4A3D-5BF8-8690-8DA877B59D1B}"/>
              </a:ext>
            </a:extLst>
          </p:cNvPr>
          <p:cNvSpPr>
            <a:spLocks noGrp="1"/>
          </p:cNvSpPr>
          <p:nvPr>
            <p:ph type="ftr" sz="quarter" idx="3"/>
          </p:nvPr>
        </p:nvSpPr>
        <p:spPr/>
        <p:txBody>
          <a:bodyPr/>
          <a:lstStyle/>
          <a:p>
            <a:r>
              <a:rPr lang="en-US"/>
              <a:t>Nokia internal use</a:t>
            </a:r>
            <a:endParaRPr lang="en-US" dirty="0"/>
          </a:p>
        </p:txBody>
      </p:sp>
      <p:sp>
        <p:nvSpPr>
          <p:cNvPr id="8" name="Rectangle: Rounded Corners 7">
            <a:extLst>
              <a:ext uri="{FF2B5EF4-FFF2-40B4-BE49-F238E27FC236}">
                <a16:creationId xmlns:a16="http://schemas.microsoft.com/office/drawing/2014/main" id="{A2F346EE-A3DB-6F15-EF0C-0D54C02479CF}"/>
              </a:ext>
            </a:extLst>
          </p:cNvPr>
          <p:cNvSpPr/>
          <p:nvPr/>
        </p:nvSpPr>
        <p:spPr>
          <a:xfrm>
            <a:off x="158429" y="1239195"/>
            <a:ext cx="3764757" cy="1130430"/>
          </a:xfrm>
          <a:prstGeom prst="roundRect">
            <a:avLst/>
          </a:prstGeom>
          <a:solidFill>
            <a:schemeClr val="tx2">
              <a:lumMod val="50000"/>
              <a:lumOff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endParaRPr lang="en-US" dirty="0">
              <a:solidFill>
                <a:schemeClr val="tx2"/>
              </a:solidFill>
            </a:endParaRPr>
          </a:p>
        </p:txBody>
      </p:sp>
      <p:sp>
        <p:nvSpPr>
          <p:cNvPr id="16" name="TextBox 15">
            <a:extLst>
              <a:ext uri="{FF2B5EF4-FFF2-40B4-BE49-F238E27FC236}">
                <a16:creationId xmlns:a16="http://schemas.microsoft.com/office/drawing/2014/main" id="{B285D44B-1576-AC68-357C-67E096494214}"/>
              </a:ext>
            </a:extLst>
          </p:cNvPr>
          <p:cNvSpPr txBox="1"/>
          <p:nvPr/>
        </p:nvSpPr>
        <p:spPr>
          <a:xfrm>
            <a:off x="497533" y="1333615"/>
            <a:ext cx="1129626" cy="305263"/>
          </a:xfrm>
          <a:prstGeom prst="rect">
            <a:avLst/>
          </a:prstGeom>
          <a:noFill/>
          <a:ln>
            <a:noFill/>
          </a:ln>
        </p:spPr>
        <p:txBody>
          <a:bodyPr wrap="none" lIns="0" tIns="0" rIns="0" bIns="0" rtlCol="0" anchor="t">
            <a:noAutofit/>
          </a:bodyPr>
          <a:lstStyle/>
          <a:p>
            <a:pPr defTabSz="180000">
              <a:spcAft>
                <a:spcPts val="300"/>
              </a:spcAft>
              <a:tabLst>
                <a:tab pos="180000" algn="l"/>
              </a:tabLst>
            </a:pPr>
            <a:r>
              <a:rPr lang="it-IT" sz="1400" b="1" dirty="0" err="1">
                <a:solidFill>
                  <a:schemeClr val="tx2"/>
                </a:solidFill>
                <a:latin typeface="Nokia Pure Text Light"/>
              </a:rPr>
              <a:t>dpManager</a:t>
            </a:r>
            <a:endParaRPr kumimoji="0" lang="it-IT" sz="1400" b="1" i="0" u="none" strike="noStrike" kern="1200" cap="none" spc="0" normalizeH="0" baseline="0" noProof="0" dirty="0" err="1">
              <a:ln>
                <a:noFill/>
              </a:ln>
              <a:solidFill>
                <a:schemeClr val="tx2"/>
              </a:solidFill>
              <a:effectLst/>
              <a:uLnTx/>
              <a:uFillTx/>
              <a:latin typeface="Nokia Pure Text Light"/>
              <a:ea typeface="+mn-ea"/>
              <a:cs typeface="+mn-cs"/>
            </a:endParaRPr>
          </a:p>
        </p:txBody>
      </p:sp>
      <p:sp>
        <p:nvSpPr>
          <p:cNvPr id="11" name="Rectangle: Rounded Corners 10">
            <a:extLst>
              <a:ext uri="{FF2B5EF4-FFF2-40B4-BE49-F238E27FC236}">
                <a16:creationId xmlns:a16="http://schemas.microsoft.com/office/drawing/2014/main" id="{71258BF8-59A8-F7BC-19D4-0333F0D6AD32}"/>
              </a:ext>
            </a:extLst>
          </p:cNvPr>
          <p:cNvSpPr/>
          <p:nvPr/>
        </p:nvSpPr>
        <p:spPr>
          <a:xfrm>
            <a:off x="133393" y="2425403"/>
            <a:ext cx="3789793" cy="1130430"/>
          </a:xfrm>
          <a:prstGeom prst="roundRect">
            <a:avLst/>
          </a:prstGeom>
          <a:solidFill>
            <a:schemeClr val="tx2">
              <a:lumMod val="50000"/>
              <a:lumOff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endParaRPr lang="en-US" dirty="0">
              <a:solidFill>
                <a:schemeClr val="tx2"/>
              </a:solidFill>
            </a:endParaRPr>
          </a:p>
        </p:txBody>
      </p:sp>
      <p:sp>
        <p:nvSpPr>
          <p:cNvPr id="14" name="TextBox 13">
            <a:extLst>
              <a:ext uri="{FF2B5EF4-FFF2-40B4-BE49-F238E27FC236}">
                <a16:creationId xmlns:a16="http://schemas.microsoft.com/office/drawing/2014/main" id="{DF88B725-CE5C-701C-8D28-ACB4AAFE799B}"/>
              </a:ext>
            </a:extLst>
          </p:cNvPr>
          <p:cNvSpPr txBox="1"/>
          <p:nvPr/>
        </p:nvSpPr>
        <p:spPr>
          <a:xfrm>
            <a:off x="465430" y="2610277"/>
            <a:ext cx="883355" cy="289023"/>
          </a:xfrm>
          <a:prstGeom prst="rect">
            <a:avLst/>
          </a:prstGeom>
          <a:noFill/>
          <a:ln>
            <a:noFill/>
          </a:ln>
        </p:spPr>
        <p:txBody>
          <a:bodyPr wrap="none" lIns="0" tIns="0" rIns="0" bIns="0" rtlCol="0" anchor="t">
            <a:noAutofit/>
          </a:bodyPr>
          <a:lstStyle/>
          <a:p>
            <a:pPr defTabSz="180000">
              <a:spcAft>
                <a:spcPts val="300"/>
              </a:spcAft>
              <a:tabLst>
                <a:tab pos="180000" algn="l"/>
              </a:tabLst>
            </a:pPr>
            <a:r>
              <a:rPr kumimoji="0" lang="it-IT" sz="1400" b="1" i="0" u="none" strike="noStrike" kern="1200" cap="none" spc="0" normalizeH="0" baseline="0" noProof="0" dirty="0" err="1">
                <a:ln>
                  <a:noFill/>
                </a:ln>
                <a:solidFill>
                  <a:schemeClr val="tx2"/>
                </a:solidFill>
                <a:effectLst/>
                <a:uLnTx/>
                <a:uFillTx/>
                <a:latin typeface="Nokia Pure Text Light"/>
                <a:ea typeface="+mn-ea"/>
                <a:cs typeface="+mn-cs"/>
              </a:rPr>
              <a:t>oduCntrl</a:t>
            </a:r>
            <a:endParaRPr kumimoji="0" lang="it-IT" sz="1400" b="1" i="0" u="none" strike="noStrike" kern="1200" cap="none" spc="0" normalizeH="0" baseline="0" noProof="0" dirty="0">
              <a:ln>
                <a:noFill/>
              </a:ln>
              <a:solidFill>
                <a:schemeClr val="tx2"/>
              </a:solidFill>
              <a:effectLst/>
              <a:uLnTx/>
              <a:uFillTx/>
              <a:latin typeface="Nokia Pure Text Light"/>
              <a:ea typeface="+mn-ea"/>
              <a:cs typeface="+mn-cs"/>
            </a:endParaRPr>
          </a:p>
        </p:txBody>
      </p:sp>
      <p:sp>
        <p:nvSpPr>
          <p:cNvPr id="21" name="Rectangle: Rounded Corners 20">
            <a:extLst>
              <a:ext uri="{FF2B5EF4-FFF2-40B4-BE49-F238E27FC236}">
                <a16:creationId xmlns:a16="http://schemas.microsoft.com/office/drawing/2014/main" id="{9D816734-DDAC-5886-7C9B-53F4D2D2699A}"/>
              </a:ext>
            </a:extLst>
          </p:cNvPr>
          <p:cNvSpPr/>
          <p:nvPr/>
        </p:nvSpPr>
        <p:spPr>
          <a:xfrm>
            <a:off x="156011" y="3622144"/>
            <a:ext cx="3767175" cy="1167952"/>
          </a:xfrm>
          <a:prstGeom prst="roundRect">
            <a:avLst/>
          </a:prstGeom>
          <a:solidFill>
            <a:schemeClr val="tx2">
              <a:lumMod val="50000"/>
              <a:lumOff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Aft>
                <a:spcPts val="300"/>
              </a:spcAft>
              <a:buSzPct val="100000"/>
            </a:pPr>
            <a:endParaRPr lang="en-US" dirty="0">
              <a:solidFill>
                <a:schemeClr val="tx2"/>
              </a:solidFill>
            </a:endParaRPr>
          </a:p>
        </p:txBody>
      </p:sp>
      <p:sp>
        <p:nvSpPr>
          <p:cNvPr id="22" name="TextBox 21">
            <a:extLst>
              <a:ext uri="{FF2B5EF4-FFF2-40B4-BE49-F238E27FC236}">
                <a16:creationId xmlns:a16="http://schemas.microsoft.com/office/drawing/2014/main" id="{DCA0E4C1-BCD2-BF6D-1E79-F628D200A461}"/>
              </a:ext>
            </a:extLst>
          </p:cNvPr>
          <p:cNvSpPr txBox="1"/>
          <p:nvPr/>
        </p:nvSpPr>
        <p:spPr>
          <a:xfrm>
            <a:off x="399885" y="3697057"/>
            <a:ext cx="948900" cy="296722"/>
          </a:xfrm>
          <a:prstGeom prst="rect">
            <a:avLst/>
          </a:prstGeom>
          <a:noFill/>
          <a:ln>
            <a:noFill/>
          </a:ln>
        </p:spPr>
        <p:txBody>
          <a:bodyPr wrap="none" lIns="0" tIns="0" rIns="0" bIns="0" rtlCol="0" anchor="t">
            <a:noAutofit/>
          </a:bodyPr>
          <a:lstStyle/>
          <a:p>
            <a:pPr defTabSz="180000">
              <a:spcAft>
                <a:spcPts val="300"/>
              </a:spcAft>
              <a:tabLst>
                <a:tab pos="180000" algn="l"/>
              </a:tabLst>
            </a:pPr>
            <a:r>
              <a:rPr kumimoji="0" lang="it-IT" sz="1400" b="1" i="0" u="none" strike="noStrike" kern="1200" cap="none" spc="0" normalizeH="0" baseline="0" noProof="0" dirty="0">
                <a:ln>
                  <a:noFill/>
                </a:ln>
                <a:solidFill>
                  <a:schemeClr val="tx2"/>
                </a:solidFill>
                <a:effectLst/>
                <a:uLnTx/>
                <a:uFillTx/>
                <a:latin typeface="Nokia Pure Text Light"/>
                <a:ea typeface="+mn-ea"/>
                <a:cs typeface="+mn-cs"/>
              </a:rPr>
              <a:t>chData1</a:t>
            </a:r>
          </a:p>
        </p:txBody>
      </p:sp>
      <p:sp>
        <p:nvSpPr>
          <p:cNvPr id="12" name="Rectangle 11">
            <a:extLst>
              <a:ext uri="{FF2B5EF4-FFF2-40B4-BE49-F238E27FC236}">
                <a16:creationId xmlns:a16="http://schemas.microsoft.com/office/drawing/2014/main" id="{AA0D7576-28B6-9193-3A65-CF5DE7B366EF}"/>
              </a:ext>
            </a:extLst>
          </p:cNvPr>
          <p:cNvSpPr/>
          <p:nvPr/>
        </p:nvSpPr>
        <p:spPr>
          <a:xfrm>
            <a:off x="5220816" y="1239195"/>
            <a:ext cx="2415359" cy="3348447"/>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it-IT" sz="1200" dirty="0">
              <a:solidFill>
                <a:schemeClr val="tx2"/>
              </a:solidFill>
            </a:endParaRPr>
          </a:p>
          <a:p>
            <a:pPr algn="l">
              <a:spcAft>
                <a:spcPts val="300"/>
              </a:spcAft>
              <a:buSzPct val="100000"/>
            </a:pPr>
            <a:r>
              <a:rPr lang="it-IT" sz="1200" b="1" dirty="0">
                <a:solidFill>
                  <a:schemeClr val="tx2"/>
                </a:solidFill>
              </a:rPr>
              <a:t>                     </a:t>
            </a:r>
            <a:endParaRPr lang="en-US" sz="1200" b="1" dirty="0">
              <a:solidFill>
                <a:schemeClr val="tx2"/>
              </a:solidFill>
            </a:endParaRPr>
          </a:p>
        </p:txBody>
      </p:sp>
      <p:sp>
        <p:nvSpPr>
          <p:cNvPr id="17" name="TextBox 16">
            <a:extLst>
              <a:ext uri="{FF2B5EF4-FFF2-40B4-BE49-F238E27FC236}">
                <a16:creationId xmlns:a16="http://schemas.microsoft.com/office/drawing/2014/main" id="{E5D52A37-07ED-88BF-FE13-B5B098E61DC1}"/>
              </a:ext>
            </a:extLst>
          </p:cNvPr>
          <p:cNvSpPr txBox="1"/>
          <p:nvPr/>
        </p:nvSpPr>
        <p:spPr>
          <a:xfrm>
            <a:off x="5705775" y="899619"/>
            <a:ext cx="1930400" cy="340654"/>
          </a:xfrm>
          <a:prstGeom prst="rect">
            <a:avLst/>
          </a:prstGeom>
          <a:noFill/>
          <a:ln>
            <a:noFill/>
          </a:ln>
        </p:spPr>
        <p:txBody>
          <a:bodyPr wrap="non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kumimoji="0" lang="it-IT" sz="1200" b="1" i="0" u="none" strike="noStrike" kern="1200" cap="none" spc="0" normalizeH="0" baseline="0" noProof="0" dirty="0">
                <a:ln>
                  <a:noFill/>
                </a:ln>
                <a:solidFill>
                  <a:schemeClr val="tx2"/>
                </a:solidFill>
                <a:effectLst/>
                <a:uLnTx/>
                <a:uFillTx/>
                <a:latin typeface="Nokia Pure Text Light"/>
                <a:ea typeface="+mn-ea"/>
                <a:cs typeface="+mn-cs"/>
              </a:rPr>
              <a:t>Linux </a:t>
            </a:r>
            <a:r>
              <a:rPr kumimoji="0" lang="it-IT" sz="1200" b="1" i="0" u="none" strike="noStrike" kern="1200" cap="none" spc="0" normalizeH="0" baseline="0" noProof="0" dirty="0" err="1">
                <a:ln>
                  <a:noFill/>
                </a:ln>
                <a:solidFill>
                  <a:schemeClr val="tx2"/>
                </a:solidFill>
                <a:effectLst/>
                <a:uLnTx/>
                <a:uFillTx/>
                <a:latin typeface="Nokia Pure Text Light"/>
                <a:ea typeface="+mn-ea"/>
                <a:cs typeface="+mn-cs"/>
              </a:rPr>
              <a:t>Posix</a:t>
            </a:r>
            <a:r>
              <a:rPr kumimoji="0" lang="it-IT" sz="1200" b="1" i="0" u="none" strike="noStrike" kern="1200" cap="none" spc="0" normalizeH="0" baseline="0" noProof="0" dirty="0">
                <a:ln>
                  <a:noFill/>
                </a:ln>
                <a:solidFill>
                  <a:schemeClr val="tx2"/>
                </a:solidFill>
                <a:effectLst/>
                <a:uLnTx/>
                <a:uFillTx/>
                <a:latin typeface="Nokia Pure Text Light"/>
                <a:ea typeface="+mn-ea"/>
                <a:cs typeface="+mn-cs"/>
              </a:rPr>
              <a:t> </a:t>
            </a:r>
            <a:r>
              <a:rPr kumimoji="0" lang="it-IT" sz="1200" b="1" i="0" u="none" strike="noStrike" kern="1200" cap="none" spc="0" normalizeH="0" baseline="0" noProof="0" dirty="0" err="1">
                <a:ln>
                  <a:noFill/>
                </a:ln>
                <a:solidFill>
                  <a:schemeClr val="tx2"/>
                </a:solidFill>
                <a:effectLst/>
                <a:uLnTx/>
                <a:uFillTx/>
                <a:latin typeface="Nokia Pure Text Light"/>
                <a:ea typeface="+mn-ea"/>
                <a:cs typeface="+mn-cs"/>
              </a:rPr>
              <a:t>Shared</a:t>
            </a:r>
            <a:r>
              <a:rPr kumimoji="0" lang="it-IT" sz="1200" b="1" i="0" u="none" strike="noStrike" kern="1200" cap="none" spc="0" normalizeH="0" baseline="0" noProof="0" dirty="0">
                <a:ln>
                  <a:noFill/>
                </a:ln>
                <a:solidFill>
                  <a:schemeClr val="tx2"/>
                </a:solidFill>
                <a:effectLst/>
                <a:uLnTx/>
                <a:uFillTx/>
                <a:latin typeface="Nokia Pure Text Light"/>
                <a:ea typeface="+mn-ea"/>
                <a:cs typeface="+mn-cs"/>
              </a:rPr>
              <a:t> Memory</a:t>
            </a:r>
            <a:endParaRPr kumimoji="0" lang="en-US" sz="1200" b="1" i="0" u="none" strike="noStrike" kern="1200" cap="none" spc="0" normalizeH="0" baseline="0" noProof="0" dirty="0">
              <a:ln>
                <a:noFill/>
              </a:ln>
              <a:solidFill>
                <a:schemeClr val="tx2"/>
              </a:solidFill>
              <a:effectLst/>
              <a:uLnTx/>
              <a:uFillTx/>
              <a:latin typeface="Nokia Pure Text Light"/>
              <a:ea typeface="+mn-ea"/>
              <a:cs typeface="+mn-cs"/>
            </a:endParaRPr>
          </a:p>
        </p:txBody>
      </p:sp>
      <p:sp>
        <p:nvSpPr>
          <p:cNvPr id="18" name="Rectangle: Rounded Corners 17">
            <a:extLst>
              <a:ext uri="{FF2B5EF4-FFF2-40B4-BE49-F238E27FC236}">
                <a16:creationId xmlns:a16="http://schemas.microsoft.com/office/drawing/2014/main" id="{05249819-6FCC-9894-EA7A-D5C1E2E48B29}"/>
              </a:ext>
            </a:extLst>
          </p:cNvPr>
          <p:cNvSpPr/>
          <p:nvPr/>
        </p:nvSpPr>
        <p:spPr>
          <a:xfrm>
            <a:off x="5335723" y="1302107"/>
            <a:ext cx="2241748" cy="396402"/>
          </a:xfrm>
          <a:prstGeom prst="roundRect">
            <a:avLst/>
          </a:prstGeom>
          <a:solidFill>
            <a:srgbClr val="8DB1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r>
              <a:rPr lang="it-IT" sz="1200" dirty="0">
                <a:solidFill>
                  <a:schemeClr val="tx2"/>
                </a:solidFill>
              </a:rPr>
              <a:t>             </a:t>
            </a:r>
            <a:r>
              <a:rPr lang="it-IT" sz="1200" dirty="0" err="1">
                <a:solidFill>
                  <a:schemeClr val="tx2"/>
                </a:solidFill>
              </a:rPr>
              <a:t>Discovery</a:t>
            </a:r>
            <a:r>
              <a:rPr lang="it-IT" sz="1200" dirty="0">
                <a:solidFill>
                  <a:schemeClr val="tx2"/>
                </a:solidFill>
              </a:rPr>
              <a:t> </a:t>
            </a:r>
            <a:r>
              <a:rPr lang="it-IT" sz="1200" dirty="0" err="1">
                <a:solidFill>
                  <a:schemeClr val="tx2"/>
                </a:solidFill>
              </a:rPr>
              <a:t>Prot</a:t>
            </a:r>
            <a:r>
              <a:rPr lang="it-IT" sz="1200" dirty="0">
                <a:solidFill>
                  <a:schemeClr val="tx2"/>
                </a:solidFill>
              </a:rPr>
              <a:t> </a:t>
            </a:r>
            <a:r>
              <a:rPr lang="it-IT" sz="1200" dirty="0" err="1">
                <a:solidFill>
                  <a:schemeClr val="tx2"/>
                </a:solidFill>
              </a:rPr>
              <a:t>section</a:t>
            </a:r>
            <a:endParaRPr lang="en-US" sz="1200" dirty="0">
              <a:solidFill>
                <a:schemeClr val="tx2"/>
              </a:solidFill>
            </a:endParaRPr>
          </a:p>
        </p:txBody>
      </p:sp>
      <p:cxnSp>
        <p:nvCxnSpPr>
          <p:cNvPr id="20" name="Straight Arrow Connector 19">
            <a:extLst>
              <a:ext uri="{FF2B5EF4-FFF2-40B4-BE49-F238E27FC236}">
                <a16:creationId xmlns:a16="http://schemas.microsoft.com/office/drawing/2014/main" id="{9D30C5C2-C96B-EEFD-F40F-B703F680B056}"/>
              </a:ext>
            </a:extLst>
          </p:cNvPr>
          <p:cNvCxnSpPr>
            <a:cxnSpLocks/>
          </p:cNvCxnSpPr>
          <p:nvPr/>
        </p:nvCxnSpPr>
        <p:spPr>
          <a:xfrm flipV="1">
            <a:off x="3915591" y="1448577"/>
            <a:ext cx="1305225" cy="306584"/>
          </a:xfrm>
          <a:prstGeom prst="straightConnector1">
            <a:avLst/>
          </a:prstGeom>
          <a:ln w="63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FC84957-C70D-B7A3-B6A8-275A25966A3E}"/>
              </a:ext>
            </a:extLst>
          </p:cNvPr>
          <p:cNvCxnSpPr>
            <a:cxnSpLocks/>
            <a:stCxn id="11" idx="3"/>
          </p:cNvCxnSpPr>
          <p:nvPr/>
        </p:nvCxnSpPr>
        <p:spPr>
          <a:xfrm flipV="1">
            <a:off x="3923186" y="2334724"/>
            <a:ext cx="1264512" cy="655894"/>
          </a:xfrm>
          <a:prstGeom prst="straightConnector1">
            <a:avLst/>
          </a:prstGeom>
          <a:ln w="63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47751D9E-E0C9-21DD-E861-2391932CBE4D}"/>
              </a:ext>
            </a:extLst>
          </p:cNvPr>
          <p:cNvSpPr/>
          <p:nvPr/>
        </p:nvSpPr>
        <p:spPr>
          <a:xfrm>
            <a:off x="5341981" y="1999428"/>
            <a:ext cx="2241748" cy="670592"/>
          </a:xfrm>
          <a:prstGeom prst="roundRect">
            <a:avLst/>
          </a:prstGeom>
          <a:solidFill>
            <a:srgbClr val="8DB1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r>
              <a:rPr lang="it-IT" sz="1200" dirty="0">
                <a:solidFill>
                  <a:schemeClr val="tx2"/>
                </a:solidFill>
              </a:rPr>
              <a:t>                  </a:t>
            </a:r>
            <a:r>
              <a:rPr lang="it-IT" sz="1200" dirty="0" err="1">
                <a:solidFill>
                  <a:schemeClr val="tx2"/>
                </a:solidFill>
              </a:rPr>
              <a:t>Odu</a:t>
            </a:r>
            <a:r>
              <a:rPr lang="it-IT" sz="1200" dirty="0">
                <a:solidFill>
                  <a:schemeClr val="tx2"/>
                </a:solidFill>
              </a:rPr>
              <a:t> </a:t>
            </a:r>
            <a:r>
              <a:rPr lang="it-IT" sz="1200" dirty="0" err="1">
                <a:solidFill>
                  <a:schemeClr val="tx2"/>
                </a:solidFill>
              </a:rPr>
              <a:t>section</a:t>
            </a:r>
            <a:endParaRPr lang="en-US" sz="1200" dirty="0">
              <a:solidFill>
                <a:schemeClr val="tx2"/>
              </a:solidFill>
            </a:endParaRPr>
          </a:p>
        </p:txBody>
      </p:sp>
      <p:sp>
        <p:nvSpPr>
          <p:cNvPr id="33" name="Cylinder 32">
            <a:extLst>
              <a:ext uri="{FF2B5EF4-FFF2-40B4-BE49-F238E27FC236}">
                <a16:creationId xmlns:a16="http://schemas.microsoft.com/office/drawing/2014/main" id="{49309443-BF05-ACFA-ACFA-B3858AEC311D}"/>
              </a:ext>
            </a:extLst>
          </p:cNvPr>
          <p:cNvSpPr/>
          <p:nvPr/>
        </p:nvSpPr>
        <p:spPr>
          <a:xfrm>
            <a:off x="5187698" y="2096092"/>
            <a:ext cx="360119" cy="540999"/>
          </a:xfrm>
          <a:prstGeom prst="ca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cxnSp>
        <p:nvCxnSpPr>
          <p:cNvPr id="39" name="Straight Arrow Connector 38">
            <a:extLst>
              <a:ext uri="{FF2B5EF4-FFF2-40B4-BE49-F238E27FC236}">
                <a16:creationId xmlns:a16="http://schemas.microsoft.com/office/drawing/2014/main" id="{98801757-EA9C-EAD1-9610-14877B6E8166}"/>
              </a:ext>
            </a:extLst>
          </p:cNvPr>
          <p:cNvCxnSpPr>
            <a:cxnSpLocks/>
            <a:endCxn id="33" idx="2"/>
          </p:cNvCxnSpPr>
          <p:nvPr/>
        </p:nvCxnSpPr>
        <p:spPr>
          <a:xfrm flipV="1">
            <a:off x="3923185" y="2366592"/>
            <a:ext cx="1264513" cy="1705328"/>
          </a:xfrm>
          <a:prstGeom prst="straightConnector1">
            <a:avLst/>
          </a:prstGeom>
          <a:ln w="63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1A4A90BC-B923-31BF-2F8E-8B1A2CD23488}"/>
              </a:ext>
            </a:extLst>
          </p:cNvPr>
          <p:cNvSpPr/>
          <p:nvPr/>
        </p:nvSpPr>
        <p:spPr>
          <a:xfrm>
            <a:off x="5367758" y="3308903"/>
            <a:ext cx="2209713" cy="737191"/>
          </a:xfrm>
          <a:prstGeom prst="roundRect">
            <a:avLst/>
          </a:prstGeom>
          <a:solidFill>
            <a:srgbClr val="8DB1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r>
              <a:rPr lang="it-IT" sz="1200" dirty="0">
                <a:solidFill>
                  <a:schemeClr val="tx2"/>
                </a:solidFill>
              </a:rPr>
              <a:t>                 XXX </a:t>
            </a:r>
            <a:r>
              <a:rPr lang="it-IT" sz="1200" dirty="0" err="1">
                <a:solidFill>
                  <a:schemeClr val="tx2"/>
                </a:solidFill>
              </a:rPr>
              <a:t>section</a:t>
            </a:r>
            <a:endParaRPr lang="en-US" sz="1200" dirty="0">
              <a:solidFill>
                <a:schemeClr val="tx2"/>
              </a:solidFill>
            </a:endParaRPr>
          </a:p>
        </p:txBody>
      </p:sp>
      <p:sp>
        <p:nvSpPr>
          <p:cNvPr id="64" name="Cylinder 63">
            <a:extLst>
              <a:ext uri="{FF2B5EF4-FFF2-40B4-BE49-F238E27FC236}">
                <a16:creationId xmlns:a16="http://schemas.microsoft.com/office/drawing/2014/main" id="{FB35220B-91F9-06C1-788B-4747726FCAE6}"/>
              </a:ext>
            </a:extLst>
          </p:cNvPr>
          <p:cNvSpPr/>
          <p:nvPr/>
        </p:nvSpPr>
        <p:spPr>
          <a:xfrm>
            <a:off x="5228411" y="1268537"/>
            <a:ext cx="319406" cy="458577"/>
          </a:xfrm>
          <a:prstGeom prst="ca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sp>
        <p:nvSpPr>
          <p:cNvPr id="34" name="Oval 33">
            <a:extLst>
              <a:ext uri="{FF2B5EF4-FFF2-40B4-BE49-F238E27FC236}">
                <a16:creationId xmlns:a16="http://schemas.microsoft.com/office/drawing/2014/main" id="{EE1A329C-00CA-7CFD-780C-64CCEBCBDC08}"/>
              </a:ext>
            </a:extLst>
          </p:cNvPr>
          <p:cNvSpPr/>
          <p:nvPr/>
        </p:nvSpPr>
        <p:spPr>
          <a:xfrm>
            <a:off x="5352278" y="1352063"/>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sp>
        <p:nvSpPr>
          <p:cNvPr id="37" name="Oval 36">
            <a:extLst>
              <a:ext uri="{FF2B5EF4-FFF2-40B4-BE49-F238E27FC236}">
                <a16:creationId xmlns:a16="http://schemas.microsoft.com/office/drawing/2014/main" id="{D27149B3-F294-631B-7950-3242C748DBCA}"/>
              </a:ext>
            </a:extLst>
          </p:cNvPr>
          <p:cNvSpPr/>
          <p:nvPr/>
        </p:nvSpPr>
        <p:spPr>
          <a:xfrm>
            <a:off x="5352233" y="1491876"/>
            <a:ext cx="108000" cy="10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sp>
        <p:nvSpPr>
          <p:cNvPr id="36" name="Oval 35">
            <a:extLst>
              <a:ext uri="{FF2B5EF4-FFF2-40B4-BE49-F238E27FC236}">
                <a16:creationId xmlns:a16="http://schemas.microsoft.com/office/drawing/2014/main" id="{2593566D-93EC-DE06-3C49-6D04C0F99BAA}"/>
              </a:ext>
            </a:extLst>
          </p:cNvPr>
          <p:cNvSpPr/>
          <p:nvPr/>
        </p:nvSpPr>
        <p:spPr>
          <a:xfrm>
            <a:off x="5347005" y="1621426"/>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sp>
        <p:nvSpPr>
          <p:cNvPr id="67" name="Oval 66">
            <a:extLst>
              <a:ext uri="{FF2B5EF4-FFF2-40B4-BE49-F238E27FC236}">
                <a16:creationId xmlns:a16="http://schemas.microsoft.com/office/drawing/2014/main" id="{E8FE63DC-4D30-CCFD-BC2E-C2665129B2A7}"/>
              </a:ext>
            </a:extLst>
          </p:cNvPr>
          <p:cNvSpPr/>
          <p:nvPr/>
        </p:nvSpPr>
        <p:spPr>
          <a:xfrm>
            <a:off x="5313757" y="2502277"/>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sp>
        <p:nvSpPr>
          <p:cNvPr id="69" name="Oval 68">
            <a:extLst>
              <a:ext uri="{FF2B5EF4-FFF2-40B4-BE49-F238E27FC236}">
                <a16:creationId xmlns:a16="http://schemas.microsoft.com/office/drawing/2014/main" id="{2BEB5F63-A81A-CB53-28B7-107422F53AB1}"/>
              </a:ext>
            </a:extLst>
          </p:cNvPr>
          <p:cNvSpPr/>
          <p:nvPr/>
        </p:nvSpPr>
        <p:spPr>
          <a:xfrm>
            <a:off x="5311788" y="2361123"/>
            <a:ext cx="108000" cy="10800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sp>
        <p:nvSpPr>
          <p:cNvPr id="71" name="Oval 70">
            <a:extLst>
              <a:ext uri="{FF2B5EF4-FFF2-40B4-BE49-F238E27FC236}">
                <a16:creationId xmlns:a16="http://schemas.microsoft.com/office/drawing/2014/main" id="{01FF7F55-AFA4-FB21-4A75-2886352DED26}"/>
              </a:ext>
            </a:extLst>
          </p:cNvPr>
          <p:cNvSpPr/>
          <p:nvPr/>
        </p:nvSpPr>
        <p:spPr>
          <a:xfrm>
            <a:off x="5311788" y="2213105"/>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sp>
        <p:nvSpPr>
          <p:cNvPr id="74" name="Rectangle: Rounded Corners 73">
            <a:extLst>
              <a:ext uri="{FF2B5EF4-FFF2-40B4-BE49-F238E27FC236}">
                <a16:creationId xmlns:a16="http://schemas.microsoft.com/office/drawing/2014/main" id="{C6C712AD-6851-9FBB-5F22-D7E85864F8DA}"/>
              </a:ext>
            </a:extLst>
          </p:cNvPr>
          <p:cNvSpPr/>
          <p:nvPr/>
        </p:nvSpPr>
        <p:spPr>
          <a:xfrm>
            <a:off x="274058" y="1575841"/>
            <a:ext cx="2502195" cy="317369"/>
          </a:xfrm>
          <a:prstGeom prst="roundRect">
            <a:avLst/>
          </a:prstGeom>
          <a:solidFill>
            <a:srgbClr val="8DB1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r>
              <a:rPr lang="it-IT" sz="1200" dirty="0">
                <a:solidFill>
                  <a:schemeClr val="tx2"/>
                </a:solidFill>
              </a:rPr>
              <a:t>    </a:t>
            </a:r>
            <a:r>
              <a:rPr lang="it-IT" sz="1200" dirty="0" err="1">
                <a:solidFill>
                  <a:schemeClr val="tx2"/>
                </a:solidFill>
              </a:rPr>
              <a:t>Discovery</a:t>
            </a:r>
            <a:r>
              <a:rPr lang="it-IT" sz="1200" dirty="0">
                <a:solidFill>
                  <a:schemeClr val="tx2"/>
                </a:solidFill>
              </a:rPr>
              <a:t> </a:t>
            </a:r>
            <a:r>
              <a:rPr lang="it-IT" sz="1200" dirty="0" err="1">
                <a:solidFill>
                  <a:schemeClr val="tx2"/>
                </a:solidFill>
              </a:rPr>
              <a:t>Protocol</a:t>
            </a:r>
            <a:r>
              <a:rPr lang="it-IT" sz="1200" dirty="0">
                <a:solidFill>
                  <a:schemeClr val="tx2"/>
                </a:solidFill>
              </a:rPr>
              <a:t> </a:t>
            </a:r>
            <a:r>
              <a:rPr lang="it-IT" sz="1200" dirty="0" err="1">
                <a:solidFill>
                  <a:schemeClr val="tx2"/>
                </a:solidFill>
              </a:rPr>
              <a:t>section</a:t>
            </a:r>
            <a:endParaRPr lang="en-US" sz="1200" dirty="0">
              <a:solidFill>
                <a:schemeClr val="tx2"/>
              </a:solidFill>
            </a:endParaRPr>
          </a:p>
        </p:txBody>
      </p:sp>
      <p:sp>
        <p:nvSpPr>
          <p:cNvPr id="75" name="Rectangle: Rounded Corners 74">
            <a:extLst>
              <a:ext uri="{FF2B5EF4-FFF2-40B4-BE49-F238E27FC236}">
                <a16:creationId xmlns:a16="http://schemas.microsoft.com/office/drawing/2014/main" id="{74032413-DDBE-BD8B-153C-49EB210631B8}"/>
              </a:ext>
            </a:extLst>
          </p:cNvPr>
          <p:cNvSpPr/>
          <p:nvPr/>
        </p:nvSpPr>
        <p:spPr>
          <a:xfrm>
            <a:off x="192004" y="2825827"/>
            <a:ext cx="2218044" cy="317369"/>
          </a:xfrm>
          <a:prstGeom prst="roundRect">
            <a:avLst/>
          </a:prstGeom>
          <a:solidFill>
            <a:srgbClr val="8DB1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r>
              <a:rPr lang="it-IT" sz="1200" dirty="0">
                <a:solidFill>
                  <a:schemeClr val="tx2"/>
                </a:solidFill>
              </a:rPr>
              <a:t>   </a:t>
            </a:r>
            <a:r>
              <a:rPr lang="it-IT" sz="1200" dirty="0" err="1">
                <a:solidFill>
                  <a:schemeClr val="tx2"/>
                </a:solidFill>
              </a:rPr>
              <a:t>Discovery</a:t>
            </a:r>
            <a:r>
              <a:rPr lang="it-IT" sz="1200" dirty="0">
                <a:solidFill>
                  <a:schemeClr val="tx2"/>
                </a:solidFill>
              </a:rPr>
              <a:t> </a:t>
            </a:r>
            <a:r>
              <a:rPr lang="it-IT" sz="1200" dirty="0" err="1">
                <a:solidFill>
                  <a:schemeClr val="tx2"/>
                </a:solidFill>
              </a:rPr>
              <a:t>Protocol</a:t>
            </a:r>
            <a:r>
              <a:rPr lang="it-IT" sz="1200" dirty="0">
                <a:solidFill>
                  <a:schemeClr val="tx2"/>
                </a:solidFill>
              </a:rPr>
              <a:t> </a:t>
            </a:r>
            <a:r>
              <a:rPr lang="it-IT" sz="1200" dirty="0" err="1">
                <a:solidFill>
                  <a:schemeClr val="tx2"/>
                </a:solidFill>
              </a:rPr>
              <a:t>section</a:t>
            </a:r>
            <a:endParaRPr lang="en-US" sz="1200" dirty="0">
              <a:solidFill>
                <a:schemeClr val="tx2"/>
              </a:solidFill>
            </a:endParaRPr>
          </a:p>
        </p:txBody>
      </p:sp>
      <p:sp>
        <p:nvSpPr>
          <p:cNvPr id="76" name="Rectangle: Rounded Corners 75">
            <a:extLst>
              <a:ext uri="{FF2B5EF4-FFF2-40B4-BE49-F238E27FC236}">
                <a16:creationId xmlns:a16="http://schemas.microsoft.com/office/drawing/2014/main" id="{371A64CB-03D2-BECB-5F5B-BF229DD9D257}"/>
              </a:ext>
            </a:extLst>
          </p:cNvPr>
          <p:cNvSpPr/>
          <p:nvPr/>
        </p:nvSpPr>
        <p:spPr>
          <a:xfrm>
            <a:off x="192004" y="3165990"/>
            <a:ext cx="2218044" cy="317369"/>
          </a:xfrm>
          <a:prstGeom prst="roundRect">
            <a:avLst/>
          </a:prstGeom>
          <a:solidFill>
            <a:srgbClr val="8DB1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r>
              <a:rPr lang="it-IT" sz="1200" dirty="0">
                <a:solidFill>
                  <a:schemeClr val="tx2"/>
                </a:solidFill>
              </a:rPr>
              <a:t>            </a:t>
            </a:r>
            <a:r>
              <a:rPr lang="it-IT" sz="1200" dirty="0" err="1">
                <a:solidFill>
                  <a:schemeClr val="tx2"/>
                </a:solidFill>
              </a:rPr>
              <a:t>Odu</a:t>
            </a:r>
            <a:r>
              <a:rPr lang="it-IT" sz="1200" dirty="0">
                <a:solidFill>
                  <a:schemeClr val="tx2"/>
                </a:solidFill>
              </a:rPr>
              <a:t> </a:t>
            </a:r>
            <a:r>
              <a:rPr lang="it-IT" sz="1200" dirty="0" err="1">
                <a:solidFill>
                  <a:schemeClr val="tx2"/>
                </a:solidFill>
              </a:rPr>
              <a:t>section</a:t>
            </a:r>
            <a:endParaRPr lang="en-US" sz="1200" dirty="0">
              <a:solidFill>
                <a:schemeClr val="tx2"/>
              </a:solidFill>
            </a:endParaRPr>
          </a:p>
        </p:txBody>
      </p:sp>
      <p:sp>
        <p:nvSpPr>
          <p:cNvPr id="77" name="TextBox 76">
            <a:extLst>
              <a:ext uri="{FF2B5EF4-FFF2-40B4-BE49-F238E27FC236}">
                <a16:creationId xmlns:a16="http://schemas.microsoft.com/office/drawing/2014/main" id="{58B1D9A3-D7D4-1E01-DEE5-53815A85780C}"/>
              </a:ext>
            </a:extLst>
          </p:cNvPr>
          <p:cNvSpPr txBox="1"/>
          <p:nvPr/>
        </p:nvSpPr>
        <p:spPr>
          <a:xfrm>
            <a:off x="7626602" y="1231049"/>
            <a:ext cx="713099" cy="273734"/>
          </a:xfrm>
          <a:prstGeom prst="rect">
            <a:avLst/>
          </a:prstGeom>
          <a:noFill/>
          <a:ln>
            <a:noFill/>
          </a:ln>
        </p:spPr>
        <p:txBody>
          <a:bodyPr wrap="non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kumimoji="0" lang="it-IT" sz="1200" b="0" i="0" u="none" strike="noStrike" kern="1200" cap="none" spc="0" normalizeH="0" baseline="0" noProof="0" dirty="0">
                <a:ln>
                  <a:noFill/>
                </a:ln>
                <a:solidFill>
                  <a:schemeClr val="tx2"/>
                </a:solidFill>
                <a:effectLst/>
                <a:uLnTx/>
                <a:uFillTx/>
                <a:latin typeface="Nokia Pure Text Light"/>
                <a:ea typeface="+mn-ea"/>
                <a:cs typeface="+mn-cs"/>
              </a:rPr>
              <a:t>DP offset</a:t>
            </a:r>
            <a:endParaRPr kumimoji="0" lang="en-US" sz="1200" b="0" i="0" u="none" strike="noStrike" kern="1200" cap="none" spc="0" normalizeH="0" baseline="0" noProof="0" dirty="0">
              <a:ln>
                <a:noFill/>
              </a:ln>
              <a:solidFill>
                <a:schemeClr val="tx2"/>
              </a:solidFill>
              <a:effectLst/>
              <a:uLnTx/>
              <a:uFillTx/>
              <a:latin typeface="Nokia Pure Text Light"/>
              <a:ea typeface="+mn-ea"/>
              <a:cs typeface="+mn-cs"/>
            </a:endParaRPr>
          </a:p>
        </p:txBody>
      </p:sp>
      <p:sp>
        <p:nvSpPr>
          <p:cNvPr id="94" name="TextBox 93">
            <a:extLst>
              <a:ext uri="{FF2B5EF4-FFF2-40B4-BE49-F238E27FC236}">
                <a16:creationId xmlns:a16="http://schemas.microsoft.com/office/drawing/2014/main" id="{ECAB95FC-B975-9F52-445B-021C75B560DD}"/>
              </a:ext>
            </a:extLst>
          </p:cNvPr>
          <p:cNvSpPr txBox="1"/>
          <p:nvPr/>
        </p:nvSpPr>
        <p:spPr>
          <a:xfrm>
            <a:off x="7625492" y="2000854"/>
            <a:ext cx="713099" cy="273734"/>
          </a:xfrm>
          <a:prstGeom prst="rect">
            <a:avLst/>
          </a:prstGeom>
          <a:noFill/>
          <a:ln>
            <a:noFill/>
          </a:ln>
        </p:spPr>
        <p:txBody>
          <a:bodyPr wrap="non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lang="it-IT" sz="1200" dirty="0">
                <a:solidFill>
                  <a:schemeClr val="tx2"/>
                </a:solidFill>
                <a:latin typeface="Nokia Pure Text Light"/>
              </a:rPr>
              <a:t>ODU</a:t>
            </a:r>
            <a:r>
              <a:rPr kumimoji="0" lang="it-IT" sz="1200" b="0" i="0" u="none" strike="noStrike" kern="1200" cap="none" spc="0" normalizeH="0" baseline="0" noProof="0" dirty="0">
                <a:ln>
                  <a:noFill/>
                </a:ln>
                <a:solidFill>
                  <a:schemeClr val="tx2"/>
                </a:solidFill>
                <a:effectLst/>
                <a:uLnTx/>
                <a:uFillTx/>
                <a:latin typeface="Nokia Pure Text Light"/>
                <a:ea typeface="+mn-ea"/>
                <a:cs typeface="+mn-cs"/>
              </a:rPr>
              <a:t> offset</a:t>
            </a:r>
            <a:endParaRPr kumimoji="0" lang="en-US" sz="1200" b="0" i="0" u="none" strike="noStrike" kern="1200" cap="none" spc="0" normalizeH="0" baseline="0" noProof="0" dirty="0">
              <a:ln>
                <a:noFill/>
              </a:ln>
              <a:solidFill>
                <a:schemeClr val="tx2"/>
              </a:solidFill>
              <a:effectLst/>
              <a:uLnTx/>
              <a:uFillTx/>
              <a:latin typeface="Nokia Pure Text Light"/>
              <a:ea typeface="+mn-ea"/>
              <a:cs typeface="+mn-cs"/>
            </a:endParaRPr>
          </a:p>
        </p:txBody>
      </p:sp>
      <p:sp>
        <p:nvSpPr>
          <p:cNvPr id="95" name="TextBox 94">
            <a:extLst>
              <a:ext uri="{FF2B5EF4-FFF2-40B4-BE49-F238E27FC236}">
                <a16:creationId xmlns:a16="http://schemas.microsoft.com/office/drawing/2014/main" id="{AF92CE2E-61A9-4B1A-13FD-AECC0727AF6D}"/>
              </a:ext>
            </a:extLst>
          </p:cNvPr>
          <p:cNvSpPr txBox="1"/>
          <p:nvPr/>
        </p:nvSpPr>
        <p:spPr>
          <a:xfrm>
            <a:off x="7669293" y="3308903"/>
            <a:ext cx="713099" cy="273734"/>
          </a:xfrm>
          <a:prstGeom prst="rect">
            <a:avLst/>
          </a:prstGeom>
          <a:noFill/>
          <a:ln>
            <a:noFill/>
          </a:ln>
        </p:spPr>
        <p:txBody>
          <a:bodyPr wrap="non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kumimoji="0" lang="it-IT" sz="1200" b="0" i="0" u="none" strike="noStrike" kern="1200" cap="none" spc="0" normalizeH="0" baseline="0" noProof="0" dirty="0">
                <a:ln>
                  <a:noFill/>
                </a:ln>
                <a:solidFill>
                  <a:schemeClr val="tx2"/>
                </a:solidFill>
                <a:effectLst/>
                <a:uLnTx/>
                <a:uFillTx/>
                <a:latin typeface="Nokia Pure Text Light"/>
                <a:ea typeface="+mn-ea"/>
                <a:cs typeface="+mn-cs"/>
              </a:rPr>
              <a:t>XXX offset</a:t>
            </a:r>
            <a:endParaRPr kumimoji="0" lang="en-US" sz="1200" b="0" i="0" u="none" strike="noStrike" kern="1200" cap="none" spc="0" normalizeH="0" baseline="0" noProof="0" dirty="0">
              <a:ln>
                <a:noFill/>
              </a:ln>
              <a:solidFill>
                <a:schemeClr val="tx2"/>
              </a:solidFill>
              <a:effectLst/>
              <a:uLnTx/>
              <a:uFillTx/>
              <a:latin typeface="Nokia Pure Text Light"/>
              <a:ea typeface="+mn-ea"/>
              <a:cs typeface="+mn-cs"/>
            </a:endParaRPr>
          </a:p>
        </p:txBody>
      </p:sp>
      <p:sp>
        <p:nvSpPr>
          <p:cNvPr id="96" name="Rectangle: Rounded Corners 95">
            <a:extLst>
              <a:ext uri="{FF2B5EF4-FFF2-40B4-BE49-F238E27FC236}">
                <a16:creationId xmlns:a16="http://schemas.microsoft.com/office/drawing/2014/main" id="{CC49A90B-DEEC-5373-9C88-89F2B169C52E}"/>
              </a:ext>
            </a:extLst>
          </p:cNvPr>
          <p:cNvSpPr/>
          <p:nvPr/>
        </p:nvSpPr>
        <p:spPr>
          <a:xfrm>
            <a:off x="256061" y="3979051"/>
            <a:ext cx="2153987" cy="317369"/>
          </a:xfrm>
          <a:prstGeom prst="roundRect">
            <a:avLst/>
          </a:prstGeom>
          <a:solidFill>
            <a:srgbClr val="8DB1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r>
              <a:rPr lang="it-IT" sz="1200" dirty="0">
                <a:solidFill>
                  <a:schemeClr val="tx2"/>
                </a:solidFill>
              </a:rPr>
              <a:t>                  </a:t>
            </a:r>
            <a:r>
              <a:rPr lang="it-IT" sz="1200" dirty="0" err="1">
                <a:solidFill>
                  <a:schemeClr val="tx2"/>
                </a:solidFill>
              </a:rPr>
              <a:t>Odu</a:t>
            </a:r>
            <a:r>
              <a:rPr lang="it-IT" sz="1200" dirty="0">
                <a:solidFill>
                  <a:schemeClr val="tx2"/>
                </a:solidFill>
              </a:rPr>
              <a:t> </a:t>
            </a:r>
            <a:r>
              <a:rPr lang="it-IT" sz="1200" dirty="0" err="1">
                <a:solidFill>
                  <a:schemeClr val="tx2"/>
                </a:solidFill>
              </a:rPr>
              <a:t>section</a:t>
            </a:r>
            <a:endParaRPr lang="en-US" sz="1200" dirty="0">
              <a:solidFill>
                <a:schemeClr val="tx2"/>
              </a:solidFill>
            </a:endParaRPr>
          </a:p>
        </p:txBody>
      </p:sp>
      <p:sp>
        <p:nvSpPr>
          <p:cNvPr id="103" name="TextBox 102">
            <a:extLst>
              <a:ext uri="{FF2B5EF4-FFF2-40B4-BE49-F238E27FC236}">
                <a16:creationId xmlns:a16="http://schemas.microsoft.com/office/drawing/2014/main" id="{3D31E9F4-7A19-C352-4219-23733C761298}"/>
              </a:ext>
            </a:extLst>
          </p:cNvPr>
          <p:cNvSpPr txBox="1"/>
          <p:nvPr/>
        </p:nvSpPr>
        <p:spPr>
          <a:xfrm>
            <a:off x="4517290" y="1241723"/>
            <a:ext cx="914400" cy="309715"/>
          </a:xfrm>
          <a:prstGeom prst="rect">
            <a:avLst/>
          </a:prstGeom>
          <a:noFill/>
          <a:ln>
            <a:noFill/>
          </a:ln>
        </p:spPr>
        <p:txBody>
          <a:bodyPr wrap="non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kumimoji="0" lang="it-IT" sz="1200" b="0" i="0" u="none" strike="noStrike" kern="1200" cap="none" spc="0" normalizeH="0" baseline="0" noProof="0" dirty="0">
                <a:ln>
                  <a:noFill/>
                </a:ln>
                <a:solidFill>
                  <a:schemeClr val="tx2"/>
                </a:solidFill>
                <a:effectLst/>
                <a:uLnTx/>
                <a:uFillTx/>
                <a:latin typeface="Nokia Pure Text Light"/>
                <a:ea typeface="+mn-ea"/>
                <a:cs typeface="+mn-cs"/>
              </a:rPr>
              <a:t>W </a:t>
            </a:r>
            <a:r>
              <a:rPr kumimoji="0" lang="it-IT" sz="1200" b="0" i="0" u="none" strike="noStrike" kern="1200" cap="none" spc="0" normalizeH="0" baseline="0" noProof="0" dirty="0" err="1">
                <a:ln>
                  <a:noFill/>
                </a:ln>
                <a:solidFill>
                  <a:schemeClr val="tx2"/>
                </a:solidFill>
                <a:effectLst/>
                <a:uLnTx/>
                <a:uFillTx/>
                <a:latin typeface="Nokia Pure Text Light"/>
                <a:ea typeface="+mn-ea"/>
                <a:cs typeface="+mn-cs"/>
              </a:rPr>
              <a:t>mutex</a:t>
            </a:r>
            <a:endParaRPr kumimoji="0" lang="en-US" sz="1200" b="0" i="0" u="none" strike="noStrike" kern="1200" cap="none" spc="0" normalizeH="0" baseline="0" noProof="0" dirty="0">
              <a:ln>
                <a:noFill/>
              </a:ln>
              <a:solidFill>
                <a:schemeClr val="tx2"/>
              </a:solidFill>
              <a:effectLst/>
              <a:uLnTx/>
              <a:uFillTx/>
              <a:latin typeface="Nokia Pure Text Light"/>
              <a:ea typeface="+mn-ea"/>
              <a:cs typeface="+mn-cs"/>
            </a:endParaRPr>
          </a:p>
        </p:txBody>
      </p:sp>
      <p:sp>
        <p:nvSpPr>
          <p:cNvPr id="104" name="TextBox 103">
            <a:extLst>
              <a:ext uri="{FF2B5EF4-FFF2-40B4-BE49-F238E27FC236}">
                <a16:creationId xmlns:a16="http://schemas.microsoft.com/office/drawing/2014/main" id="{B910D83D-CB67-FD07-8742-8A1772266CBA}"/>
              </a:ext>
            </a:extLst>
          </p:cNvPr>
          <p:cNvSpPr txBox="1"/>
          <p:nvPr/>
        </p:nvSpPr>
        <p:spPr>
          <a:xfrm>
            <a:off x="4438372" y="2109158"/>
            <a:ext cx="914400" cy="309715"/>
          </a:xfrm>
          <a:prstGeom prst="rect">
            <a:avLst/>
          </a:prstGeom>
          <a:noFill/>
          <a:ln>
            <a:noFill/>
          </a:ln>
        </p:spPr>
        <p:txBody>
          <a:bodyPr wrap="none" lIns="0" tIns="0" rIns="0" bIns="0" rtlCol="0">
            <a:noAutofit/>
          </a:bodyPr>
          <a:lstStyle/>
          <a:p>
            <a:pPr marL="0" marR="0" indent="0" algn="l" defTabSz="180000" rtl="0" eaLnBrk="1" fontAlgn="auto" latinLnBrk="0" hangingPunct="1">
              <a:lnSpc>
                <a:spcPct val="100000"/>
              </a:lnSpc>
              <a:spcBef>
                <a:spcPts val="0"/>
              </a:spcBef>
              <a:spcAft>
                <a:spcPts val="300"/>
              </a:spcAft>
              <a:buClrTx/>
              <a:buSzTx/>
              <a:buFont typeface="+mj-lt"/>
              <a:buNone/>
              <a:tabLst>
                <a:tab pos="180000" algn="l"/>
              </a:tabLst>
            </a:pPr>
            <a:r>
              <a:rPr kumimoji="0" lang="it-IT" sz="1200" b="0" i="0" u="none" strike="noStrike" kern="1200" cap="none" spc="0" normalizeH="0" baseline="0" noProof="0" dirty="0">
                <a:ln>
                  <a:noFill/>
                </a:ln>
                <a:solidFill>
                  <a:schemeClr val="tx2"/>
                </a:solidFill>
                <a:effectLst/>
                <a:uLnTx/>
                <a:uFillTx/>
                <a:latin typeface="Nokia Pure Text Light"/>
                <a:ea typeface="+mn-ea"/>
                <a:cs typeface="+mn-cs"/>
              </a:rPr>
              <a:t>RW </a:t>
            </a:r>
            <a:r>
              <a:rPr kumimoji="0" lang="it-IT" sz="1200" b="0" i="0" u="none" strike="noStrike" kern="1200" cap="none" spc="0" normalizeH="0" baseline="0" noProof="0" dirty="0" err="1">
                <a:ln>
                  <a:noFill/>
                </a:ln>
                <a:solidFill>
                  <a:schemeClr val="tx2"/>
                </a:solidFill>
                <a:effectLst/>
                <a:uLnTx/>
                <a:uFillTx/>
                <a:latin typeface="Nokia Pure Text Light"/>
                <a:ea typeface="+mn-ea"/>
                <a:cs typeface="+mn-cs"/>
              </a:rPr>
              <a:t>mutex</a:t>
            </a:r>
            <a:endParaRPr kumimoji="0" lang="en-US" sz="1200" b="0" i="0" u="none" strike="noStrike" kern="1200" cap="none" spc="0" normalizeH="0" baseline="0" noProof="0" dirty="0">
              <a:ln>
                <a:noFill/>
              </a:ln>
              <a:solidFill>
                <a:schemeClr val="tx2"/>
              </a:solidFill>
              <a:effectLst/>
              <a:uLnTx/>
              <a:uFillTx/>
              <a:latin typeface="Nokia Pure Text Light"/>
              <a:ea typeface="+mn-ea"/>
              <a:cs typeface="+mn-cs"/>
            </a:endParaRPr>
          </a:p>
        </p:txBody>
      </p:sp>
    </p:spTree>
    <p:extLst>
      <p:ext uri="{BB962C8B-B14F-4D97-AF65-F5344CB8AC3E}">
        <p14:creationId xmlns:p14="http://schemas.microsoft.com/office/powerpoint/2010/main" val="14892377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731915-A0EE-07AA-6AFB-E9D6F92EDD3C}"/>
              </a:ext>
            </a:extLst>
          </p:cNvPr>
          <p:cNvSpPr>
            <a:spLocks noGrp="1"/>
          </p:cNvSpPr>
          <p:nvPr>
            <p:ph type="body" sz="quarter" idx="12"/>
          </p:nvPr>
        </p:nvSpPr>
        <p:spPr/>
        <p:txBody>
          <a:bodyPr lIns="0" tIns="0" rIns="0" bIns="0" anchor="t"/>
          <a:lstStyle/>
          <a:p>
            <a:r>
              <a:rPr lang="en-GB" dirty="0">
                <a:latin typeface="Nokia Pure Headline Light"/>
              </a:rPr>
              <a:t>Shared memory 3/4 </a:t>
            </a:r>
            <a:endParaRPr lang="en-GB" dirty="0"/>
          </a:p>
        </p:txBody>
      </p:sp>
      <p:sp>
        <p:nvSpPr>
          <p:cNvPr id="3" name="Text Placeholder 2">
            <a:extLst>
              <a:ext uri="{FF2B5EF4-FFF2-40B4-BE49-F238E27FC236}">
                <a16:creationId xmlns:a16="http://schemas.microsoft.com/office/drawing/2014/main" id="{67A7CCC7-DB9A-5ABB-AB2E-F156F52DEF8C}"/>
              </a:ext>
            </a:extLst>
          </p:cNvPr>
          <p:cNvSpPr>
            <a:spLocks noGrp="1"/>
          </p:cNvSpPr>
          <p:nvPr>
            <p:ph type="body" sz="quarter" idx="13"/>
          </p:nvPr>
        </p:nvSpPr>
        <p:spPr/>
        <p:txBody>
          <a:bodyPr/>
          <a:lstStyle/>
          <a:p>
            <a:r>
              <a:rPr lang="en-US" dirty="0"/>
              <a:t> </a:t>
            </a:r>
          </a:p>
        </p:txBody>
      </p:sp>
      <p:sp>
        <p:nvSpPr>
          <p:cNvPr id="4" name="Text Placeholder 3">
            <a:extLst>
              <a:ext uri="{FF2B5EF4-FFF2-40B4-BE49-F238E27FC236}">
                <a16:creationId xmlns:a16="http://schemas.microsoft.com/office/drawing/2014/main" id="{4ADD4B8A-30B9-B526-0CB4-0A0774079B1D}"/>
              </a:ext>
            </a:extLst>
          </p:cNvPr>
          <p:cNvSpPr>
            <a:spLocks noGrp="1"/>
          </p:cNvSpPr>
          <p:nvPr>
            <p:ph type="body" sz="quarter" idx="15"/>
          </p:nvPr>
        </p:nvSpPr>
        <p:spPr>
          <a:xfrm>
            <a:off x="417337" y="967025"/>
            <a:ext cx="7838895" cy="3891529"/>
          </a:xfrm>
        </p:spPr>
        <p:txBody>
          <a:bodyPr lIns="0" tIns="0" rIns="0" bIns="0" anchor="t"/>
          <a:lstStyle/>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Shared library exporting API to manage shared memory based on OSAL</a:t>
            </a:r>
            <a:r>
              <a:rPr lang="en-US" sz="1600" dirty="0">
                <a:solidFill>
                  <a:srgbClr val="001135"/>
                </a:solidFill>
              </a:rPr>
              <a:t> </a:t>
            </a:r>
            <a:r>
              <a:rPr lang="en-US" sz="1600" dirty="0">
                <a:solidFill>
                  <a:schemeClr val="accent1"/>
                </a:solidFill>
              </a:rPr>
              <a:t>completed; new dev folder </a:t>
            </a:r>
            <a:r>
              <a:rPr lang="en-US" sz="1600" dirty="0" err="1">
                <a:solidFill>
                  <a:schemeClr val="accent1"/>
                </a:solidFill>
              </a:rPr>
              <a:t>sharedData</a:t>
            </a:r>
            <a:endParaRPr lang="en-US" sz="1600" dirty="0"/>
          </a:p>
          <a:p>
            <a:pPr marL="285750" indent="-285750">
              <a:buFont typeface="Arial" panose="020B0604020202020204" pitchFamily="34" charset="0"/>
              <a:buChar char="•"/>
            </a:pPr>
            <a:r>
              <a:rPr lang="en-US" sz="1600" dirty="0"/>
              <a:t>First prototype of IPC shared mem : </a:t>
            </a:r>
            <a:r>
              <a:rPr lang="en-US" sz="1600" dirty="0">
                <a:solidFill>
                  <a:schemeClr val="accent1"/>
                </a:solidFill>
              </a:rPr>
              <a:t>completed. Share DP info between </a:t>
            </a:r>
            <a:r>
              <a:rPr lang="en-US" sz="1600" dirty="0" err="1">
                <a:solidFill>
                  <a:schemeClr val="accent1"/>
                </a:solidFill>
              </a:rPr>
              <a:t>oduCntrl</a:t>
            </a:r>
            <a:r>
              <a:rPr lang="en-US" sz="1600" dirty="0">
                <a:solidFill>
                  <a:schemeClr val="accent1"/>
                </a:solidFill>
              </a:rPr>
              <a:t> process and </a:t>
            </a:r>
            <a:r>
              <a:rPr lang="en-US" sz="1600" dirty="0" err="1">
                <a:solidFill>
                  <a:schemeClr val="accent1"/>
                </a:solidFill>
              </a:rPr>
              <a:t>dpManager</a:t>
            </a:r>
            <a:r>
              <a:rPr lang="en-US" sz="1600" dirty="0">
                <a:solidFill>
                  <a:schemeClr val="accent1"/>
                </a:solidFill>
              </a:rPr>
              <a:t> process</a:t>
            </a:r>
            <a:r>
              <a:rPr lang="en-US" sz="1600" dirty="0"/>
              <a:t> </a:t>
            </a:r>
          </a:p>
          <a:p>
            <a:pPr marL="285750" indent="-285750">
              <a:buFont typeface="Arial" panose="020B0604020202020204" pitchFamily="34" charset="0"/>
              <a:buChar char="•"/>
            </a:pPr>
            <a:r>
              <a:rPr lang="en-US" sz="1600" dirty="0">
                <a:solidFill>
                  <a:srgbClr val="001135"/>
                </a:solidFill>
              </a:rPr>
              <a:t>Unique shared mem with different section: processes will load in their own space only required sections</a:t>
            </a:r>
          </a:p>
          <a:p>
            <a:pPr marL="285750" indent="-285750">
              <a:buFont typeface="Arial" panose="020B0604020202020204" pitchFamily="34" charset="0"/>
              <a:buChar char="•"/>
            </a:pPr>
            <a:r>
              <a:rPr lang="en-US" sz="1600" dirty="0">
                <a:solidFill>
                  <a:srgbClr val="001135"/>
                </a:solidFill>
              </a:rPr>
              <a:t>Mutex added: usage (W or RW) depending on shared data section.</a:t>
            </a:r>
          </a:p>
        </p:txBody>
      </p:sp>
      <p:sp>
        <p:nvSpPr>
          <p:cNvPr id="5" name="Footer Placeholder 4">
            <a:extLst>
              <a:ext uri="{FF2B5EF4-FFF2-40B4-BE49-F238E27FC236}">
                <a16:creationId xmlns:a16="http://schemas.microsoft.com/office/drawing/2014/main" id="{D0B14715-A474-53C7-3EF2-7282B65B556E}"/>
              </a:ext>
            </a:extLst>
          </p:cNvPr>
          <p:cNvSpPr>
            <a:spLocks noGrp="1"/>
          </p:cNvSpPr>
          <p:nvPr>
            <p:ph type="ftr" sz="quarter" idx="3"/>
          </p:nvPr>
        </p:nvSpPr>
        <p:spPr/>
        <p:txBody>
          <a:bodyPr/>
          <a:lstStyle/>
          <a:p>
            <a:r>
              <a:rPr lang="en-US"/>
              <a:t>Nokia internal use</a:t>
            </a:r>
            <a:endParaRPr lang="en-US" dirty="0"/>
          </a:p>
        </p:txBody>
      </p:sp>
    </p:spTree>
    <p:extLst>
      <p:ext uri="{BB962C8B-B14F-4D97-AF65-F5344CB8AC3E}">
        <p14:creationId xmlns:p14="http://schemas.microsoft.com/office/powerpoint/2010/main" val="289453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731915-A0EE-07AA-6AFB-E9D6F92EDD3C}"/>
              </a:ext>
            </a:extLst>
          </p:cNvPr>
          <p:cNvSpPr>
            <a:spLocks noGrp="1"/>
          </p:cNvSpPr>
          <p:nvPr>
            <p:ph type="body" sz="quarter" idx="12"/>
          </p:nvPr>
        </p:nvSpPr>
        <p:spPr/>
        <p:txBody>
          <a:bodyPr lIns="0" tIns="0" rIns="0" bIns="0" anchor="t"/>
          <a:lstStyle/>
          <a:p>
            <a:r>
              <a:rPr lang="en-GB" dirty="0">
                <a:latin typeface="Nokia Pure Headline Light"/>
              </a:rPr>
              <a:t>Shared memory 4/4 </a:t>
            </a:r>
            <a:endParaRPr lang="en-GB" dirty="0"/>
          </a:p>
        </p:txBody>
      </p:sp>
      <p:sp>
        <p:nvSpPr>
          <p:cNvPr id="3" name="Text Placeholder 2">
            <a:extLst>
              <a:ext uri="{FF2B5EF4-FFF2-40B4-BE49-F238E27FC236}">
                <a16:creationId xmlns:a16="http://schemas.microsoft.com/office/drawing/2014/main" id="{67A7CCC7-DB9A-5ABB-AB2E-F156F52DEF8C}"/>
              </a:ext>
            </a:extLst>
          </p:cNvPr>
          <p:cNvSpPr>
            <a:spLocks noGrp="1"/>
          </p:cNvSpPr>
          <p:nvPr>
            <p:ph type="body" sz="quarter" idx="13"/>
          </p:nvPr>
        </p:nvSpPr>
        <p:spPr/>
        <p:txBody>
          <a:bodyPr/>
          <a:lstStyle/>
          <a:p>
            <a:r>
              <a:rPr lang="en-US" dirty="0"/>
              <a:t> </a:t>
            </a:r>
          </a:p>
        </p:txBody>
      </p:sp>
      <p:sp>
        <p:nvSpPr>
          <p:cNvPr id="4" name="Text Placeholder 3">
            <a:extLst>
              <a:ext uri="{FF2B5EF4-FFF2-40B4-BE49-F238E27FC236}">
                <a16:creationId xmlns:a16="http://schemas.microsoft.com/office/drawing/2014/main" id="{4ADD4B8A-30B9-B526-0CB4-0A0774079B1D}"/>
              </a:ext>
            </a:extLst>
          </p:cNvPr>
          <p:cNvSpPr>
            <a:spLocks noGrp="1"/>
          </p:cNvSpPr>
          <p:nvPr>
            <p:ph type="body" sz="quarter" idx="15"/>
          </p:nvPr>
        </p:nvSpPr>
        <p:spPr>
          <a:xfrm>
            <a:off x="417337" y="967025"/>
            <a:ext cx="7838895" cy="3891529"/>
          </a:xfrm>
        </p:spPr>
        <p:txBody>
          <a:bodyPr lIns="0" tIns="0" rIns="0" bIns="0" anchor="t"/>
          <a:lstStyle/>
          <a:p>
            <a:pPr marL="285750" indent="-285750">
              <a:buFont typeface="Arial" panose="020B0604020202020204" pitchFamily="34" charset="0"/>
              <a:buChar char="•"/>
            </a:pPr>
            <a:r>
              <a:rPr lang="it-IT" sz="1600" dirty="0" err="1">
                <a:solidFill>
                  <a:srgbClr val="001135"/>
                </a:solidFill>
              </a:rPr>
              <a:t>Dev</a:t>
            </a:r>
            <a:r>
              <a:rPr lang="it-IT" sz="1600" dirty="0">
                <a:solidFill>
                  <a:srgbClr val="001135"/>
                </a:solidFill>
              </a:rPr>
              <a:t> FS</a:t>
            </a:r>
            <a:endParaRPr lang="en-US" sz="1600" dirty="0">
              <a:solidFill>
                <a:srgbClr val="001135"/>
              </a:solidFill>
            </a:endParaRPr>
          </a:p>
        </p:txBody>
      </p:sp>
      <p:sp>
        <p:nvSpPr>
          <p:cNvPr id="5" name="Footer Placeholder 4">
            <a:extLst>
              <a:ext uri="{FF2B5EF4-FFF2-40B4-BE49-F238E27FC236}">
                <a16:creationId xmlns:a16="http://schemas.microsoft.com/office/drawing/2014/main" id="{D0B14715-A474-53C7-3EF2-7282B65B556E}"/>
              </a:ext>
            </a:extLst>
          </p:cNvPr>
          <p:cNvSpPr>
            <a:spLocks noGrp="1"/>
          </p:cNvSpPr>
          <p:nvPr>
            <p:ph type="ftr" sz="quarter" idx="3"/>
          </p:nvPr>
        </p:nvSpPr>
        <p:spPr/>
        <p:txBody>
          <a:bodyPr/>
          <a:lstStyle/>
          <a:p>
            <a:r>
              <a:rPr lang="en-US"/>
              <a:t>Nokia internal use</a:t>
            </a:r>
            <a:endParaRPr lang="en-US" dirty="0"/>
          </a:p>
        </p:txBody>
      </p:sp>
      <p:pic>
        <p:nvPicPr>
          <p:cNvPr id="7" name="Picture 6">
            <a:extLst>
              <a:ext uri="{FF2B5EF4-FFF2-40B4-BE49-F238E27FC236}">
                <a16:creationId xmlns:a16="http://schemas.microsoft.com/office/drawing/2014/main" id="{063F3434-CE26-508C-CC9C-E5335ED3CA84}"/>
              </a:ext>
            </a:extLst>
          </p:cNvPr>
          <p:cNvPicPr>
            <a:picLocks noChangeAspect="1"/>
          </p:cNvPicPr>
          <p:nvPr/>
        </p:nvPicPr>
        <p:blipFill>
          <a:blip r:embed="rId2"/>
          <a:stretch>
            <a:fillRect/>
          </a:stretch>
        </p:blipFill>
        <p:spPr>
          <a:xfrm>
            <a:off x="2860629" y="967024"/>
            <a:ext cx="2673000" cy="3888000"/>
          </a:xfrm>
          <a:prstGeom prst="rect">
            <a:avLst/>
          </a:prstGeom>
        </p:spPr>
      </p:pic>
    </p:spTree>
    <p:extLst>
      <p:ext uri="{BB962C8B-B14F-4D97-AF65-F5344CB8AC3E}">
        <p14:creationId xmlns:p14="http://schemas.microsoft.com/office/powerpoint/2010/main" val="133882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6325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57E96F-6909-4AB2-AD25-75F80D99DA76}"/>
              </a:ext>
            </a:extLst>
          </p:cNvPr>
          <p:cNvSpPr>
            <a:spLocks noGrp="1"/>
          </p:cNvSpPr>
          <p:nvPr>
            <p:ph type="body" sz="quarter" idx="12"/>
          </p:nvPr>
        </p:nvSpPr>
        <p:spPr/>
        <p:txBody>
          <a:bodyPr/>
          <a:lstStyle/>
          <a:p>
            <a:r>
              <a:rPr lang="en-US" dirty="0"/>
              <a:t>Copyright and confidentiality</a:t>
            </a:r>
          </a:p>
        </p:txBody>
      </p:sp>
      <p:sp>
        <p:nvSpPr>
          <p:cNvPr id="3" name="Text Placeholder 2">
            <a:extLst>
              <a:ext uri="{FF2B5EF4-FFF2-40B4-BE49-F238E27FC236}">
                <a16:creationId xmlns:a16="http://schemas.microsoft.com/office/drawing/2014/main" id="{2FA0C128-256B-404C-B138-DBE640D34BA8}"/>
              </a:ext>
            </a:extLst>
          </p:cNvPr>
          <p:cNvSpPr>
            <a:spLocks noGrp="1"/>
          </p:cNvSpPr>
          <p:nvPr>
            <p:ph type="body" sz="quarter" idx="13"/>
          </p:nvPr>
        </p:nvSpPr>
        <p:spPr/>
        <p:txBody>
          <a:bodyPr/>
          <a:lstStyle/>
          <a:p>
            <a:r>
              <a:rPr lang="en-GB" dirty="0"/>
              <a:t> </a:t>
            </a:r>
          </a:p>
        </p:txBody>
      </p:sp>
      <p:sp>
        <p:nvSpPr>
          <p:cNvPr id="7" name="Footer Placeholder 6">
            <a:extLst>
              <a:ext uri="{FF2B5EF4-FFF2-40B4-BE49-F238E27FC236}">
                <a16:creationId xmlns:a16="http://schemas.microsoft.com/office/drawing/2014/main" id="{372448A6-34DF-4E7A-8BA7-A9D0E225C25A}"/>
              </a:ext>
            </a:extLst>
          </p:cNvPr>
          <p:cNvSpPr>
            <a:spLocks noGrp="1"/>
          </p:cNvSpPr>
          <p:nvPr>
            <p:ph type="ftr" sz="quarter" idx="3"/>
          </p:nvPr>
        </p:nvSpPr>
        <p:spPr>
          <a:xfrm>
            <a:off x="1504610" y="4858555"/>
            <a:ext cx="2880000" cy="122400"/>
          </a:xfrm>
          <a:prstGeom prst="rect">
            <a:avLst/>
          </a:prstGeom>
        </p:spPr>
        <p:txBody>
          <a:bodyPr/>
          <a:lstStyle/>
          <a:p>
            <a:r>
              <a:rPr lang="en-US" dirty="0"/>
              <a:t>Nokia internal use</a:t>
            </a:r>
          </a:p>
        </p:txBody>
      </p:sp>
      <p:sp>
        <p:nvSpPr>
          <p:cNvPr id="10" name="Text Placeholder 4">
            <a:extLst>
              <a:ext uri="{FF2B5EF4-FFF2-40B4-BE49-F238E27FC236}">
                <a16:creationId xmlns:a16="http://schemas.microsoft.com/office/drawing/2014/main" id="{2E7CFBB7-C0D0-4D61-9889-F3BED7799A91}"/>
              </a:ext>
            </a:extLst>
          </p:cNvPr>
          <p:cNvSpPr txBox="1">
            <a:spLocks/>
          </p:cNvSpPr>
          <p:nvPr/>
        </p:nvSpPr>
        <p:spPr>
          <a:xfrm>
            <a:off x="417600" y="1439531"/>
            <a:ext cx="8308800" cy="2808312"/>
          </a:xfrm>
          <a:prstGeom prst="rect">
            <a:avLst/>
          </a:prstGeom>
        </p:spPr>
        <p:txBody>
          <a:bodyPr lIns="0" tIns="0" rIns="0" bIns="0" numCol="3" spcCol="180000">
            <a:normAutofit/>
          </a:bodyPr>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2"/>
                </a:solidFill>
                <a:latin typeface="Nokia Pure Text Light" panose="020B0403020202020204" pitchFamily="34" charset="0"/>
                <a:ea typeface="Nokia Pure Text Light" panose="020B0403020202020204" pitchFamily="34" charset="0"/>
                <a:cs typeface="+mn-cs"/>
              </a:defRPr>
            </a:lvl1pPr>
            <a:lvl2pPr marL="230400" indent="0" algn="l" defTabSz="914400" rtl="0" eaLnBrk="1" latinLnBrk="0" hangingPunct="1">
              <a:spcBef>
                <a:spcPts val="0"/>
              </a:spcBef>
              <a:spcAft>
                <a:spcPts val="600"/>
              </a:spcAft>
              <a:buFont typeface="Arial" panose="020B0604020202020204" pitchFamily="34" charset="0"/>
              <a:buNone/>
              <a:defRPr sz="1400" kern="1200">
                <a:solidFill>
                  <a:schemeClr val="tx2"/>
                </a:solidFill>
                <a:latin typeface="Nokia Pure Text Light" panose="020B0403020202020204" pitchFamily="34" charset="0"/>
                <a:ea typeface="Nokia Pure Text Light" panose="020B0403020202020204" pitchFamily="34" charset="0"/>
                <a:cs typeface="+mn-cs"/>
              </a:defRPr>
            </a:lvl2pPr>
            <a:lvl3pPr marL="462600" indent="0" algn="l" defTabSz="914400" rtl="0" eaLnBrk="1" latinLnBrk="0" hangingPunct="1">
              <a:spcBef>
                <a:spcPts val="0"/>
              </a:spcBef>
              <a:spcAft>
                <a:spcPts val="600"/>
              </a:spcAft>
              <a:buFont typeface="Arial" panose="020B0604020202020204" pitchFamily="34" charset="0"/>
              <a:buNone/>
              <a:defRPr sz="1200" kern="1200">
                <a:solidFill>
                  <a:schemeClr val="tx2"/>
                </a:solidFill>
                <a:latin typeface="Nokia Pure Text Light" panose="020B0403020202020204" pitchFamily="34" charset="0"/>
                <a:ea typeface="Nokia Pure Text Light" panose="020B0403020202020204" pitchFamily="34" charset="0"/>
                <a:cs typeface="+mn-cs"/>
              </a:defRPr>
            </a:lvl3pPr>
            <a:lvl4pPr marL="693000" indent="0" algn="l" defTabSz="914400" rtl="0" eaLnBrk="1" latinLnBrk="0" hangingPunct="1">
              <a:spcBef>
                <a:spcPts val="0"/>
              </a:spcBef>
              <a:spcAft>
                <a:spcPts val="600"/>
              </a:spcAft>
              <a:buFont typeface="Arial" panose="020B0604020202020204" pitchFamily="34" charset="0"/>
              <a:buNone/>
              <a:defRPr sz="1000" kern="1200">
                <a:solidFill>
                  <a:schemeClr val="tx2"/>
                </a:solidFill>
                <a:latin typeface="Nokia Pure Text Light" panose="020B0403020202020204" pitchFamily="34" charset="0"/>
                <a:ea typeface="Nokia Pure Text Light" panose="020B0403020202020204" pitchFamily="34" charset="0"/>
                <a:cs typeface="+mn-cs"/>
              </a:defRPr>
            </a:lvl4pPr>
            <a:lvl5pPr marL="923400" indent="0" algn="l" defTabSz="914400" rtl="0" eaLnBrk="1" latinLnBrk="0" hangingPunct="1">
              <a:spcBef>
                <a:spcPts val="0"/>
              </a:spcBef>
              <a:spcAft>
                <a:spcPts val="600"/>
              </a:spcAft>
              <a:buFont typeface="Arial" panose="020B0604020202020204" pitchFamily="34" charset="0"/>
              <a:buNone/>
              <a:defRPr sz="800" kern="1200">
                <a:solidFill>
                  <a:schemeClr val="tx2"/>
                </a:solidFill>
                <a:latin typeface="Nokia Pure Text Light" panose="020B0403020202020204" pitchFamily="34" charset="0"/>
                <a:ea typeface="Nokia Pure Text Light" panose="020B0403020202020204" pitchFamily="34" charset="0"/>
                <a:cs typeface="+mn-cs"/>
              </a:defRPr>
            </a:lvl5pPr>
            <a:lvl6pPr marL="1382400" indent="-228600" algn="l" defTabSz="914400" rtl="0" eaLnBrk="1" latinLnBrk="0" hangingPunct="1">
              <a:spcBef>
                <a:spcPts val="0"/>
              </a:spcBef>
              <a:spcAft>
                <a:spcPts val="600"/>
              </a:spcAft>
              <a:buFont typeface="Nokia Pure Text" panose="020B0503020202020204" pitchFamily="34" charset="0"/>
              <a:buChar char="‒"/>
              <a:defRPr sz="800" kern="1200" baseline="0">
                <a:solidFill>
                  <a:schemeClr val="tx2"/>
                </a:solidFill>
                <a:latin typeface="Nokia Pure Text Light" panose="020B0403020202020204" pitchFamily="34" charset="0"/>
                <a:ea typeface="Nokia Pure Text Light" panose="020B0403020202020204" pitchFamily="34" charset="0"/>
                <a:cs typeface="+mn-cs"/>
              </a:defRPr>
            </a:lvl6pPr>
            <a:lvl7pPr marL="1612800" indent="-228600" algn="l" defTabSz="914400" rtl="0" eaLnBrk="1" latinLnBrk="0" hangingPunct="1">
              <a:spcBef>
                <a:spcPts val="0"/>
              </a:spcBef>
              <a:spcAft>
                <a:spcPts val="600"/>
              </a:spcAft>
              <a:buFont typeface="Arial" panose="020B0604020202020204" pitchFamily="34" charset="0"/>
              <a:buChar char="•"/>
              <a:defRPr sz="700" kern="1200">
                <a:solidFill>
                  <a:schemeClr val="tx2"/>
                </a:solidFill>
                <a:latin typeface="Nokia Pure Text Light" panose="020B0403020202020204" pitchFamily="34" charset="0"/>
                <a:ea typeface="Nokia Pure Text Light" panose="020B0403020202020204" pitchFamily="34" charset="0"/>
                <a:cs typeface="+mn-cs"/>
              </a:defRPr>
            </a:lvl7pPr>
            <a:lvl8pPr marL="1843200" indent="-228600" algn="l" defTabSz="914400" rtl="0" eaLnBrk="1" latinLnBrk="0" hangingPunct="1">
              <a:spcBef>
                <a:spcPts val="0"/>
              </a:spcBef>
              <a:spcAft>
                <a:spcPts val="600"/>
              </a:spcAft>
              <a:buFont typeface="Arial" panose="020B0604020202020204" pitchFamily="34" charset="0"/>
              <a:buChar char="•"/>
              <a:defRPr sz="600" kern="1200">
                <a:solidFill>
                  <a:schemeClr val="tx2"/>
                </a:solidFill>
                <a:latin typeface="Nokia Pure Text Light" panose="020B0403020202020204" pitchFamily="34" charset="0"/>
                <a:ea typeface="Nokia Pure Text Light" panose="020B0403020202020204" pitchFamily="34" charset="0"/>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ct val="0"/>
              </a:spcAft>
              <a:buClrTx/>
              <a:buSzTx/>
              <a:buFont typeface="Arial" panose="020B0604020202020204" pitchFamily="34" charset="0"/>
              <a:buNone/>
              <a:tabLst/>
              <a:defRPr/>
            </a:pP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The contents of this document are proprietary </a:t>
            </a:r>
            <a:b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b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and confidential property of Nokia. This document </a:t>
            </a:r>
            <a:b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b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is provided subject to confidentiality obligations of </a:t>
            </a:r>
            <a:b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b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the applicable agreement(s). </a:t>
            </a:r>
          </a:p>
          <a:p>
            <a:pPr marL="0" marR="0" lvl="0" indent="0" algn="l" defTabSz="914400" rtl="0" eaLnBrk="1" fontAlgn="auto" latinLnBrk="0" hangingPunct="1">
              <a:lnSpc>
                <a:spcPct val="100000"/>
              </a:lnSpc>
              <a:spcBef>
                <a:spcPts val="0"/>
              </a:spcBef>
              <a:spcAft>
                <a:spcPct val="0"/>
              </a:spcAft>
              <a:buClrTx/>
              <a:buSzTx/>
              <a:buFont typeface="Arial" panose="020B0604020202020204" pitchFamily="34" charset="0"/>
              <a:buNone/>
              <a:tabLst/>
              <a:defRPr/>
            </a:pPr>
            <a:endPar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ct val="0"/>
              </a:spcAft>
              <a:buClrTx/>
              <a:buSzTx/>
              <a:buFont typeface="Arial" panose="020B0604020202020204" pitchFamily="34" charset="0"/>
              <a:buNone/>
              <a:tabLst/>
              <a:defRPr/>
            </a:pP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This document is intended for use by Nokia’s customers and collaborators only for the purpose for which this document is submitted by Nokia. No part of this document may be reproduced or made available to the public or to any third party in any form or means without the prior written permission of Nokia. This document is to be used by properly trained professional personnel. Any use of the contents in this document is limited strictly to the use(s) specifically created in the applicable agreement(s) under which the document is submitted. The user of this document may voluntarily provide suggestions, comments or </a:t>
            </a:r>
            <a:b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b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other feedback to Nokia in respect of the </a:t>
            </a:r>
            <a:b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b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contents of this document ("Feedback"). </a:t>
            </a:r>
            <a:b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b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Such Feedback may be used in Nokia products and related specifications or other documentation. Accordingly, if the user of this document gives </a:t>
            </a:r>
            <a:b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b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Nokia Feedback on the contents of this document, Nokia may freely use, disclose, reproduce, license, distribute and otherwise commercialize the feedback in any Nokia product, technology, service, specification or other documentation. </a:t>
            </a:r>
          </a:p>
          <a:p>
            <a:pPr marL="0" marR="0" lvl="0" indent="0" algn="l" defTabSz="914400" rtl="0" eaLnBrk="1" fontAlgn="auto" latinLnBrk="0" hangingPunct="1">
              <a:lnSpc>
                <a:spcPct val="100000"/>
              </a:lnSpc>
              <a:spcBef>
                <a:spcPts val="0"/>
              </a:spcBef>
              <a:spcAft>
                <a:spcPct val="0"/>
              </a:spcAft>
              <a:buClrTx/>
              <a:buSzTx/>
              <a:buFont typeface="Arial" panose="020B0604020202020204" pitchFamily="34" charset="0"/>
              <a:buNone/>
              <a:tabLst/>
              <a:defRPr/>
            </a:pPr>
            <a:endPar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ct val="0"/>
              </a:spcAft>
              <a:buClrTx/>
              <a:buSzTx/>
              <a:buFont typeface="Arial" panose="020B0604020202020204" pitchFamily="34" charset="0"/>
              <a:buNone/>
              <a:tabLst/>
              <a:defRPr/>
            </a:pP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Nokia operates a policy of ongoing development. Nokia reserves the right to make changes and improvements to any of the products and/or services described in this document or withdraw </a:t>
            </a:r>
            <a:b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b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this document at any time without prior notice. </a:t>
            </a:r>
          </a:p>
          <a:p>
            <a:pPr marL="0" marR="0" lvl="0" indent="0" algn="l" defTabSz="914400" rtl="0" eaLnBrk="1" fontAlgn="auto" latinLnBrk="0" hangingPunct="1">
              <a:lnSpc>
                <a:spcPct val="100000"/>
              </a:lnSpc>
              <a:spcBef>
                <a:spcPts val="0"/>
              </a:spcBef>
              <a:spcAft>
                <a:spcPct val="0"/>
              </a:spcAft>
              <a:buClrTx/>
              <a:buSzTx/>
              <a:buFont typeface="Arial" panose="020B0604020202020204" pitchFamily="34" charset="0"/>
              <a:buNone/>
              <a:tabLst/>
              <a:defRPr/>
            </a:pPr>
            <a:endPar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ct val="0"/>
              </a:spcAft>
              <a:buClrTx/>
              <a:buSzTx/>
              <a:buFont typeface="Arial" panose="020B0604020202020204" pitchFamily="34" charset="0"/>
              <a:buNone/>
              <a:tabLst/>
              <a:defRPr/>
            </a:pP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The contents of this document are provided </a:t>
            </a:r>
            <a:b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b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as is". Except as required by applicable law, no warranties of any kind, either express or implied, including, but not limited to, the implied warranties of merchantability and fitness for a particular purpose, are made in relation to the accuracy, reliability or contents of this document. NOKIA SHALL NOT BE RESPONSIBLE IN ANY EVENT FOR ERRORS IN THIS DOCUMENT or for any loss of data or income or any special, incidental, consequential, indirect or direct damages howsoever caused, that might arise from the use of this document or any contents of this document. </a:t>
            </a:r>
          </a:p>
          <a:p>
            <a:pPr marL="0" marR="0" lvl="0" indent="0" algn="l" defTabSz="914400" rtl="0" eaLnBrk="1" fontAlgn="auto" latinLnBrk="0" hangingPunct="1">
              <a:lnSpc>
                <a:spcPct val="100000"/>
              </a:lnSpc>
              <a:spcBef>
                <a:spcPts val="0"/>
              </a:spcBef>
              <a:spcAft>
                <a:spcPct val="0"/>
              </a:spcAft>
              <a:buClrTx/>
              <a:buSzTx/>
              <a:buFont typeface="Arial" panose="020B0604020202020204" pitchFamily="34" charset="0"/>
              <a:buNone/>
              <a:tabLst/>
              <a:defRPr/>
            </a:pPr>
            <a:endPar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ct val="0"/>
              </a:spcAft>
              <a:buClrTx/>
              <a:buSzTx/>
              <a:buFont typeface="Arial" panose="020B0604020202020204" pitchFamily="34" charset="0"/>
              <a:buNone/>
              <a:tabLst/>
              <a:defRPr/>
            </a:pP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This document and the product(s) it describes</a:t>
            </a:r>
            <a:b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b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are protected by copyright according to the</a:t>
            </a:r>
            <a:b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b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applicable laws. </a:t>
            </a:r>
          </a:p>
          <a:p>
            <a:pPr marL="0" marR="0" lvl="0" indent="0" algn="l" defTabSz="914400" rtl="0" eaLnBrk="1" fontAlgn="auto" latinLnBrk="0" hangingPunct="1">
              <a:lnSpc>
                <a:spcPct val="100000"/>
              </a:lnSpc>
              <a:spcBef>
                <a:spcPts val="0"/>
              </a:spcBef>
              <a:spcAft>
                <a:spcPct val="0"/>
              </a:spcAft>
              <a:buClrTx/>
              <a:buSzTx/>
              <a:buFont typeface="Arial" panose="020B0604020202020204" pitchFamily="34" charset="0"/>
              <a:buNone/>
              <a:tabLst/>
              <a:defRPr/>
            </a:pPr>
            <a:endPar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ct val="0"/>
              </a:spcAft>
              <a:buClrTx/>
              <a:buSzTx/>
              <a:buFont typeface="Arial" panose="020B0604020202020204" pitchFamily="34" charset="0"/>
              <a:buNone/>
              <a:tabLst/>
              <a:defRPr/>
            </a:pPr>
            <a:r>
              <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Arial" panose="020B0604020202020204" pitchFamily="34" charset="0"/>
              </a:rPr>
              <a:t>Nokia is a registered trademark of Nokia Corporation. Other product and company names mentioned herein may be trademarks or trade names of their respective owners.</a:t>
            </a:r>
            <a:endParaRPr kumimoji="0" lang="en-US" sz="900" b="0" i="0" u="none" strike="noStrike" kern="1200" cap="none" spc="0" normalizeH="0" baseline="0" noProof="0" dirty="0">
              <a:ln>
                <a:noFill/>
              </a:ln>
              <a:effectLst/>
              <a:uLnTx/>
              <a:uFillTx/>
              <a:latin typeface="Nokia Pure Text Light" panose="020B0403020202020204" pitchFamily="34" charset="0"/>
              <a:ea typeface="Nokia Pure Text Light" panose="020B0403020202020204" pitchFamily="34" charset="0"/>
              <a:cs typeface="+mn-cs"/>
            </a:endParaRPr>
          </a:p>
        </p:txBody>
      </p:sp>
      <p:cxnSp>
        <p:nvCxnSpPr>
          <p:cNvPr id="11" name="Straight Connector 10">
            <a:extLst>
              <a:ext uri="{FF2B5EF4-FFF2-40B4-BE49-F238E27FC236}">
                <a16:creationId xmlns:a16="http://schemas.microsoft.com/office/drawing/2014/main" id="{CAA3E0A3-741D-424C-860E-ED01C8EBD767}"/>
              </a:ext>
            </a:extLst>
          </p:cNvPr>
          <p:cNvCxnSpPr/>
          <p:nvPr/>
        </p:nvCxnSpPr>
        <p:spPr>
          <a:xfrm>
            <a:off x="417600" y="4361792"/>
            <a:ext cx="8318251" cy="0"/>
          </a:xfrm>
          <a:prstGeom prst="line">
            <a:avLst/>
          </a:prstGeom>
          <a:noFill/>
          <a:ln w="9525" cap="flat" cmpd="sng" algn="ctr">
            <a:solidFill>
              <a:schemeClr val="tx1"/>
            </a:solidFill>
            <a:prstDash val="solid"/>
          </a:ln>
          <a:effectLst/>
        </p:spPr>
      </p:cxnSp>
    </p:spTree>
    <p:extLst>
      <p:ext uri="{BB962C8B-B14F-4D97-AF65-F5344CB8AC3E}">
        <p14:creationId xmlns:p14="http://schemas.microsoft.com/office/powerpoint/2010/main" val="2910571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Master">
  <a:themeElements>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2023">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0" marR="0" indent="0" algn="l" defTabSz="180000" rtl="0" eaLnBrk="1" fontAlgn="auto" latinLnBrk="0" hangingPunct="1">
          <a:lnSpc>
            <a:spcPct val="100000"/>
          </a:lnSpc>
          <a:spcBef>
            <a:spcPts val="0"/>
          </a:spcBef>
          <a:spcAft>
            <a:spcPts val="300"/>
          </a:spcAft>
          <a:buClrTx/>
          <a:buSzTx/>
          <a:buFont typeface="+mj-lt"/>
          <a:buNone/>
          <a:tabLst>
            <a:tab pos="180000" algn="l"/>
          </a:tabLst>
          <a:defRPr kumimoji="0" sz="1200" b="0" i="0" u="none" strike="noStrike" kern="1200" cap="none" spc="0" normalizeH="0" baseline="0" noProof="0" dirty="0" smtClean="0">
            <a:ln>
              <a:noFill/>
            </a:ln>
            <a:solidFill>
              <a:schemeClr val="tx2"/>
            </a:solidFill>
            <a:effectLst/>
            <a:uLnTx/>
            <a:uFillTx/>
            <a:latin typeface="Nokia Pure Text Light"/>
            <a:ea typeface="+mn-ea"/>
            <a:cs typeface="+mn-cs"/>
          </a:defRPr>
        </a:defPPr>
      </a:lstStyle>
    </a:txDef>
  </a:objectDefaults>
  <a:extraClrSchemeLst/>
  <a:extLst>
    <a:ext uri="{05A4C25C-085E-4340-85A3-A5531E510DB2}">
      <thm15:themeFamily xmlns:thm15="http://schemas.microsoft.com/office/thememl/2012/main" name="Nokia 2023 - PowerPoint template v1.3.1" id="{95EDE8F7-58AB-440A-82AC-4DC9E39A292C}" vid="{533A05BB-4D65-4753-8F51-029C8738C22F}"/>
    </a:ext>
  </a:extLst>
</a:theme>
</file>

<file path=ppt/theme/theme2.xml><?xml version="1.0" encoding="utf-8"?>
<a:theme xmlns:a="http://schemas.openxmlformats.org/drawingml/2006/main" name="2_1. Whit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Nokia 2023">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0" marR="0" indent="0" algn="l" defTabSz="180000" rtl="0" eaLnBrk="1" fontAlgn="auto" latinLnBrk="0" hangingPunct="1">
          <a:lnSpc>
            <a:spcPct val="100000"/>
          </a:lnSpc>
          <a:spcBef>
            <a:spcPts val="0"/>
          </a:spcBef>
          <a:spcAft>
            <a:spcPts val="300"/>
          </a:spcAft>
          <a:buClrTx/>
          <a:buSzTx/>
          <a:buFont typeface="+mj-lt"/>
          <a:buNone/>
          <a:tabLst>
            <a:tab pos="180000" algn="l"/>
          </a:tabLst>
          <a:defRPr kumimoji="0" sz="1200" b="0" i="0" u="none" strike="noStrike" kern="1200" cap="none" spc="0" normalizeH="0" baseline="0" noProof="0" dirty="0" smtClean="0">
            <a:ln>
              <a:noFill/>
            </a:ln>
            <a:solidFill>
              <a:schemeClr val="tx2"/>
            </a:solidFill>
            <a:effectLst/>
            <a:uLnTx/>
            <a:uFillTx/>
            <a:latin typeface="Nokia Pure Text Light"/>
            <a:ea typeface="+mn-ea"/>
            <a:cs typeface="+mn-cs"/>
          </a:defRPr>
        </a:defPPr>
      </a:lstStyle>
    </a:txDef>
  </a:objectDefaults>
  <a:extraClrSchemeLst/>
  <a:extLst>
    <a:ext uri="{05A4C25C-085E-4340-85A3-A5531E510DB2}">
      <thm15:themeFamily xmlns:thm15="http://schemas.microsoft.com/office/thememl/2012/main" name="Nokia - PowerPoint template 2023 v1.2.potx  -  Read-Only" id="{28107EA5-047B-4912-B3F1-0C26CE6B7FE2}" vid="{69124AE3-621C-4615-AC87-2B20FB97CC37}"/>
    </a:ext>
  </a:extLst>
</a:theme>
</file>

<file path=ppt/theme/theme3.xml><?xml version="1.0" encoding="utf-8"?>
<a:theme xmlns:a="http://schemas.openxmlformats.org/drawingml/2006/main" name="1. SIMPLE white and gradient">
  <a:themeElements>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2023">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0" marR="0" indent="0" algn="l" defTabSz="180000" rtl="0" eaLnBrk="1" fontAlgn="auto" latinLnBrk="0" hangingPunct="1">
          <a:lnSpc>
            <a:spcPct val="100000"/>
          </a:lnSpc>
          <a:spcBef>
            <a:spcPts val="0"/>
          </a:spcBef>
          <a:spcAft>
            <a:spcPts val="300"/>
          </a:spcAft>
          <a:buClrTx/>
          <a:buSzTx/>
          <a:buFont typeface="+mj-lt"/>
          <a:buNone/>
          <a:tabLst>
            <a:tab pos="180000" algn="l"/>
          </a:tabLst>
          <a:defRPr kumimoji="0" sz="1200" b="0" i="0" u="none" strike="noStrike" kern="1200" cap="none" spc="0" normalizeH="0" baseline="0" noProof="0" dirty="0" smtClean="0">
            <a:ln>
              <a:noFill/>
            </a:ln>
            <a:solidFill>
              <a:schemeClr val="tx2"/>
            </a:solidFill>
            <a:effectLst/>
            <a:uLnTx/>
            <a:uFillTx/>
            <a:latin typeface="Nokia Pure Text Light"/>
            <a:ea typeface="+mn-ea"/>
            <a:cs typeface="+mn-cs"/>
          </a:defRPr>
        </a:defPPr>
      </a:lstStyle>
    </a:txDef>
  </a:objectDefaults>
  <a:extraClrSchemeLst/>
  <a:extLst>
    <a:ext uri="{05A4C25C-085E-4340-85A3-A5531E510DB2}">
      <thm15:themeFamily xmlns:thm15="http://schemas.microsoft.com/office/thememl/2012/main" name="Nokia - PowerPoint template 2023 v1.1b" id="{D61898B1-C879-4606-BBD7-E5407979202C}" vid="{C51AD687-1624-4EA6-AF64-49A5DF70F7F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HideFromDelve xmlns="71c5aaf6-e6ce-465b-b873-5148d2a4c105">false</HideFromDelve>
    <_dlc_DocId xmlns="71c5aaf6-e6ce-465b-b873-5148d2a4c105">ONIQP55I5ONL-24368657-17</_dlc_DocId>
    <_dlc_DocIdUrl xmlns="71c5aaf6-e6ce-465b-b873-5148d2a4c105">
      <Url>https://nokia.sharepoint.com/sites/xhaul_mss-400_sw_dev/_layouts/15/DocIdRedir.aspx?ID=ONIQP55I5ONL-24368657-17</Url>
      <Description>ONIQP55I5ONL-24368657-17</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95E9CB8786503445B2422E84703C7A88" ma:contentTypeVersion="10" ma:contentTypeDescription="Create a new document." ma:contentTypeScope="" ma:versionID="db898322954fb3ae1eb00f53d65a66bc">
  <xsd:schema xmlns:xsd="http://www.w3.org/2001/XMLSchema" xmlns:xs="http://www.w3.org/2001/XMLSchema" xmlns:p="http://schemas.microsoft.com/office/2006/metadata/properties" xmlns:ns2="71c5aaf6-e6ce-465b-b873-5148d2a4c105" xmlns:ns3="a94f8418-036a-4fd2-a5a9-29923d20ca8c" xmlns:ns4="7c8948f1-89cc-42d8-b78e-15aa7be660d1" targetNamespace="http://schemas.microsoft.com/office/2006/metadata/properties" ma:root="true" ma:fieldsID="b30ed2774b66d9de79fe4d3b684bf59c" ns2:_="" ns3:_="" ns4:_="">
    <xsd:import namespace="71c5aaf6-e6ce-465b-b873-5148d2a4c105"/>
    <xsd:import namespace="a94f8418-036a-4fd2-a5a9-29923d20ca8c"/>
    <xsd:import namespace="7c8948f1-89cc-42d8-b78e-15aa7be660d1"/>
    <xsd:element name="properties">
      <xsd:complexType>
        <xsd:sequence>
          <xsd:element name="documentManagement">
            <xsd:complexType>
              <xsd:all>
                <xsd:element ref="ns2:_dlc_DocId" minOccurs="0"/>
                <xsd:element ref="ns2:_dlc_DocIdUrl" minOccurs="0"/>
                <xsd:element ref="ns2:_dlc_DocIdPersistId" minOccurs="0"/>
                <xsd:element ref="ns2:HideFromDelve" minOccurs="0"/>
                <xsd:element ref="ns3:MediaServiceMetadata" minOccurs="0"/>
                <xsd:element ref="ns3:MediaServiceFastMetadata" minOccurs="0"/>
                <xsd:element ref="ns4:SharedWithUsers" minOccurs="0"/>
                <xsd:element ref="ns4:SharedWithDetails" minOccurs="0"/>
                <xsd:element ref="ns3:MediaServiceDateTaken" minOccurs="0"/>
                <xsd:element ref="ns3:MediaServiceObjectDetectorVersion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c5aaf6-e6ce-465b-b873-5148d2a4c10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HideFromDelve" ma:index="11" nillable="true" ma:displayName="HideFromDelve" ma:default="0" ma:internalName="HideFromDel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a94f8418-036a-4fd2-a5a9-29923d20ca8c"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c8948f1-89cc-42d8-b78e-15aa7be660d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haredContentType xmlns="Microsoft.SharePoint.Taxonomy.ContentTypeSync" SourceId="34c87397-5fc1-491e-85e7-d6110dbe9cbd" ContentTypeId="0x0101" PreviousValue="false"/>
</file>

<file path=customXml/itemProps1.xml><?xml version="1.0" encoding="utf-8"?>
<ds:datastoreItem xmlns:ds="http://schemas.openxmlformats.org/officeDocument/2006/customXml" ds:itemID="{C2E9D618-F76D-4381-B3C5-15B583F0AEA9}">
  <ds:schemaRefs>
    <ds:schemaRef ds:uri="http://schemas.microsoft.com/sharepoint/v3/contenttype/forms"/>
  </ds:schemaRefs>
</ds:datastoreItem>
</file>

<file path=customXml/itemProps2.xml><?xml version="1.0" encoding="utf-8"?>
<ds:datastoreItem xmlns:ds="http://schemas.openxmlformats.org/officeDocument/2006/customXml" ds:itemID="{0EB54E5B-ECD5-4B10-A829-8D97C5B0C2F2}">
  <ds:schemaRefs>
    <ds:schemaRef ds:uri="http://schemas.microsoft.com/sharepoint/events"/>
  </ds:schemaRefs>
</ds:datastoreItem>
</file>

<file path=customXml/itemProps3.xml><?xml version="1.0" encoding="utf-8"?>
<ds:datastoreItem xmlns:ds="http://schemas.openxmlformats.org/officeDocument/2006/customXml" ds:itemID="{EA31197B-D3FF-4A2D-A0FA-6CCD73F48125}">
  <ds:schemaRefs>
    <ds:schemaRef ds:uri="71c5aaf6-e6ce-465b-b873-5148d2a4c105"/>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216c606d-062b-4b2e-96ba-cb2ad221428a"/>
    <ds:schemaRef ds:uri="ddbe9e5f-292d-4140-8fcf-dd8fae7e13b5"/>
    <ds:schemaRef ds:uri="http://www.w3.org/XML/1998/namespace"/>
    <ds:schemaRef ds:uri="http://purl.org/dc/dcmitype/"/>
  </ds:schemaRefs>
</ds:datastoreItem>
</file>

<file path=customXml/itemProps4.xml><?xml version="1.0" encoding="utf-8"?>
<ds:datastoreItem xmlns:ds="http://schemas.openxmlformats.org/officeDocument/2006/customXml" ds:itemID="{04E3F7B4-1F1D-42E4-8C00-76C9AE9133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c5aaf6-e6ce-465b-b873-5148d2a4c105"/>
    <ds:schemaRef ds:uri="a94f8418-036a-4fd2-a5a9-29923d20ca8c"/>
    <ds:schemaRef ds:uri="7c8948f1-89cc-42d8-b78e-15aa7be660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14F8358D-3655-43DA-87BA-548220EA5C3B}">
  <ds:schemaRefs>
    <ds:schemaRef ds:uri="Microsoft.SharePoint.Taxonomy.ContentTypeSync"/>
  </ds:schemaRefs>
</ds:datastoreItem>
</file>

<file path=docMetadata/LabelInfo.xml><?xml version="1.0" encoding="utf-8"?>
<clbl:labelList xmlns:clbl="http://schemas.microsoft.com/office/2020/mipLabelMetadata">
  <clbl:label id="{4610b643-e0dc-49a3-bdd7-06f3c6cb789f}" enabled="1" method="Privileged" siteId="{5d471751-9675-428d-917b-70f44f9630b0}" removed="0"/>
</clbl:labelList>
</file>

<file path=docProps/app.xml><?xml version="1.0" encoding="utf-8"?>
<Properties xmlns="http://schemas.openxmlformats.org/officeDocument/2006/extended-properties" xmlns:vt="http://schemas.openxmlformats.org/officeDocument/2006/docPropsVTypes">
  <Template>Nokia 2023 - PowerPoint template v1.3.1</Template>
  <TotalTime>0</TotalTime>
  <Words>626</Words>
  <Application>Microsoft Office PowerPoint</Application>
  <PresentationFormat>On-screen Show (16:9)</PresentationFormat>
  <Paragraphs>68</Paragraphs>
  <Slides>7</Slides>
  <Notes>0</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8" baseType="lpstr">
      <vt:lpstr>Arial</vt:lpstr>
      <vt:lpstr>Calibri</vt:lpstr>
      <vt:lpstr>Nokia Pure Headline Light</vt:lpstr>
      <vt:lpstr>Nokia Pure Headline Ultra Light</vt:lpstr>
      <vt:lpstr>Nokia Pure Text</vt:lpstr>
      <vt:lpstr>Nokia Pure Text Light</vt:lpstr>
      <vt:lpstr>Wingdings</vt:lpstr>
      <vt:lpstr>1. Master</vt:lpstr>
      <vt:lpstr>2_1. White</vt:lpstr>
      <vt:lpstr>1. SIMPLE white and gradient</vt:lpstr>
      <vt:lpstr>think-cell Slide</vt:lpstr>
      <vt:lpstr>MSS-400  Shared memory</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SS-400  Studies and Proof of Concept</dc:title>
  <dc:subject/>
  <dc:creator/>
  <cp:keywords/>
  <dc:description/>
  <cp:lastModifiedBy/>
  <cp:revision>1413</cp:revision>
  <dcterms:created xsi:type="dcterms:W3CDTF">2023-02-07T12:20:59Z</dcterms:created>
  <dcterms:modified xsi:type="dcterms:W3CDTF">2023-07-11T10:03: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E9CB8786503445B2422E84703C7A88</vt:lpwstr>
  </property>
  <property fmtid="{D5CDD505-2E9C-101B-9397-08002B2CF9AE}" pid="3" name="_dlc_DocIdItemGuid">
    <vt:lpwstr>e677a437-037c-4f56-89e1-9babcf8e6b35</vt:lpwstr>
  </property>
  <property fmtid="{D5CDD505-2E9C-101B-9397-08002B2CF9AE}" pid="4" name="MSIP_Label_4610b643-e0dc-49a3-bdd7-06f3c6cb789f_Enabled">
    <vt:lpwstr>true</vt:lpwstr>
  </property>
  <property fmtid="{D5CDD505-2E9C-101B-9397-08002B2CF9AE}" pid="5" name="MSIP_Label_4610b643-e0dc-49a3-bdd7-06f3c6cb789f_SetDate">
    <vt:lpwstr>2023-03-14T11:39:30Z</vt:lpwstr>
  </property>
  <property fmtid="{D5CDD505-2E9C-101B-9397-08002B2CF9AE}" pid="6" name="MSIP_Label_4610b643-e0dc-49a3-bdd7-06f3c6cb789f_Method">
    <vt:lpwstr>Privileged</vt:lpwstr>
  </property>
  <property fmtid="{D5CDD505-2E9C-101B-9397-08002B2CF9AE}" pid="7" name="MSIP_Label_4610b643-e0dc-49a3-bdd7-06f3c6cb789f_Name">
    <vt:lpwstr>Nokia_ID_only</vt:lpwstr>
  </property>
  <property fmtid="{D5CDD505-2E9C-101B-9397-08002B2CF9AE}" pid="8" name="MSIP_Label_4610b643-e0dc-49a3-bdd7-06f3c6cb789f_SiteId">
    <vt:lpwstr>5d471751-9675-428d-917b-70f44f9630b0</vt:lpwstr>
  </property>
  <property fmtid="{D5CDD505-2E9C-101B-9397-08002B2CF9AE}" pid="9" name="MSIP_Label_4610b643-e0dc-49a3-bdd7-06f3c6cb789f_ActionId">
    <vt:lpwstr>1ba53a2c-6219-4c30-bd06-9ca1e08fe150</vt:lpwstr>
  </property>
  <property fmtid="{D5CDD505-2E9C-101B-9397-08002B2CF9AE}" pid="10" name="MSIP_Label_4610b643-e0dc-49a3-bdd7-06f3c6cb789f_ContentBits">
    <vt:lpwstr>2</vt:lpwstr>
  </property>
</Properties>
</file>